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3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256" r:id="rId5"/>
    <p:sldId id="269" r:id="rId6"/>
    <p:sldId id="274" r:id="rId7"/>
    <p:sldId id="279" r:id="rId8"/>
    <p:sldId id="281" r:id="rId9"/>
    <p:sldId id="280" r:id="rId10"/>
    <p:sldId id="278" r:id="rId11"/>
    <p:sldId id="270" r:id="rId12"/>
    <p:sldId id="275" r:id="rId13"/>
    <p:sldId id="282" r:id="rId14"/>
    <p:sldId id="277" r:id="rId15"/>
    <p:sldId id="283" r:id="rId16"/>
    <p:sldId id="285" r:id="rId17"/>
    <p:sldId id="286" r:id="rId18"/>
    <p:sldId id="261" r:id="rId19"/>
    <p:sldId id="271" r:id="rId20"/>
    <p:sldId id="272" r:id="rId21"/>
    <p:sldId id="273" r:id="rId22"/>
  </p:sldIdLst>
  <p:sldSz cx="12192000" cy="6858000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16" userDrawn="1">
          <p15:clr>
            <a:srgbClr val="A4A3A4"/>
          </p15:clr>
        </p15:guide>
        <p15:guide id="2" pos="7256" userDrawn="1">
          <p15:clr>
            <a:srgbClr val="A4A3A4"/>
          </p15:clr>
        </p15:guide>
        <p15:guide id="3" orient="horz" pos="648" userDrawn="1">
          <p15:clr>
            <a:srgbClr val="A4A3A4"/>
          </p15:clr>
        </p15:guide>
        <p15:guide id="4" orient="horz" pos="712" userDrawn="1">
          <p15:clr>
            <a:srgbClr val="A4A3A4"/>
          </p15:clr>
        </p15:guide>
        <p15:guide id="5" orient="horz" pos="3928" userDrawn="1">
          <p15:clr>
            <a:srgbClr val="A4A3A4"/>
          </p15:clr>
        </p15:guide>
        <p15:guide id="6" orient="horz" pos="3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3D9"/>
    <a:srgbClr val="612EB1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69" d="100"/>
          <a:sy n="69" d="100"/>
        </p:scale>
        <p:origin x="72" y="369"/>
      </p:cViewPr>
      <p:guideLst>
        <p:guide pos="416"/>
        <p:guide pos="7256"/>
        <p:guide orient="horz" pos="648"/>
        <p:guide orient="horz" pos="712"/>
        <p:guide orient="horz" pos="3928"/>
        <p:guide orient="horz" pos="386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9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698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205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86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ïsḷiďé"/>
          <p:cNvSpPr>
            <a:spLocks/>
          </p:cNvSpPr>
          <p:nvPr userDrawn="1"/>
        </p:nvSpPr>
        <p:spPr bwMode="auto">
          <a:xfrm>
            <a:off x="-1" y="3359406"/>
            <a:ext cx="12192001" cy="3498594"/>
          </a:xfrm>
          <a:custGeom>
            <a:avLst/>
            <a:gdLst>
              <a:gd name="connsiteX0" fmla="*/ 11803068 w 12192001"/>
              <a:gd name="connsiteY0" fmla="*/ 1255 h 3498594"/>
              <a:gd name="connsiteX1" fmla="*/ 12174677 w 12192001"/>
              <a:gd name="connsiteY1" fmla="*/ 253268 h 3498594"/>
              <a:gd name="connsiteX2" fmla="*/ 12192001 w 12192001"/>
              <a:gd name="connsiteY2" fmla="*/ 288206 h 3498594"/>
              <a:gd name="connsiteX3" fmla="*/ 12192001 w 12192001"/>
              <a:gd name="connsiteY3" fmla="*/ 3498594 h 3498594"/>
              <a:gd name="connsiteX4" fmla="*/ 11129598 w 12192001"/>
              <a:gd name="connsiteY4" fmla="*/ 3498594 h 3498594"/>
              <a:gd name="connsiteX5" fmla="*/ 0 w 12192001"/>
              <a:gd name="connsiteY5" fmla="*/ 3498594 h 3498594"/>
              <a:gd name="connsiteX6" fmla="*/ 0 w 12192001"/>
              <a:gd name="connsiteY6" fmla="*/ 2207153 h 3498594"/>
              <a:gd name="connsiteX7" fmla="*/ 5451415 w 12192001"/>
              <a:gd name="connsiteY7" fmla="*/ 112147 h 3498594"/>
              <a:gd name="connsiteX8" fmla="*/ 9649960 w 12192001"/>
              <a:gd name="connsiteY8" fmla="*/ 781784 h 3498594"/>
              <a:gd name="connsiteX9" fmla="*/ 11514918 w 12192001"/>
              <a:gd name="connsiteY9" fmla="*/ 54750 h 3498594"/>
              <a:gd name="connsiteX10" fmla="*/ 11803068 w 12192001"/>
              <a:gd name="connsiteY10" fmla="*/ 1255 h 3498594"/>
              <a:gd name="connsiteX0" fmla="*/ 11803068 w 12192001"/>
              <a:gd name="connsiteY0" fmla="*/ 1255 h 3498594"/>
              <a:gd name="connsiteX1" fmla="*/ 12174677 w 12192001"/>
              <a:gd name="connsiteY1" fmla="*/ 253268 h 3498594"/>
              <a:gd name="connsiteX2" fmla="*/ 12192001 w 12192001"/>
              <a:gd name="connsiteY2" fmla="*/ 288206 h 3498594"/>
              <a:gd name="connsiteX3" fmla="*/ 12192001 w 12192001"/>
              <a:gd name="connsiteY3" fmla="*/ 3498594 h 3498594"/>
              <a:gd name="connsiteX4" fmla="*/ 11129598 w 12192001"/>
              <a:gd name="connsiteY4" fmla="*/ 3498594 h 3498594"/>
              <a:gd name="connsiteX5" fmla="*/ 0 w 12192001"/>
              <a:gd name="connsiteY5" fmla="*/ 3498594 h 3498594"/>
              <a:gd name="connsiteX6" fmla="*/ 0 w 12192001"/>
              <a:gd name="connsiteY6" fmla="*/ 2207153 h 3498594"/>
              <a:gd name="connsiteX7" fmla="*/ 5451415 w 12192001"/>
              <a:gd name="connsiteY7" fmla="*/ 112147 h 3498594"/>
              <a:gd name="connsiteX8" fmla="*/ 9649960 w 12192001"/>
              <a:gd name="connsiteY8" fmla="*/ 781784 h 3498594"/>
              <a:gd name="connsiteX9" fmla="*/ 11514918 w 12192001"/>
              <a:gd name="connsiteY9" fmla="*/ 54750 h 3498594"/>
              <a:gd name="connsiteX10" fmla="*/ 11803068 w 12192001"/>
              <a:gd name="connsiteY10" fmla="*/ 1255 h 349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1" h="3498594">
                <a:moveTo>
                  <a:pt x="11803068" y="1255"/>
                </a:moveTo>
                <a:cubicBezTo>
                  <a:pt x="11993449" y="15070"/>
                  <a:pt x="12108776" y="140463"/>
                  <a:pt x="12174677" y="253268"/>
                </a:cubicBezTo>
                <a:lnTo>
                  <a:pt x="12192001" y="288206"/>
                </a:lnTo>
                <a:lnTo>
                  <a:pt x="12192001" y="3498594"/>
                </a:lnTo>
                <a:lnTo>
                  <a:pt x="11129598" y="3498594"/>
                </a:lnTo>
                <a:lnTo>
                  <a:pt x="0" y="3498594"/>
                </a:lnTo>
                <a:lnTo>
                  <a:pt x="0" y="2207153"/>
                </a:lnTo>
                <a:cubicBezTo>
                  <a:pt x="0" y="2207153"/>
                  <a:pt x="2270139" y="218198"/>
                  <a:pt x="5451415" y="112147"/>
                </a:cubicBezTo>
                <a:cubicBezTo>
                  <a:pt x="7188030" y="54255"/>
                  <a:pt x="8817902" y="777001"/>
                  <a:pt x="9649960" y="781784"/>
                </a:cubicBezTo>
                <a:cubicBezTo>
                  <a:pt x="10874138" y="788958"/>
                  <a:pt x="11266257" y="155195"/>
                  <a:pt x="11514918" y="54750"/>
                </a:cubicBezTo>
                <a:cubicBezTo>
                  <a:pt x="11626098" y="9908"/>
                  <a:pt x="11721476" y="-4665"/>
                  <a:pt x="11803068" y="1255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5999" y="4372524"/>
            <a:ext cx="5410199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110288" y="1130299"/>
            <a:ext cx="5410199" cy="2631989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110288" y="5541558"/>
            <a:ext cx="541019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10288" y="5837829"/>
            <a:ext cx="541019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5" y="1028700"/>
            <a:ext cx="6095998" cy="4939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1ïdê"/>
          <p:cNvSpPr/>
          <p:nvPr userDrawn="1"/>
        </p:nvSpPr>
        <p:spPr>
          <a:xfrm>
            <a:off x="669925" y="1384300"/>
            <a:ext cx="7150100" cy="4064000"/>
          </a:xfrm>
          <a:prstGeom prst="cloud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1564698" y="25563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1565814" y="34516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ḻïde"/>
          <p:cNvSpPr>
            <a:spLocks/>
          </p:cNvSpPr>
          <p:nvPr userDrawn="1"/>
        </p:nvSpPr>
        <p:spPr bwMode="auto">
          <a:xfrm flipH="1">
            <a:off x="-1" y="3359406"/>
            <a:ext cx="12192001" cy="3498594"/>
          </a:xfrm>
          <a:custGeom>
            <a:avLst/>
            <a:gdLst>
              <a:gd name="connsiteX0" fmla="*/ 11803068 w 12192001"/>
              <a:gd name="connsiteY0" fmla="*/ 1255 h 3498594"/>
              <a:gd name="connsiteX1" fmla="*/ 12174677 w 12192001"/>
              <a:gd name="connsiteY1" fmla="*/ 253268 h 3498594"/>
              <a:gd name="connsiteX2" fmla="*/ 12192001 w 12192001"/>
              <a:gd name="connsiteY2" fmla="*/ 288206 h 3498594"/>
              <a:gd name="connsiteX3" fmla="*/ 12192001 w 12192001"/>
              <a:gd name="connsiteY3" fmla="*/ 3498594 h 3498594"/>
              <a:gd name="connsiteX4" fmla="*/ 11129598 w 12192001"/>
              <a:gd name="connsiteY4" fmla="*/ 3498594 h 3498594"/>
              <a:gd name="connsiteX5" fmla="*/ 0 w 12192001"/>
              <a:gd name="connsiteY5" fmla="*/ 3498594 h 3498594"/>
              <a:gd name="connsiteX6" fmla="*/ 0 w 12192001"/>
              <a:gd name="connsiteY6" fmla="*/ 2207153 h 3498594"/>
              <a:gd name="connsiteX7" fmla="*/ 5451415 w 12192001"/>
              <a:gd name="connsiteY7" fmla="*/ 112147 h 3498594"/>
              <a:gd name="connsiteX8" fmla="*/ 9649960 w 12192001"/>
              <a:gd name="connsiteY8" fmla="*/ 781784 h 3498594"/>
              <a:gd name="connsiteX9" fmla="*/ 11514918 w 12192001"/>
              <a:gd name="connsiteY9" fmla="*/ 54750 h 3498594"/>
              <a:gd name="connsiteX10" fmla="*/ 11803068 w 12192001"/>
              <a:gd name="connsiteY10" fmla="*/ 1255 h 3498594"/>
              <a:gd name="connsiteX0" fmla="*/ 11803068 w 12192001"/>
              <a:gd name="connsiteY0" fmla="*/ 1255 h 3498594"/>
              <a:gd name="connsiteX1" fmla="*/ 12174677 w 12192001"/>
              <a:gd name="connsiteY1" fmla="*/ 253268 h 3498594"/>
              <a:gd name="connsiteX2" fmla="*/ 12192001 w 12192001"/>
              <a:gd name="connsiteY2" fmla="*/ 288206 h 3498594"/>
              <a:gd name="connsiteX3" fmla="*/ 12192001 w 12192001"/>
              <a:gd name="connsiteY3" fmla="*/ 3498594 h 3498594"/>
              <a:gd name="connsiteX4" fmla="*/ 11129598 w 12192001"/>
              <a:gd name="connsiteY4" fmla="*/ 3498594 h 3498594"/>
              <a:gd name="connsiteX5" fmla="*/ 0 w 12192001"/>
              <a:gd name="connsiteY5" fmla="*/ 3498594 h 3498594"/>
              <a:gd name="connsiteX6" fmla="*/ 0 w 12192001"/>
              <a:gd name="connsiteY6" fmla="*/ 2207153 h 3498594"/>
              <a:gd name="connsiteX7" fmla="*/ 5451415 w 12192001"/>
              <a:gd name="connsiteY7" fmla="*/ 112147 h 3498594"/>
              <a:gd name="connsiteX8" fmla="*/ 9649960 w 12192001"/>
              <a:gd name="connsiteY8" fmla="*/ 781784 h 3498594"/>
              <a:gd name="connsiteX9" fmla="*/ 11514918 w 12192001"/>
              <a:gd name="connsiteY9" fmla="*/ 54750 h 3498594"/>
              <a:gd name="connsiteX10" fmla="*/ 11803068 w 12192001"/>
              <a:gd name="connsiteY10" fmla="*/ 1255 h 349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1" h="3498594">
                <a:moveTo>
                  <a:pt x="11803068" y="1255"/>
                </a:moveTo>
                <a:cubicBezTo>
                  <a:pt x="11993449" y="15070"/>
                  <a:pt x="12108776" y="140463"/>
                  <a:pt x="12174677" y="253268"/>
                </a:cubicBezTo>
                <a:lnTo>
                  <a:pt x="12192001" y="288206"/>
                </a:lnTo>
                <a:lnTo>
                  <a:pt x="12192001" y="3498594"/>
                </a:lnTo>
                <a:lnTo>
                  <a:pt x="11129598" y="3498594"/>
                </a:lnTo>
                <a:lnTo>
                  <a:pt x="0" y="3498594"/>
                </a:lnTo>
                <a:lnTo>
                  <a:pt x="0" y="2207153"/>
                </a:lnTo>
                <a:cubicBezTo>
                  <a:pt x="0" y="2207153"/>
                  <a:pt x="2270139" y="218198"/>
                  <a:pt x="5451415" y="112147"/>
                </a:cubicBezTo>
                <a:cubicBezTo>
                  <a:pt x="7188030" y="54255"/>
                  <a:pt x="8817902" y="777001"/>
                  <a:pt x="9649960" y="781784"/>
                </a:cubicBezTo>
                <a:cubicBezTo>
                  <a:pt x="10874138" y="788958"/>
                  <a:pt x="11266257" y="155195"/>
                  <a:pt x="11514918" y="54750"/>
                </a:cubicBezTo>
                <a:cubicBezTo>
                  <a:pt x="11626098" y="9908"/>
                  <a:pt x="11721476" y="-4665"/>
                  <a:pt x="11803068" y="1255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5625" y="1282337"/>
            <a:ext cx="6095998" cy="4939666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130300"/>
            <a:ext cx="5422900" cy="401137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9925" y="5826404"/>
            <a:ext cx="5422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9927" y="5530133"/>
            <a:ext cx="5422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5.png"/><Relationship Id="rId5" Type="http://schemas.microsoft.com/office/2017/06/relationships/model3d" Target="../media/model3d2.glb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8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7.pn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18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tags" Target="../tags/tag39.xml"/><Relationship Id="rId11" Type="http://schemas.openxmlformats.org/officeDocument/2006/relationships/hyperlink" Target="https://github.com/hannnnk1231/EmotionGIF-2020" TargetMode="External"/><Relationship Id="rId5" Type="http://schemas.openxmlformats.org/officeDocument/2006/relationships/tags" Target="../tags/tag38.xml"/><Relationship Id="rId10" Type="http://schemas.openxmlformats.org/officeDocument/2006/relationships/image" Target="../media/image2.emf"/><Relationship Id="rId4" Type="http://schemas.openxmlformats.org/officeDocument/2006/relationships/tags" Target="../tags/tag37.xml"/><Relationship Id="rId9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hyperlink" Target="https://www.islide.cc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12" Type="http://schemas.microsoft.com/office/2017/06/relationships/model3d" Target="../media/model3d1.glb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3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13.pn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ľï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Sļîḑe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iSļîḑe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śľi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îśḻîďé"/>
          <p:cNvSpPr>
            <a:spLocks noGrp="1"/>
          </p:cNvSpPr>
          <p:nvPr>
            <p:ph type="ctrTitle"/>
          </p:nvPr>
        </p:nvSpPr>
        <p:spPr>
          <a:xfrm>
            <a:off x="6095998" y="1111917"/>
            <a:ext cx="5410199" cy="2631989"/>
          </a:xfrm>
        </p:spPr>
        <p:txBody>
          <a:bodyPr>
            <a:normAutofit/>
          </a:bodyPr>
          <a:lstStyle/>
          <a:p>
            <a:r>
              <a:rPr lang="en-US" altLang="zh-CN" sz="5400" dirty="0" err="1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EmotionGIF</a:t>
            </a:r>
            <a:r>
              <a:rPr lang="en-US" altLang="zh-CN" sz="54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 2020</a:t>
            </a:r>
            <a:br>
              <a:rPr lang="en-US" altLang="zh-CN" sz="54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</a:br>
            <a:r>
              <a:rPr lang="en-US" altLang="zh-CN" sz="2800" b="0" dirty="0" err="1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GloVe+LSTM</a:t>
            </a:r>
            <a:endParaRPr lang="zh-CN" altLang="en-US" sz="3600" b="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</a:gradFill>
            </a:endParaRPr>
          </a:p>
        </p:txBody>
      </p:sp>
      <p:sp>
        <p:nvSpPr>
          <p:cNvPr id="6" name="ïşľiḋè"/>
          <p:cNvSpPr>
            <a:spLocks noGrp="1"/>
          </p:cNvSpPr>
          <p:nvPr>
            <p:ph type="body" sz="quarter" idx="10"/>
          </p:nvPr>
        </p:nvSpPr>
        <p:spPr>
          <a:xfrm>
            <a:off x="9577385" y="4924231"/>
            <a:ext cx="1928812" cy="913599"/>
          </a:xfrm>
        </p:spPr>
        <p:txBody>
          <a:bodyPr/>
          <a:lstStyle/>
          <a:p>
            <a:r>
              <a:rPr lang="en-US" altLang="zh-TW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0856733 Hank Huang </a:t>
            </a:r>
          </a:p>
          <a:p>
            <a:r>
              <a:rPr lang="en-US" altLang="zh-TW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0856109 Warren Fang</a:t>
            </a:r>
          </a:p>
          <a:p>
            <a:r>
              <a:rPr lang="en-US" altLang="zh-TW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 0856065 </a:t>
            </a:r>
            <a:r>
              <a:rPr lang="en-US" altLang="zh-TW" dirty="0" err="1">
                <a:solidFill>
                  <a:schemeClr val="bg1"/>
                </a:solidFill>
                <a:latin typeface="Bahnschrift Light Condensed" panose="020B0502040204020203" pitchFamily="34" charset="0"/>
              </a:rPr>
              <a:t>Sz</a:t>
            </a:r>
            <a:r>
              <a:rPr lang="zh-TW" altLang="en-US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 </a:t>
            </a:r>
            <a:r>
              <a:rPr lang="en-US" altLang="zh-TW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Yu Chen</a:t>
            </a:r>
          </a:p>
        </p:txBody>
      </p:sp>
      <p:grpSp>
        <p:nvGrpSpPr>
          <p:cNvPr id="44" name="îSľíḍé">
            <a:extLst>
              <a:ext uri="{FF2B5EF4-FFF2-40B4-BE49-F238E27FC236}">
                <a16:creationId xmlns:a16="http://schemas.microsoft.com/office/drawing/2014/main" id="{BCB4E163-329A-44F5-8AEF-B87466D4F174}"/>
              </a:ext>
            </a:extLst>
          </p:cNvPr>
          <p:cNvGrpSpPr/>
          <p:nvPr/>
        </p:nvGrpSpPr>
        <p:grpSpPr>
          <a:xfrm>
            <a:off x="10515600" y="563371"/>
            <a:ext cx="990597" cy="913600"/>
            <a:chOff x="880821" y="1531872"/>
            <a:chExt cx="2509480" cy="1490004"/>
          </a:xfrm>
        </p:grpSpPr>
        <p:sp>
          <p:nvSpPr>
            <p:cNvPr id="45" name="ïṧlîḓe">
              <a:extLst>
                <a:ext uri="{FF2B5EF4-FFF2-40B4-BE49-F238E27FC236}">
                  <a16:creationId xmlns:a16="http://schemas.microsoft.com/office/drawing/2014/main" id="{5263CBDE-4B73-4444-9D2A-D951220E3647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46" name="iṡliḓè">
              <a:extLst>
                <a:ext uri="{FF2B5EF4-FFF2-40B4-BE49-F238E27FC236}">
                  <a16:creationId xmlns:a16="http://schemas.microsoft.com/office/drawing/2014/main" id="{98624FE1-5844-4DC8-85D7-D7096A8BFA11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47" name="íšḻíḋè">
                <a:extLst>
                  <a:ext uri="{FF2B5EF4-FFF2-40B4-BE49-F238E27FC236}">
                    <a16:creationId xmlns:a16="http://schemas.microsoft.com/office/drawing/2014/main" id="{AED3C00A-5F35-44E7-AA81-1069CCE7EBA1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48" name="îS1iḓé">
                <a:extLst>
                  <a:ext uri="{FF2B5EF4-FFF2-40B4-BE49-F238E27FC236}">
                    <a16:creationId xmlns:a16="http://schemas.microsoft.com/office/drawing/2014/main" id="{7A885EAE-3B89-40C8-9D77-125002884366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487B44CC-7BD3-48BE-8FB6-809A80DB92BE}"/>
              </a:ext>
            </a:extLst>
          </p:cNvPr>
          <p:cNvSpPr/>
          <p:nvPr/>
        </p:nvSpPr>
        <p:spPr>
          <a:xfrm>
            <a:off x="-5814439" y="172519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ahnschrift SemiCondensed" panose="020B0502040204020203" pitchFamily="34" charset="0"/>
              </a:rPr>
              <a:t>Pre-Process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6DC839-9CEC-4770-A7E5-35B8E918FA89}"/>
              </a:ext>
            </a:extLst>
          </p:cNvPr>
          <p:cNvSpPr/>
          <p:nvPr/>
        </p:nvSpPr>
        <p:spPr>
          <a:xfrm>
            <a:off x="-8583039" y="2360864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Bahnschrift SemiCondensed" panose="020B0502040204020203" pitchFamily="34" charset="0"/>
              </a:rPr>
              <a:t>Emoji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432046-E380-4B4A-ABE9-9B8540BA6A6D}"/>
              </a:ext>
            </a:extLst>
          </p:cNvPr>
          <p:cNvSpPr/>
          <p:nvPr/>
        </p:nvSpPr>
        <p:spPr>
          <a:xfrm>
            <a:off x="-11326239" y="2996532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altLang="zh-TW" sz="3200" b="1" dirty="0">
                <a:solidFill>
                  <a:schemeClr val="accent2"/>
                </a:solidFill>
                <a:latin typeface="Bahnschrift SemiCondensed" panose="020B0502040204020203" pitchFamily="34" charset="0"/>
              </a:rPr>
              <a:t>Word Cloud of each Categories</a:t>
            </a:r>
            <a:endParaRPr lang="en-US" altLang="zh-TW" sz="3200" dirty="0">
              <a:solidFill>
                <a:schemeClr val="accent2"/>
              </a:solidFill>
              <a:latin typeface="Tw Cen MT" panose="020B06020201040206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F5227C-9988-4CA7-B019-8F9FE433B155}"/>
              </a:ext>
            </a:extLst>
          </p:cNvPr>
          <p:cNvSpPr/>
          <p:nvPr/>
        </p:nvSpPr>
        <p:spPr>
          <a:xfrm>
            <a:off x="-13485239" y="3632200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  <a:latin typeface="Bahnschrift SemiCondensed" panose="020B0502040204020203" pitchFamily="34" charset="0"/>
              </a:rPr>
              <a:t>Word Embedd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563DB4-0E77-433C-B065-0FD61545550F}"/>
              </a:ext>
            </a:extLst>
          </p:cNvPr>
          <p:cNvSpPr/>
          <p:nvPr/>
        </p:nvSpPr>
        <p:spPr>
          <a:xfrm>
            <a:off x="-15656939" y="4267868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Bahnschrift SemiCondensed" panose="020B0502040204020203" pitchFamily="34" charset="0"/>
              </a:rPr>
              <a:t>Mod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985A02E-9360-4F98-A526-B63870B0A618}"/>
              </a:ext>
            </a:extLst>
          </p:cNvPr>
          <p:cNvSpPr/>
          <p:nvPr/>
        </p:nvSpPr>
        <p:spPr>
          <a:xfrm>
            <a:off x="-18614959" y="490353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5"/>
                </a:solidFill>
                <a:latin typeface="Bahnschrift SemiCondensed" panose="020B0502040204020203" pitchFamily="34" charset="0"/>
              </a:rPr>
              <a:t>incomplete data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2C12CD-3F70-4278-8BF4-E441664C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30" name="íṡḷîḋè">
            <a:extLst>
              <a:ext uri="{FF2B5EF4-FFF2-40B4-BE49-F238E27FC236}">
                <a16:creationId xmlns:a16="http://schemas.microsoft.com/office/drawing/2014/main" id="{B7F5B752-1A77-417E-91D8-33FBF41BCC57}"/>
              </a:ext>
            </a:extLst>
          </p:cNvPr>
          <p:cNvSpPr/>
          <p:nvPr/>
        </p:nvSpPr>
        <p:spPr bwMode="auto">
          <a:xfrm>
            <a:off x="673100" y="1130300"/>
            <a:ext cx="4665826" cy="4645648"/>
          </a:xfrm>
          <a:custGeom>
            <a:avLst/>
            <a:gdLst>
              <a:gd name="T0" fmla="*/ 22479 w 24254"/>
              <a:gd name="T1" fmla="*/ 11199 h 24417"/>
              <a:gd name="T2" fmla="*/ 22248 w 24254"/>
              <a:gd name="T3" fmla="*/ 13410 h 24417"/>
              <a:gd name="T4" fmla="*/ 20412 w 24254"/>
              <a:gd name="T5" fmla="*/ 17822 h 24417"/>
              <a:gd name="T6" fmla="*/ 3277 w 24254"/>
              <a:gd name="T7" fmla="*/ 16815 h 24417"/>
              <a:gd name="T8" fmla="*/ 7332 w 24254"/>
              <a:gd name="T9" fmla="*/ 20859 h 24417"/>
              <a:gd name="T10" fmla="*/ 12987 w 24254"/>
              <a:gd name="T11" fmla="*/ 22005 h 24417"/>
              <a:gd name="T12" fmla="*/ 18723 w 24254"/>
              <a:gd name="T13" fmla="*/ 19554 h 24417"/>
              <a:gd name="T14" fmla="*/ 20530 w 24254"/>
              <a:gd name="T15" fmla="*/ 17316 h 24417"/>
              <a:gd name="T16" fmla="*/ 22099 w 24254"/>
              <a:gd name="T17" fmla="*/ 12776 h 24417"/>
              <a:gd name="T18" fmla="*/ 21971 w 24254"/>
              <a:gd name="T19" fmla="*/ 12717 h 24417"/>
              <a:gd name="T20" fmla="*/ 21211 w 24254"/>
              <a:gd name="T21" fmla="*/ 15621 h 24417"/>
              <a:gd name="T22" fmla="*/ 18477 w 24254"/>
              <a:gd name="T23" fmla="*/ 19347 h 24417"/>
              <a:gd name="T24" fmla="*/ 11958 w 24254"/>
              <a:gd name="T25" fmla="*/ 21719 h 24417"/>
              <a:gd name="T26" fmla="*/ 4888 w 24254"/>
              <a:gd name="T27" fmla="*/ 18528 h 24417"/>
              <a:gd name="T28" fmla="*/ 4201 w 24254"/>
              <a:gd name="T29" fmla="*/ 6487 h 24417"/>
              <a:gd name="T30" fmla="*/ 7846 w 24254"/>
              <a:gd name="T31" fmla="*/ 3227 h 24417"/>
              <a:gd name="T32" fmla="*/ 11670 w 24254"/>
              <a:gd name="T33" fmla="*/ 2145 h 24417"/>
              <a:gd name="T34" fmla="*/ 18052 w 24254"/>
              <a:gd name="T35" fmla="*/ 3346 h 24417"/>
              <a:gd name="T36" fmla="*/ 16756 w 24254"/>
              <a:gd name="T37" fmla="*/ 2202 h 24417"/>
              <a:gd name="T38" fmla="*/ 18623 w 24254"/>
              <a:gd name="T39" fmla="*/ 2724 h 24417"/>
              <a:gd name="T40" fmla="*/ 22021 w 24254"/>
              <a:gd name="T41" fmla="*/ 5341 h 24417"/>
              <a:gd name="T42" fmla="*/ 19420 w 24254"/>
              <a:gd name="T43" fmla="*/ 2486 h 24417"/>
              <a:gd name="T44" fmla="*/ 16609 w 24254"/>
              <a:gd name="T45" fmla="*/ 761 h 24417"/>
              <a:gd name="T46" fmla="*/ 13842 w 24254"/>
              <a:gd name="T47" fmla="*/ 108 h 24417"/>
              <a:gd name="T48" fmla="*/ 10646 w 24254"/>
              <a:gd name="T49" fmla="*/ 168 h 24417"/>
              <a:gd name="T50" fmla="*/ 5948 w 24254"/>
              <a:gd name="T51" fmla="*/ 1891 h 24417"/>
              <a:gd name="T52" fmla="*/ 2976 w 24254"/>
              <a:gd name="T53" fmla="*/ 4395 h 24417"/>
              <a:gd name="T54" fmla="*/ 1159 w 24254"/>
              <a:gd name="T55" fmla="*/ 7300 h 24417"/>
              <a:gd name="T56" fmla="*/ 142 w 24254"/>
              <a:gd name="T57" fmla="*/ 10740 h 24417"/>
              <a:gd name="T58" fmla="*/ 423 w 24254"/>
              <a:gd name="T59" fmla="*/ 15423 h 24417"/>
              <a:gd name="T60" fmla="*/ 1516 w 24254"/>
              <a:gd name="T61" fmla="*/ 17914 h 24417"/>
              <a:gd name="T62" fmla="*/ 3809 w 24254"/>
              <a:gd name="T63" fmla="*/ 20919 h 24417"/>
              <a:gd name="T64" fmla="*/ 4909 w 24254"/>
              <a:gd name="T65" fmla="*/ 22068 h 24417"/>
              <a:gd name="T66" fmla="*/ 6859 w 24254"/>
              <a:gd name="T67" fmla="*/ 23136 h 24417"/>
              <a:gd name="T68" fmla="*/ 8566 w 24254"/>
              <a:gd name="T69" fmla="*/ 23767 h 24417"/>
              <a:gd name="T70" fmla="*/ 12886 w 24254"/>
              <a:gd name="T71" fmla="*/ 24374 h 24417"/>
              <a:gd name="T72" fmla="*/ 15497 w 24254"/>
              <a:gd name="T73" fmla="*/ 23924 h 24417"/>
              <a:gd name="T74" fmla="*/ 18225 w 24254"/>
              <a:gd name="T75" fmla="*/ 22717 h 24417"/>
              <a:gd name="T76" fmla="*/ 21497 w 24254"/>
              <a:gd name="T77" fmla="*/ 20096 h 24417"/>
              <a:gd name="T78" fmla="*/ 23030 w 24254"/>
              <a:gd name="T79" fmla="*/ 17764 h 24417"/>
              <a:gd name="T80" fmla="*/ 24197 w 24254"/>
              <a:gd name="T81" fmla="*/ 14631 h 24417"/>
              <a:gd name="T82" fmla="*/ 22358 w 24254"/>
              <a:gd name="T83" fmla="*/ 18694 h 24417"/>
              <a:gd name="T84" fmla="*/ 20495 w 24254"/>
              <a:gd name="T85" fmla="*/ 20678 h 24417"/>
              <a:gd name="T86" fmla="*/ 17674 w 24254"/>
              <a:gd name="T87" fmla="*/ 22584 h 24417"/>
              <a:gd name="T88" fmla="*/ 19803 w 24254"/>
              <a:gd name="T89" fmla="*/ 21131 h 24417"/>
              <a:gd name="T90" fmla="*/ 22682 w 24254"/>
              <a:gd name="T91" fmla="*/ 17767 h 24417"/>
              <a:gd name="T92" fmla="*/ 24058 w 24254"/>
              <a:gd name="T93" fmla="*/ 13832 h 24417"/>
              <a:gd name="T94" fmla="*/ 24047 w 24254"/>
              <a:gd name="T95" fmla="*/ 10530 h 24417"/>
              <a:gd name="T96" fmla="*/ 23864 w 24254"/>
              <a:gd name="T97" fmla="*/ 11699 h 24417"/>
              <a:gd name="T98" fmla="*/ 23758 w 24254"/>
              <a:gd name="T99" fmla="*/ 12139 h 24417"/>
              <a:gd name="T100" fmla="*/ 23628 w 24254"/>
              <a:gd name="T101" fmla="*/ 11731 h 24417"/>
              <a:gd name="T102" fmla="*/ 22050 w 24254"/>
              <a:gd name="T103" fmla="*/ 17438 h 24417"/>
              <a:gd name="T104" fmla="*/ 19537 w 24254"/>
              <a:gd name="T105" fmla="*/ 20524 h 24417"/>
              <a:gd name="T106" fmla="*/ 15616 w 24254"/>
              <a:gd name="T107" fmla="*/ 22687 h 24417"/>
              <a:gd name="T108" fmla="*/ 15462 w 24254"/>
              <a:gd name="T109" fmla="*/ 22588 h 24417"/>
              <a:gd name="T110" fmla="*/ 18409 w 24254"/>
              <a:gd name="T111" fmla="*/ 21221 h 24417"/>
              <a:gd name="T112" fmla="*/ 20847 w 24254"/>
              <a:gd name="T113" fmla="*/ 18810 h 24417"/>
              <a:gd name="T114" fmla="*/ 22820 w 24254"/>
              <a:gd name="T115" fmla="*/ 14772 h 24417"/>
              <a:gd name="T116" fmla="*/ 23030 w 24254"/>
              <a:gd name="T117" fmla="*/ 12564 h 24417"/>
              <a:gd name="T118" fmla="*/ 22496 w 24254"/>
              <a:gd name="T119" fmla="*/ 14543 h 24417"/>
              <a:gd name="T120" fmla="*/ 22720 w 24254"/>
              <a:gd name="T121" fmla="*/ 11210 h 24417"/>
              <a:gd name="T122" fmla="*/ 22116 w 24254"/>
              <a:gd name="T123" fmla="*/ 8533 h 24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254" h="24417">
                <a:moveTo>
                  <a:pt x="21946" y="8403"/>
                </a:moveTo>
                <a:cubicBezTo>
                  <a:pt x="21964" y="8456"/>
                  <a:pt x="21988" y="8474"/>
                  <a:pt x="21979" y="8410"/>
                </a:cubicBezTo>
                <a:cubicBezTo>
                  <a:pt x="22004" y="8428"/>
                  <a:pt x="21997" y="8462"/>
                  <a:pt x="22000" y="8483"/>
                </a:cubicBezTo>
                <a:cubicBezTo>
                  <a:pt x="22042" y="8554"/>
                  <a:pt x="22051" y="8542"/>
                  <a:pt x="22078" y="8582"/>
                </a:cubicBezTo>
                <a:cubicBezTo>
                  <a:pt x="22096" y="8634"/>
                  <a:pt x="22114" y="8686"/>
                  <a:pt x="22144" y="8747"/>
                </a:cubicBezTo>
                <a:cubicBezTo>
                  <a:pt x="22152" y="8812"/>
                  <a:pt x="22170" y="8864"/>
                  <a:pt x="22200" y="8925"/>
                </a:cubicBezTo>
                <a:cubicBezTo>
                  <a:pt x="22186" y="9069"/>
                  <a:pt x="22292" y="9207"/>
                  <a:pt x="22300" y="9348"/>
                </a:cubicBezTo>
                <a:cubicBezTo>
                  <a:pt x="22278" y="9351"/>
                  <a:pt x="22260" y="9299"/>
                  <a:pt x="22243" y="9247"/>
                </a:cubicBezTo>
                <a:cubicBezTo>
                  <a:pt x="22213" y="9185"/>
                  <a:pt x="22195" y="9133"/>
                  <a:pt x="22173" y="9136"/>
                </a:cubicBezTo>
                <a:cubicBezTo>
                  <a:pt x="22218" y="9228"/>
                  <a:pt x="22230" y="9314"/>
                  <a:pt x="22253" y="9409"/>
                </a:cubicBezTo>
                <a:cubicBezTo>
                  <a:pt x="22277" y="9504"/>
                  <a:pt x="22288" y="9589"/>
                  <a:pt x="22348" y="9712"/>
                </a:cubicBezTo>
                <a:cubicBezTo>
                  <a:pt x="22335" y="9779"/>
                  <a:pt x="22316" y="9804"/>
                  <a:pt x="22373" y="9905"/>
                </a:cubicBezTo>
                <a:cubicBezTo>
                  <a:pt x="22348" y="9963"/>
                  <a:pt x="22324" y="9944"/>
                  <a:pt x="22300" y="9849"/>
                </a:cubicBezTo>
                <a:cubicBezTo>
                  <a:pt x="22285" y="9895"/>
                  <a:pt x="22309" y="9914"/>
                  <a:pt x="22302" y="9947"/>
                </a:cubicBezTo>
                <a:cubicBezTo>
                  <a:pt x="22318" y="9901"/>
                  <a:pt x="22369" y="10036"/>
                  <a:pt x="22379" y="9948"/>
                </a:cubicBezTo>
                <a:cubicBezTo>
                  <a:pt x="22366" y="10015"/>
                  <a:pt x="22387" y="10088"/>
                  <a:pt x="22407" y="10162"/>
                </a:cubicBezTo>
                <a:cubicBezTo>
                  <a:pt x="22410" y="10183"/>
                  <a:pt x="22425" y="10214"/>
                  <a:pt x="22431" y="10257"/>
                </a:cubicBezTo>
                <a:cubicBezTo>
                  <a:pt x="22446" y="10288"/>
                  <a:pt x="22451" y="10330"/>
                  <a:pt x="22445" y="10364"/>
                </a:cubicBezTo>
                <a:cubicBezTo>
                  <a:pt x="22439" y="10321"/>
                  <a:pt x="22433" y="10278"/>
                  <a:pt x="22406" y="10238"/>
                </a:cubicBezTo>
                <a:cubicBezTo>
                  <a:pt x="22401" y="10196"/>
                  <a:pt x="22386" y="10165"/>
                  <a:pt x="22383" y="10143"/>
                </a:cubicBezTo>
                <a:cubicBezTo>
                  <a:pt x="22353" y="10082"/>
                  <a:pt x="22338" y="10051"/>
                  <a:pt x="22335" y="10030"/>
                </a:cubicBezTo>
                <a:cubicBezTo>
                  <a:pt x="22317" y="10054"/>
                  <a:pt x="22337" y="10128"/>
                  <a:pt x="22370" y="10211"/>
                </a:cubicBezTo>
                <a:cubicBezTo>
                  <a:pt x="22376" y="10253"/>
                  <a:pt x="22391" y="10284"/>
                  <a:pt x="22408" y="10336"/>
                </a:cubicBezTo>
                <a:cubicBezTo>
                  <a:pt x="22423" y="10367"/>
                  <a:pt x="22429" y="10410"/>
                  <a:pt x="22444" y="10440"/>
                </a:cubicBezTo>
                <a:cubicBezTo>
                  <a:pt x="22401" y="10446"/>
                  <a:pt x="22430" y="10584"/>
                  <a:pt x="22451" y="10658"/>
                </a:cubicBezTo>
                <a:cubicBezTo>
                  <a:pt x="22463" y="10667"/>
                  <a:pt x="22469" y="10633"/>
                  <a:pt x="22472" y="10655"/>
                </a:cubicBezTo>
                <a:cubicBezTo>
                  <a:pt x="22487" y="10685"/>
                  <a:pt x="22478" y="10698"/>
                  <a:pt x="22493" y="10728"/>
                </a:cubicBezTo>
                <a:cubicBezTo>
                  <a:pt x="22481" y="10719"/>
                  <a:pt x="22466" y="10688"/>
                  <a:pt x="22462" y="10743"/>
                </a:cubicBezTo>
                <a:cubicBezTo>
                  <a:pt x="22473" y="10905"/>
                  <a:pt x="22517" y="11074"/>
                  <a:pt x="22549" y="11233"/>
                </a:cubicBezTo>
                <a:cubicBezTo>
                  <a:pt x="22539" y="11245"/>
                  <a:pt x="22527" y="11236"/>
                  <a:pt x="22530" y="11257"/>
                </a:cubicBezTo>
                <a:cubicBezTo>
                  <a:pt x="22495" y="11077"/>
                  <a:pt x="22465" y="11015"/>
                  <a:pt x="22433" y="10856"/>
                </a:cubicBezTo>
                <a:cubicBezTo>
                  <a:pt x="22420" y="11000"/>
                  <a:pt x="22458" y="11125"/>
                  <a:pt x="22457" y="11278"/>
                </a:cubicBezTo>
                <a:cubicBezTo>
                  <a:pt x="22484" y="11318"/>
                  <a:pt x="22457" y="11202"/>
                  <a:pt x="22479" y="11199"/>
                </a:cubicBezTo>
                <a:cubicBezTo>
                  <a:pt x="22494" y="11230"/>
                  <a:pt x="22497" y="11251"/>
                  <a:pt x="22502" y="11294"/>
                </a:cubicBezTo>
                <a:cubicBezTo>
                  <a:pt x="22492" y="11382"/>
                  <a:pt x="22450" y="11312"/>
                  <a:pt x="22452" y="11410"/>
                </a:cubicBezTo>
                <a:cubicBezTo>
                  <a:pt x="22467" y="11440"/>
                  <a:pt x="22476" y="11428"/>
                  <a:pt x="22494" y="11480"/>
                </a:cubicBezTo>
                <a:cubicBezTo>
                  <a:pt x="22501" y="11447"/>
                  <a:pt x="22489" y="11437"/>
                  <a:pt x="22486" y="11416"/>
                </a:cubicBezTo>
                <a:cubicBezTo>
                  <a:pt x="22501" y="11370"/>
                  <a:pt x="22547" y="11386"/>
                  <a:pt x="22508" y="11337"/>
                </a:cubicBezTo>
                <a:cubicBezTo>
                  <a:pt x="22537" y="11224"/>
                  <a:pt x="22554" y="11352"/>
                  <a:pt x="22553" y="11429"/>
                </a:cubicBezTo>
                <a:cubicBezTo>
                  <a:pt x="22529" y="11334"/>
                  <a:pt x="22536" y="11551"/>
                  <a:pt x="22503" y="11468"/>
                </a:cubicBezTo>
                <a:cubicBezTo>
                  <a:pt x="22500" y="11523"/>
                  <a:pt x="22551" y="11582"/>
                  <a:pt x="22535" y="11627"/>
                </a:cubicBezTo>
                <a:cubicBezTo>
                  <a:pt x="22522" y="11694"/>
                  <a:pt x="22503" y="11545"/>
                  <a:pt x="22485" y="11492"/>
                </a:cubicBezTo>
                <a:cubicBezTo>
                  <a:pt x="22467" y="11440"/>
                  <a:pt x="22457" y="11529"/>
                  <a:pt x="22430" y="11489"/>
                </a:cubicBezTo>
                <a:cubicBezTo>
                  <a:pt x="22417" y="11556"/>
                  <a:pt x="22459" y="11627"/>
                  <a:pt x="22437" y="11706"/>
                </a:cubicBezTo>
                <a:cubicBezTo>
                  <a:pt x="22413" y="11687"/>
                  <a:pt x="22426" y="11620"/>
                  <a:pt x="22377" y="11583"/>
                </a:cubicBezTo>
                <a:cubicBezTo>
                  <a:pt x="22352" y="11641"/>
                  <a:pt x="22406" y="11721"/>
                  <a:pt x="22372" y="11791"/>
                </a:cubicBezTo>
                <a:cubicBezTo>
                  <a:pt x="22399" y="11831"/>
                  <a:pt x="22382" y="11702"/>
                  <a:pt x="22400" y="11678"/>
                </a:cubicBezTo>
                <a:cubicBezTo>
                  <a:pt x="22409" y="11742"/>
                  <a:pt x="22417" y="11807"/>
                  <a:pt x="22402" y="11852"/>
                </a:cubicBezTo>
                <a:cubicBezTo>
                  <a:pt x="22424" y="11773"/>
                  <a:pt x="22451" y="11813"/>
                  <a:pt x="22478" y="11853"/>
                </a:cubicBezTo>
                <a:cubicBezTo>
                  <a:pt x="22481" y="11874"/>
                  <a:pt x="22472" y="11887"/>
                  <a:pt x="22474" y="11908"/>
                </a:cubicBezTo>
                <a:cubicBezTo>
                  <a:pt x="22464" y="11997"/>
                  <a:pt x="22457" y="11856"/>
                  <a:pt x="22447" y="11945"/>
                </a:cubicBezTo>
                <a:cubicBezTo>
                  <a:pt x="22474" y="11984"/>
                  <a:pt x="22469" y="12116"/>
                  <a:pt x="22465" y="12247"/>
                </a:cubicBezTo>
                <a:cubicBezTo>
                  <a:pt x="22448" y="12369"/>
                  <a:pt x="22417" y="12461"/>
                  <a:pt x="22392" y="12442"/>
                </a:cubicBezTo>
                <a:cubicBezTo>
                  <a:pt x="22422" y="12504"/>
                  <a:pt x="22409" y="12571"/>
                  <a:pt x="22431" y="12568"/>
                </a:cubicBezTo>
                <a:cubicBezTo>
                  <a:pt x="22412" y="12669"/>
                  <a:pt x="22391" y="12595"/>
                  <a:pt x="22366" y="12653"/>
                </a:cubicBezTo>
                <a:cubicBezTo>
                  <a:pt x="22376" y="12565"/>
                  <a:pt x="22362" y="12457"/>
                  <a:pt x="22372" y="12369"/>
                </a:cubicBezTo>
                <a:cubicBezTo>
                  <a:pt x="22347" y="12427"/>
                  <a:pt x="22332" y="12647"/>
                  <a:pt x="22337" y="12766"/>
                </a:cubicBezTo>
                <a:cubicBezTo>
                  <a:pt x="22321" y="12812"/>
                  <a:pt x="22322" y="12735"/>
                  <a:pt x="22297" y="12793"/>
                </a:cubicBezTo>
                <a:cubicBezTo>
                  <a:pt x="22299" y="12891"/>
                  <a:pt x="22323" y="12986"/>
                  <a:pt x="22273" y="13102"/>
                </a:cubicBezTo>
                <a:cubicBezTo>
                  <a:pt x="22306" y="13108"/>
                  <a:pt x="22296" y="13197"/>
                  <a:pt x="22333" y="13148"/>
                </a:cubicBezTo>
                <a:cubicBezTo>
                  <a:pt x="22296" y="13197"/>
                  <a:pt x="22341" y="13289"/>
                  <a:pt x="22288" y="13383"/>
                </a:cubicBezTo>
                <a:cubicBezTo>
                  <a:pt x="22347" y="13332"/>
                  <a:pt x="22286" y="13536"/>
                  <a:pt x="22320" y="13542"/>
                </a:cubicBezTo>
                <a:cubicBezTo>
                  <a:pt x="22285" y="13689"/>
                  <a:pt x="22287" y="13460"/>
                  <a:pt x="22256" y="13551"/>
                </a:cubicBezTo>
                <a:cubicBezTo>
                  <a:pt x="22276" y="13625"/>
                  <a:pt x="22273" y="13680"/>
                  <a:pt x="22257" y="13725"/>
                </a:cubicBezTo>
                <a:cubicBezTo>
                  <a:pt x="22235" y="13728"/>
                  <a:pt x="22233" y="13707"/>
                  <a:pt x="22221" y="13697"/>
                </a:cubicBezTo>
                <a:cubicBezTo>
                  <a:pt x="22218" y="13600"/>
                  <a:pt x="22238" y="13499"/>
                  <a:pt x="22248" y="13410"/>
                </a:cubicBezTo>
                <a:cubicBezTo>
                  <a:pt x="22264" y="13365"/>
                  <a:pt x="22258" y="13322"/>
                  <a:pt x="22274" y="13276"/>
                </a:cubicBezTo>
                <a:cubicBezTo>
                  <a:pt x="22268" y="13233"/>
                  <a:pt x="22262" y="13190"/>
                  <a:pt x="22257" y="13147"/>
                </a:cubicBezTo>
                <a:cubicBezTo>
                  <a:pt x="22241" y="13193"/>
                  <a:pt x="22271" y="13255"/>
                  <a:pt x="22231" y="13282"/>
                </a:cubicBezTo>
                <a:cubicBezTo>
                  <a:pt x="22248" y="13410"/>
                  <a:pt x="22222" y="13545"/>
                  <a:pt x="22193" y="13657"/>
                </a:cubicBezTo>
                <a:cubicBezTo>
                  <a:pt x="22181" y="13725"/>
                  <a:pt x="22155" y="13783"/>
                  <a:pt x="22143" y="13850"/>
                </a:cubicBezTo>
                <a:cubicBezTo>
                  <a:pt x="22139" y="13905"/>
                  <a:pt x="22126" y="13972"/>
                  <a:pt x="22135" y="14036"/>
                </a:cubicBezTo>
                <a:cubicBezTo>
                  <a:pt x="22097" y="14085"/>
                  <a:pt x="22075" y="14164"/>
                  <a:pt x="22053" y="14243"/>
                </a:cubicBezTo>
                <a:cubicBezTo>
                  <a:pt x="22040" y="14310"/>
                  <a:pt x="22018" y="14390"/>
                  <a:pt x="21996" y="14469"/>
                </a:cubicBezTo>
                <a:cubicBezTo>
                  <a:pt x="21973" y="14548"/>
                  <a:pt x="21960" y="14616"/>
                  <a:pt x="21948" y="14683"/>
                </a:cubicBezTo>
                <a:cubicBezTo>
                  <a:pt x="21922" y="14741"/>
                  <a:pt x="21907" y="14786"/>
                  <a:pt x="21876" y="14801"/>
                </a:cubicBezTo>
                <a:cubicBezTo>
                  <a:pt x="21854" y="14881"/>
                  <a:pt x="21832" y="14960"/>
                  <a:pt x="21797" y="15030"/>
                </a:cubicBezTo>
                <a:cubicBezTo>
                  <a:pt x="21836" y="15079"/>
                  <a:pt x="21765" y="15198"/>
                  <a:pt x="21746" y="15299"/>
                </a:cubicBezTo>
                <a:cubicBezTo>
                  <a:pt x="21724" y="15301"/>
                  <a:pt x="21731" y="15268"/>
                  <a:pt x="21703" y="15304"/>
                </a:cubicBezTo>
                <a:cubicBezTo>
                  <a:pt x="21727" y="15323"/>
                  <a:pt x="21689" y="15448"/>
                  <a:pt x="21665" y="15429"/>
                </a:cubicBezTo>
                <a:cubicBezTo>
                  <a:pt x="21629" y="15652"/>
                  <a:pt x="21499" y="15822"/>
                  <a:pt x="21439" y="16027"/>
                </a:cubicBezTo>
                <a:cubicBezTo>
                  <a:pt x="21476" y="15978"/>
                  <a:pt x="21456" y="16079"/>
                  <a:pt x="21450" y="16112"/>
                </a:cubicBezTo>
                <a:cubicBezTo>
                  <a:pt x="21422" y="16149"/>
                  <a:pt x="21451" y="16036"/>
                  <a:pt x="21429" y="16039"/>
                </a:cubicBezTo>
                <a:cubicBezTo>
                  <a:pt x="21420" y="16051"/>
                  <a:pt x="21414" y="16085"/>
                  <a:pt x="21404" y="16097"/>
                </a:cubicBezTo>
                <a:cubicBezTo>
                  <a:pt x="21386" y="16121"/>
                  <a:pt x="21376" y="16133"/>
                  <a:pt x="21370" y="16167"/>
                </a:cubicBezTo>
                <a:cubicBezTo>
                  <a:pt x="21342" y="16203"/>
                  <a:pt x="21336" y="16237"/>
                  <a:pt x="21320" y="16283"/>
                </a:cubicBezTo>
                <a:cubicBezTo>
                  <a:pt x="21288" y="16374"/>
                  <a:pt x="21257" y="16465"/>
                  <a:pt x="21222" y="16535"/>
                </a:cubicBezTo>
                <a:cubicBezTo>
                  <a:pt x="21186" y="16508"/>
                  <a:pt x="21080" y="16696"/>
                  <a:pt x="21089" y="16761"/>
                </a:cubicBezTo>
                <a:cubicBezTo>
                  <a:pt x="21058" y="16776"/>
                  <a:pt x="21052" y="16809"/>
                  <a:pt x="21012" y="16836"/>
                </a:cubicBezTo>
                <a:cubicBezTo>
                  <a:pt x="21027" y="16867"/>
                  <a:pt x="21011" y="16913"/>
                  <a:pt x="20974" y="16961"/>
                </a:cubicBezTo>
                <a:cubicBezTo>
                  <a:pt x="20958" y="17007"/>
                  <a:pt x="20921" y="17056"/>
                  <a:pt x="20886" y="17126"/>
                </a:cubicBezTo>
                <a:cubicBezTo>
                  <a:pt x="20849" y="17174"/>
                  <a:pt x="20803" y="17235"/>
                  <a:pt x="20768" y="17305"/>
                </a:cubicBezTo>
                <a:cubicBezTo>
                  <a:pt x="20750" y="17330"/>
                  <a:pt x="20731" y="17354"/>
                  <a:pt x="20725" y="17387"/>
                </a:cubicBezTo>
                <a:cubicBezTo>
                  <a:pt x="20706" y="17412"/>
                  <a:pt x="20700" y="17445"/>
                  <a:pt x="20681" y="17470"/>
                </a:cubicBezTo>
                <a:cubicBezTo>
                  <a:pt x="20601" y="17524"/>
                  <a:pt x="20560" y="17628"/>
                  <a:pt x="20498" y="17734"/>
                </a:cubicBezTo>
                <a:cubicBezTo>
                  <a:pt x="20480" y="17758"/>
                  <a:pt x="20473" y="17792"/>
                  <a:pt x="20455" y="17816"/>
                </a:cubicBezTo>
                <a:cubicBezTo>
                  <a:pt x="20445" y="17828"/>
                  <a:pt x="20427" y="17853"/>
                  <a:pt x="20408" y="17877"/>
                </a:cubicBezTo>
                <a:cubicBezTo>
                  <a:pt x="20392" y="17923"/>
                  <a:pt x="20352" y="17950"/>
                  <a:pt x="20322" y="17965"/>
                </a:cubicBezTo>
                <a:cubicBezTo>
                  <a:pt x="20359" y="17916"/>
                  <a:pt x="20396" y="17868"/>
                  <a:pt x="20412" y="17822"/>
                </a:cubicBezTo>
                <a:cubicBezTo>
                  <a:pt x="20369" y="17828"/>
                  <a:pt x="20297" y="18023"/>
                  <a:pt x="20191" y="18135"/>
                </a:cubicBezTo>
                <a:cubicBezTo>
                  <a:pt x="20154" y="18184"/>
                  <a:pt x="19988" y="18326"/>
                  <a:pt x="20024" y="18354"/>
                </a:cubicBezTo>
                <a:cubicBezTo>
                  <a:pt x="19996" y="18390"/>
                  <a:pt x="19954" y="18396"/>
                  <a:pt x="19926" y="18433"/>
                </a:cubicBezTo>
                <a:cubicBezTo>
                  <a:pt x="19888" y="18481"/>
                  <a:pt x="19842" y="18542"/>
                  <a:pt x="19805" y="18591"/>
                </a:cubicBezTo>
                <a:cubicBezTo>
                  <a:pt x="19768" y="18639"/>
                  <a:pt x="19721" y="18700"/>
                  <a:pt x="19684" y="18749"/>
                </a:cubicBezTo>
                <a:cubicBezTo>
                  <a:pt x="19656" y="18785"/>
                  <a:pt x="19616" y="18812"/>
                  <a:pt x="19579" y="18861"/>
                </a:cubicBezTo>
                <a:cubicBezTo>
                  <a:pt x="19539" y="18888"/>
                  <a:pt x="19493" y="18949"/>
                  <a:pt x="19455" y="18997"/>
                </a:cubicBezTo>
                <a:cubicBezTo>
                  <a:pt x="19348" y="19088"/>
                  <a:pt x="19252" y="19188"/>
                  <a:pt x="19165" y="19276"/>
                </a:cubicBezTo>
                <a:cubicBezTo>
                  <a:pt x="18585" y="19834"/>
                  <a:pt x="17939" y="20303"/>
                  <a:pt x="17241" y="20713"/>
                </a:cubicBezTo>
                <a:cubicBezTo>
                  <a:pt x="17069" y="20812"/>
                  <a:pt x="16894" y="20890"/>
                  <a:pt x="16722" y="20990"/>
                </a:cubicBezTo>
                <a:cubicBezTo>
                  <a:pt x="16630" y="21035"/>
                  <a:pt x="16538" y="21080"/>
                  <a:pt x="16445" y="21125"/>
                </a:cubicBezTo>
                <a:cubicBezTo>
                  <a:pt x="16178" y="21248"/>
                  <a:pt x="16178" y="21248"/>
                  <a:pt x="16178" y="21248"/>
                </a:cubicBezTo>
                <a:cubicBezTo>
                  <a:pt x="15899" y="21362"/>
                  <a:pt x="15899" y="21362"/>
                  <a:pt x="15899" y="21362"/>
                </a:cubicBezTo>
                <a:cubicBezTo>
                  <a:pt x="15816" y="21395"/>
                  <a:pt x="15724" y="21440"/>
                  <a:pt x="15629" y="21464"/>
                </a:cubicBezTo>
                <a:cubicBezTo>
                  <a:pt x="15442" y="21533"/>
                  <a:pt x="15255" y="21602"/>
                  <a:pt x="15068" y="21671"/>
                </a:cubicBezTo>
                <a:cubicBezTo>
                  <a:pt x="14311" y="21881"/>
                  <a:pt x="13537" y="22040"/>
                  <a:pt x="12736" y="22083"/>
                </a:cubicBezTo>
                <a:cubicBezTo>
                  <a:pt x="12455" y="22099"/>
                  <a:pt x="12455" y="22099"/>
                  <a:pt x="12455" y="22099"/>
                </a:cubicBezTo>
                <a:cubicBezTo>
                  <a:pt x="12390" y="22107"/>
                  <a:pt x="12345" y="22092"/>
                  <a:pt x="12302" y="22098"/>
                </a:cubicBezTo>
                <a:cubicBezTo>
                  <a:pt x="12149" y="22096"/>
                  <a:pt x="12149" y="22096"/>
                  <a:pt x="12149" y="22096"/>
                </a:cubicBezTo>
                <a:cubicBezTo>
                  <a:pt x="12008" y="22104"/>
                  <a:pt x="12008" y="22104"/>
                  <a:pt x="12008" y="22104"/>
                </a:cubicBezTo>
                <a:cubicBezTo>
                  <a:pt x="11932" y="22104"/>
                  <a:pt x="11932" y="22104"/>
                  <a:pt x="11932" y="22104"/>
                </a:cubicBezTo>
                <a:cubicBezTo>
                  <a:pt x="11856" y="22103"/>
                  <a:pt x="11856" y="22103"/>
                  <a:pt x="11856" y="22103"/>
                </a:cubicBezTo>
                <a:cubicBezTo>
                  <a:pt x="11560" y="22088"/>
                  <a:pt x="11560" y="22088"/>
                  <a:pt x="11560" y="22088"/>
                </a:cubicBezTo>
                <a:cubicBezTo>
                  <a:pt x="11462" y="22091"/>
                  <a:pt x="11361" y="22072"/>
                  <a:pt x="11263" y="22074"/>
                </a:cubicBezTo>
                <a:cubicBezTo>
                  <a:pt x="10964" y="22038"/>
                  <a:pt x="10964" y="22038"/>
                  <a:pt x="10964" y="22038"/>
                </a:cubicBezTo>
                <a:cubicBezTo>
                  <a:pt x="10677" y="22011"/>
                  <a:pt x="10677" y="22011"/>
                  <a:pt x="10677" y="22011"/>
                </a:cubicBezTo>
                <a:cubicBezTo>
                  <a:pt x="10522" y="21988"/>
                  <a:pt x="10522" y="21988"/>
                  <a:pt x="10522" y="21988"/>
                </a:cubicBezTo>
                <a:cubicBezTo>
                  <a:pt x="10476" y="21973"/>
                  <a:pt x="10421" y="21969"/>
                  <a:pt x="10388" y="21963"/>
                </a:cubicBezTo>
                <a:cubicBezTo>
                  <a:pt x="8826" y="21693"/>
                  <a:pt x="7336" y="21055"/>
                  <a:pt x="6078" y="20112"/>
                </a:cubicBezTo>
                <a:cubicBezTo>
                  <a:pt x="5438" y="19642"/>
                  <a:pt x="4876" y="19097"/>
                  <a:pt x="4360" y="18490"/>
                </a:cubicBezTo>
                <a:cubicBezTo>
                  <a:pt x="3865" y="17881"/>
                  <a:pt x="3438" y="17208"/>
                  <a:pt x="3082" y="16493"/>
                </a:cubicBezTo>
                <a:cubicBezTo>
                  <a:pt x="3086" y="16438"/>
                  <a:pt x="3113" y="16478"/>
                  <a:pt x="3137" y="16496"/>
                </a:cubicBezTo>
                <a:cubicBezTo>
                  <a:pt x="3185" y="16610"/>
                  <a:pt x="3221" y="16714"/>
                  <a:pt x="3277" y="16815"/>
                </a:cubicBezTo>
                <a:cubicBezTo>
                  <a:pt x="3334" y="16917"/>
                  <a:pt x="3404" y="17027"/>
                  <a:pt x="3461" y="17129"/>
                </a:cubicBezTo>
                <a:cubicBezTo>
                  <a:pt x="3503" y="17199"/>
                  <a:pt x="3503" y="17199"/>
                  <a:pt x="3503" y="17199"/>
                </a:cubicBezTo>
                <a:cubicBezTo>
                  <a:pt x="3530" y="17239"/>
                  <a:pt x="3530" y="17239"/>
                  <a:pt x="3530" y="17239"/>
                </a:cubicBezTo>
                <a:cubicBezTo>
                  <a:pt x="3557" y="17279"/>
                  <a:pt x="3557" y="17279"/>
                  <a:pt x="3557" y="17279"/>
                </a:cubicBezTo>
                <a:cubicBezTo>
                  <a:pt x="3596" y="17329"/>
                  <a:pt x="3614" y="17381"/>
                  <a:pt x="3653" y="17430"/>
                </a:cubicBezTo>
                <a:cubicBezTo>
                  <a:pt x="3692" y="17479"/>
                  <a:pt x="3710" y="17531"/>
                  <a:pt x="3749" y="17580"/>
                </a:cubicBezTo>
                <a:cubicBezTo>
                  <a:pt x="3767" y="17633"/>
                  <a:pt x="3806" y="17682"/>
                  <a:pt x="3824" y="17734"/>
                </a:cubicBezTo>
                <a:cubicBezTo>
                  <a:pt x="3870" y="17750"/>
                  <a:pt x="3885" y="17780"/>
                  <a:pt x="3924" y="17829"/>
                </a:cubicBezTo>
                <a:cubicBezTo>
                  <a:pt x="3927" y="17851"/>
                  <a:pt x="3909" y="17799"/>
                  <a:pt x="3875" y="17792"/>
                </a:cubicBezTo>
                <a:cubicBezTo>
                  <a:pt x="3917" y="17863"/>
                  <a:pt x="3999" y="17907"/>
                  <a:pt x="4008" y="17971"/>
                </a:cubicBezTo>
                <a:cubicBezTo>
                  <a:pt x="4056" y="18008"/>
                  <a:pt x="4026" y="17946"/>
                  <a:pt x="4075" y="17984"/>
                </a:cubicBezTo>
                <a:cubicBezTo>
                  <a:pt x="4098" y="18079"/>
                  <a:pt x="4180" y="18198"/>
                  <a:pt x="4258" y="18297"/>
                </a:cubicBezTo>
                <a:cubicBezTo>
                  <a:pt x="4309" y="18355"/>
                  <a:pt x="4348" y="18405"/>
                  <a:pt x="4400" y="18463"/>
                </a:cubicBezTo>
                <a:cubicBezTo>
                  <a:pt x="4439" y="18512"/>
                  <a:pt x="4500" y="18559"/>
                  <a:pt x="4548" y="18596"/>
                </a:cubicBezTo>
                <a:cubicBezTo>
                  <a:pt x="4614" y="18685"/>
                  <a:pt x="4669" y="18765"/>
                  <a:pt x="4735" y="18854"/>
                </a:cubicBezTo>
                <a:cubicBezTo>
                  <a:pt x="4810" y="18931"/>
                  <a:pt x="4886" y="19008"/>
                  <a:pt x="4971" y="19073"/>
                </a:cubicBezTo>
                <a:cubicBezTo>
                  <a:pt x="4983" y="19082"/>
                  <a:pt x="4986" y="19104"/>
                  <a:pt x="4974" y="19094"/>
                </a:cubicBezTo>
                <a:cubicBezTo>
                  <a:pt x="5010" y="19122"/>
                  <a:pt x="5034" y="19141"/>
                  <a:pt x="5061" y="19181"/>
                </a:cubicBezTo>
                <a:cubicBezTo>
                  <a:pt x="5098" y="19209"/>
                  <a:pt x="5134" y="19236"/>
                  <a:pt x="5161" y="19276"/>
                </a:cubicBezTo>
                <a:cubicBezTo>
                  <a:pt x="5234" y="19332"/>
                  <a:pt x="5309" y="19409"/>
                  <a:pt x="5373" y="19477"/>
                </a:cubicBezTo>
                <a:cubicBezTo>
                  <a:pt x="5446" y="19532"/>
                  <a:pt x="5497" y="19591"/>
                  <a:pt x="5558" y="19637"/>
                </a:cubicBezTo>
                <a:cubicBezTo>
                  <a:pt x="5630" y="19693"/>
                  <a:pt x="5679" y="19730"/>
                  <a:pt x="5737" y="19755"/>
                </a:cubicBezTo>
                <a:cubicBezTo>
                  <a:pt x="5764" y="19795"/>
                  <a:pt x="5718" y="19779"/>
                  <a:pt x="5767" y="19816"/>
                </a:cubicBezTo>
                <a:cubicBezTo>
                  <a:pt x="5791" y="19835"/>
                  <a:pt x="5764" y="19795"/>
                  <a:pt x="5761" y="19773"/>
                </a:cubicBezTo>
                <a:cubicBezTo>
                  <a:pt x="5776" y="19804"/>
                  <a:pt x="5800" y="19823"/>
                  <a:pt x="5812" y="19832"/>
                </a:cubicBezTo>
                <a:cubicBezTo>
                  <a:pt x="5836" y="19850"/>
                  <a:pt x="5861" y="19869"/>
                  <a:pt x="5873" y="19878"/>
                </a:cubicBezTo>
                <a:cubicBezTo>
                  <a:pt x="5900" y="19918"/>
                  <a:pt x="5948" y="19955"/>
                  <a:pt x="5985" y="19983"/>
                </a:cubicBezTo>
                <a:cubicBezTo>
                  <a:pt x="6058" y="20039"/>
                  <a:pt x="6130" y="20094"/>
                  <a:pt x="6224" y="20147"/>
                </a:cubicBezTo>
                <a:cubicBezTo>
                  <a:pt x="6297" y="20203"/>
                  <a:pt x="6379" y="20246"/>
                  <a:pt x="6464" y="20311"/>
                </a:cubicBezTo>
                <a:cubicBezTo>
                  <a:pt x="6500" y="20339"/>
                  <a:pt x="6537" y="20367"/>
                  <a:pt x="6573" y="20394"/>
                </a:cubicBezTo>
                <a:cubicBezTo>
                  <a:pt x="6622" y="20431"/>
                  <a:pt x="6658" y="20459"/>
                  <a:pt x="6706" y="20496"/>
                </a:cubicBezTo>
                <a:cubicBezTo>
                  <a:pt x="6759" y="20478"/>
                  <a:pt x="6919" y="20620"/>
                  <a:pt x="7004" y="20685"/>
                </a:cubicBezTo>
                <a:cubicBezTo>
                  <a:pt x="7156" y="20763"/>
                  <a:pt x="7290" y="20788"/>
                  <a:pt x="7332" y="20859"/>
                </a:cubicBezTo>
                <a:cubicBezTo>
                  <a:pt x="7411" y="20881"/>
                  <a:pt x="7481" y="20915"/>
                  <a:pt x="7539" y="20940"/>
                </a:cubicBezTo>
                <a:cubicBezTo>
                  <a:pt x="7609" y="20974"/>
                  <a:pt x="7669" y="21021"/>
                  <a:pt x="7730" y="21067"/>
                </a:cubicBezTo>
                <a:cubicBezTo>
                  <a:pt x="7809" y="21089"/>
                  <a:pt x="7703" y="21027"/>
                  <a:pt x="7782" y="21049"/>
                </a:cubicBezTo>
                <a:cubicBezTo>
                  <a:pt x="7791" y="21037"/>
                  <a:pt x="7816" y="21056"/>
                  <a:pt x="7831" y="21086"/>
                </a:cubicBezTo>
                <a:cubicBezTo>
                  <a:pt x="7843" y="21095"/>
                  <a:pt x="7855" y="21105"/>
                  <a:pt x="7834" y="21108"/>
                </a:cubicBezTo>
                <a:cubicBezTo>
                  <a:pt x="7943" y="21115"/>
                  <a:pt x="8007" y="21182"/>
                  <a:pt x="8120" y="21211"/>
                </a:cubicBezTo>
                <a:cubicBezTo>
                  <a:pt x="8144" y="21229"/>
                  <a:pt x="8122" y="21232"/>
                  <a:pt x="8101" y="21235"/>
                </a:cubicBezTo>
                <a:cubicBezTo>
                  <a:pt x="8177" y="21236"/>
                  <a:pt x="8235" y="21261"/>
                  <a:pt x="8293" y="21286"/>
                </a:cubicBezTo>
                <a:cubicBezTo>
                  <a:pt x="8351" y="21311"/>
                  <a:pt x="8409" y="21335"/>
                  <a:pt x="8476" y="21348"/>
                </a:cubicBezTo>
                <a:cubicBezTo>
                  <a:pt x="8472" y="21403"/>
                  <a:pt x="8488" y="21357"/>
                  <a:pt x="8573" y="21422"/>
                </a:cubicBezTo>
                <a:cubicBezTo>
                  <a:pt x="8570" y="21401"/>
                  <a:pt x="8625" y="21404"/>
                  <a:pt x="8670" y="21420"/>
                </a:cubicBezTo>
                <a:cubicBezTo>
                  <a:pt x="8661" y="21432"/>
                  <a:pt x="8685" y="21451"/>
                  <a:pt x="8710" y="21469"/>
                </a:cubicBezTo>
                <a:cubicBezTo>
                  <a:pt x="8817" y="21455"/>
                  <a:pt x="8953" y="21578"/>
                  <a:pt x="9139" y="21586"/>
                </a:cubicBezTo>
                <a:cubicBezTo>
                  <a:pt x="9163" y="21604"/>
                  <a:pt x="9175" y="21614"/>
                  <a:pt x="9154" y="21617"/>
                </a:cubicBezTo>
                <a:cubicBezTo>
                  <a:pt x="9255" y="21636"/>
                  <a:pt x="9425" y="21689"/>
                  <a:pt x="9584" y="21733"/>
                </a:cubicBezTo>
                <a:cubicBezTo>
                  <a:pt x="9742" y="21777"/>
                  <a:pt x="9885" y="21791"/>
                  <a:pt x="9907" y="21788"/>
                </a:cubicBezTo>
                <a:cubicBezTo>
                  <a:pt x="9974" y="21801"/>
                  <a:pt x="10020" y="21816"/>
                  <a:pt x="10077" y="21841"/>
                </a:cubicBezTo>
                <a:cubicBezTo>
                  <a:pt x="10132" y="21845"/>
                  <a:pt x="10178" y="21860"/>
                  <a:pt x="10242" y="21852"/>
                </a:cubicBezTo>
                <a:cubicBezTo>
                  <a:pt x="10288" y="21867"/>
                  <a:pt x="10358" y="21901"/>
                  <a:pt x="10425" y="21914"/>
                </a:cubicBezTo>
                <a:cubicBezTo>
                  <a:pt x="10458" y="21921"/>
                  <a:pt x="10480" y="21918"/>
                  <a:pt x="10513" y="21924"/>
                </a:cubicBezTo>
                <a:cubicBezTo>
                  <a:pt x="10526" y="21933"/>
                  <a:pt x="10547" y="21931"/>
                  <a:pt x="10568" y="21928"/>
                </a:cubicBezTo>
                <a:cubicBezTo>
                  <a:pt x="10657" y="21938"/>
                  <a:pt x="10745" y="21947"/>
                  <a:pt x="10825" y="21969"/>
                </a:cubicBezTo>
                <a:cubicBezTo>
                  <a:pt x="10913" y="21979"/>
                  <a:pt x="10989" y="21980"/>
                  <a:pt x="11078" y="21990"/>
                </a:cubicBezTo>
                <a:cubicBezTo>
                  <a:pt x="11166" y="22000"/>
                  <a:pt x="11243" y="22000"/>
                  <a:pt x="11331" y="22010"/>
                </a:cubicBezTo>
                <a:cubicBezTo>
                  <a:pt x="11453" y="22026"/>
                  <a:pt x="11453" y="22026"/>
                  <a:pt x="11453" y="22026"/>
                </a:cubicBezTo>
                <a:cubicBezTo>
                  <a:pt x="11585" y="22031"/>
                  <a:pt x="11585" y="22031"/>
                  <a:pt x="11585" y="22031"/>
                </a:cubicBezTo>
                <a:cubicBezTo>
                  <a:pt x="11749" y="22041"/>
                  <a:pt x="11924" y="22039"/>
                  <a:pt x="12098" y="22038"/>
                </a:cubicBezTo>
                <a:cubicBezTo>
                  <a:pt x="12174" y="22038"/>
                  <a:pt x="12272" y="22036"/>
                  <a:pt x="12348" y="22037"/>
                </a:cubicBezTo>
                <a:cubicBezTo>
                  <a:pt x="12403" y="22040"/>
                  <a:pt x="12446" y="22035"/>
                  <a:pt x="12489" y="22029"/>
                </a:cubicBezTo>
                <a:cubicBezTo>
                  <a:pt x="12535" y="22044"/>
                  <a:pt x="12577" y="22039"/>
                  <a:pt x="12620" y="22033"/>
                </a:cubicBezTo>
                <a:cubicBezTo>
                  <a:pt x="12663" y="22027"/>
                  <a:pt x="12639" y="22009"/>
                  <a:pt x="12660" y="22006"/>
                </a:cubicBezTo>
                <a:cubicBezTo>
                  <a:pt x="12727" y="22018"/>
                  <a:pt x="12737" y="22006"/>
                  <a:pt x="12828" y="22038"/>
                </a:cubicBezTo>
                <a:cubicBezTo>
                  <a:pt x="12880" y="22020"/>
                  <a:pt x="12923" y="22014"/>
                  <a:pt x="12987" y="22005"/>
                </a:cubicBezTo>
                <a:cubicBezTo>
                  <a:pt x="13030" y="21999"/>
                  <a:pt x="13094" y="21991"/>
                  <a:pt x="13137" y="21985"/>
                </a:cubicBezTo>
                <a:cubicBezTo>
                  <a:pt x="13201" y="21976"/>
                  <a:pt x="13256" y="21980"/>
                  <a:pt x="13320" y="21971"/>
                </a:cubicBezTo>
                <a:cubicBezTo>
                  <a:pt x="13363" y="21965"/>
                  <a:pt x="13428" y="21957"/>
                  <a:pt x="13492" y="21948"/>
                </a:cubicBezTo>
                <a:cubicBezTo>
                  <a:pt x="13599" y="21934"/>
                  <a:pt x="13727" y="21916"/>
                  <a:pt x="13844" y="21890"/>
                </a:cubicBezTo>
                <a:cubicBezTo>
                  <a:pt x="13960" y="21863"/>
                  <a:pt x="14076" y="21837"/>
                  <a:pt x="14181" y="21801"/>
                </a:cubicBezTo>
                <a:cubicBezTo>
                  <a:pt x="14224" y="21795"/>
                  <a:pt x="14205" y="21819"/>
                  <a:pt x="14248" y="21814"/>
                </a:cubicBezTo>
                <a:cubicBezTo>
                  <a:pt x="14291" y="21808"/>
                  <a:pt x="14333" y="21802"/>
                  <a:pt x="14373" y="21775"/>
                </a:cubicBezTo>
                <a:cubicBezTo>
                  <a:pt x="14490" y="21748"/>
                  <a:pt x="14490" y="21748"/>
                  <a:pt x="14490" y="21748"/>
                </a:cubicBezTo>
                <a:cubicBezTo>
                  <a:pt x="14585" y="21725"/>
                  <a:pt x="14668" y="21692"/>
                  <a:pt x="14753" y="21680"/>
                </a:cubicBezTo>
                <a:cubicBezTo>
                  <a:pt x="14741" y="21671"/>
                  <a:pt x="14693" y="21634"/>
                  <a:pt x="14846" y="21559"/>
                </a:cubicBezTo>
                <a:cubicBezTo>
                  <a:pt x="14892" y="21574"/>
                  <a:pt x="14852" y="21602"/>
                  <a:pt x="14959" y="21587"/>
                </a:cubicBezTo>
                <a:cubicBezTo>
                  <a:pt x="14992" y="21593"/>
                  <a:pt x="14870" y="21654"/>
                  <a:pt x="14845" y="21635"/>
                </a:cubicBezTo>
                <a:cubicBezTo>
                  <a:pt x="14787" y="21687"/>
                  <a:pt x="14967" y="21651"/>
                  <a:pt x="14952" y="21621"/>
                </a:cubicBezTo>
                <a:cubicBezTo>
                  <a:pt x="14995" y="21615"/>
                  <a:pt x="15060" y="21606"/>
                  <a:pt x="15121" y="21576"/>
                </a:cubicBezTo>
                <a:cubicBezTo>
                  <a:pt x="15185" y="21568"/>
                  <a:pt x="15237" y="21550"/>
                  <a:pt x="15289" y="21532"/>
                </a:cubicBezTo>
                <a:cubicBezTo>
                  <a:pt x="15403" y="21484"/>
                  <a:pt x="15504" y="21426"/>
                  <a:pt x="15624" y="21421"/>
                </a:cubicBezTo>
                <a:cubicBezTo>
                  <a:pt x="15670" y="21360"/>
                  <a:pt x="15805" y="21310"/>
                  <a:pt x="15924" y="21304"/>
                </a:cubicBezTo>
                <a:cubicBezTo>
                  <a:pt x="15955" y="21289"/>
                  <a:pt x="15943" y="21280"/>
                  <a:pt x="15921" y="21283"/>
                </a:cubicBezTo>
                <a:cubicBezTo>
                  <a:pt x="15973" y="21265"/>
                  <a:pt x="16013" y="21238"/>
                  <a:pt x="16056" y="21232"/>
                </a:cubicBezTo>
                <a:cubicBezTo>
                  <a:pt x="16139" y="21199"/>
                  <a:pt x="16139" y="21199"/>
                  <a:pt x="16139" y="21199"/>
                </a:cubicBezTo>
                <a:cubicBezTo>
                  <a:pt x="16161" y="21196"/>
                  <a:pt x="16191" y="21181"/>
                  <a:pt x="16201" y="21169"/>
                </a:cubicBezTo>
                <a:cubicBezTo>
                  <a:pt x="16314" y="21121"/>
                  <a:pt x="16406" y="21076"/>
                  <a:pt x="16510" y="21040"/>
                </a:cubicBezTo>
                <a:cubicBezTo>
                  <a:pt x="16520" y="21028"/>
                  <a:pt x="16486" y="21022"/>
                  <a:pt x="16517" y="21007"/>
                </a:cubicBezTo>
                <a:cubicBezTo>
                  <a:pt x="16578" y="20977"/>
                  <a:pt x="16649" y="20934"/>
                  <a:pt x="16732" y="20901"/>
                </a:cubicBezTo>
                <a:cubicBezTo>
                  <a:pt x="16803" y="20859"/>
                  <a:pt x="16883" y="20805"/>
                  <a:pt x="16965" y="20772"/>
                </a:cubicBezTo>
                <a:cubicBezTo>
                  <a:pt x="17036" y="20730"/>
                  <a:pt x="17107" y="20687"/>
                  <a:pt x="17168" y="20657"/>
                </a:cubicBezTo>
                <a:cubicBezTo>
                  <a:pt x="17239" y="20615"/>
                  <a:pt x="17300" y="20585"/>
                  <a:pt x="17352" y="20567"/>
                </a:cubicBezTo>
                <a:cubicBezTo>
                  <a:pt x="17362" y="20555"/>
                  <a:pt x="17340" y="20558"/>
                  <a:pt x="17340" y="20558"/>
                </a:cubicBezTo>
                <a:cubicBezTo>
                  <a:pt x="17482" y="20473"/>
                  <a:pt x="17611" y="20380"/>
                  <a:pt x="17762" y="20283"/>
                </a:cubicBezTo>
                <a:cubicBezTo>
                  <a:pt x="17903" y="20199"/>
                  <a:pt x="18042" y="20093"/>
                  <a:pt x="18183" y="20008"/>
                </a:cubicBezTo>
                <a:cubicBezTo>
                  <a:pt x="18220" y="19960"/>
                  <a:pt x="18282" y="19929"/>
                  <a:pt x="18340" y="19878"/>
                </a:cubicBezTo>
                <a:cubicBezTo>
                  <a:pt x="18399" y="19827"/>
                  <a:pt x="18457" y="19775"/>
                  <a:pt x="18525" y="19711"/>
                </a:cubicBezTo>
                <a:cubicBezTo>
                  <a:pt x="18584" y="19660"/>
                  <a:pt x="18655" y="19618"/>
                  <a:pt x="18723" y="19554"/>
                </a:cubicBezTo>
                <a:cubicBezTo>
                  <a:pt x="18781" y="19502"/>
                  <a:pt x="18840" y="19451"/>
                  <a:pt x="18898" y="19399"/>
                </a:cubicBezTo>
                <a:cubicBezTo>
                  <a:pt x="18945" y="19339"/>
                  <a:pt x="18874" y="19381"/>
                  <a:pt x="18920" y="19320"/>
                </a:cubicBezTo>
                <a:cubicBezTo>
                  <a:pt x="18930" y="19308"/>
                  <a:pt x="18948" y="19284"/>
                  <a:pt x="18970" y="19281"/>
                </a:cubicBezTo>
                <a:cubicBezTo>
                  <a:pt x="18975" y="19324"/>
                  <a:pt x="19015" y="19297"/>
                  <a:pt x="19074" y="19245"/>
                </a:cubicBezTo>
                <a:cubicBezTo>
                  <a:pt x="19142" y="19181"/>
                  <a:pt x="19198" y="19108"/>
                  <a:pt x="19247" y="19069"/>
                </a:cubicBezTo>
                <a:cubicBezTo>
                  <a:pt x="19241" y="19026"/>
                  <a:pt x="19179" y="19133"/>
                  <a:pt x="19158" y="19136"/>
                </a:cubicBezTo>
                <a:cubicBezTo>
                  <a:pt x="19115" y="19141"/>
                  <a:pt x="19192" y="19066"/>
                  <a:pt x="19211" y="19041"/>
                </a:cubicBezTo>
                <a:cubicBezTo>
                  <a:pt x="19284" y="19020"/>
                  <a:pt x="19352" y="18957"/>
                  <a:pt x="19429" y="18881"/>
                </a:cubicBezTo>
                <a:cubicBezTo>
                  <a:pt x="19497" y="18817"/>
                  <a:pt x="19562" y="18732"/>
                  <a:pt x="19630" y="18669"/>
                </a:cubicBezTo>
                <a:cubicBezTo>
                  <a:pt x="19676" y="18608"/>
                  <a:pt x="19606" y="18650"/>
                  <a:pt x="19652" y="18589"/>
                </a:cubicBezTo>
                <a:cubicBezTo>
                  <a:pt x="19661" y="18577"/>
                  <a:pt x="19692" y="18562"/>
                  <a:pt x="19689" y="18541"/>
                </a:cubicBezTo>
                <a:cubicBezTo>
                  <a:pt x="19720" y="18526"/>
                  <a:pt x="19683" y="18574"/>
                  <a:pt x="19676" y="18608"/>
                </a:cubicBezTo>
                <a:cubicBezTo>
                  <a:pt x="19726" y="18569"/>
                  <a:pt x="19775" y="18529"/>
                  <a:pt x="19788" y="18462"/>
                </a:cubicBezTo>
                <a:cubicBezTo>
                  <a:pt x="19776" y="18453"/>
                  <a:pt x="19726" y="18492"/>
                  <a:pt x="19764" y="18444"/>
                </a:cubicBezTo>
                <a:cubicBezTo>
                  <a:pt x="19733" y="18459"/>
                  <a:pt x="19717" y="18504"/>
                  <a:pt x="19686" y="18519"/>
                </a:cubicBezTo>
                <a:cubicBezTo>
                  <a:pt x="19693" y="18486"/>
                  <a:pt x="19712" y="18461"/>
                  <a:pt x="19730" y="18437"/>
                </a:cubicBezTo>
                <a:cubicBezTo>
                  <a:pt x="19749" y="18413"/>
                  <a:pt x="19767" y="18389"/>
                  <a:pt x="19774" y="18355"/>
                </a:cubicBezTo>
                <a:cubicBezTo>
                  <a:pt x="19847" y="18334"/>
                  <a:pt x="19872" y="18276"/>
                  <a:pt x="19909" y="18228"/>
                </a:cubicBezTo>
                <a:cubicBezTo>
                  <a:pt x="19943" y="18234"/>
                  <a:pt x="19835" y="18325"/>
                  <a:pt x="19819" y="18371"/>
                </a:cubicBezTo>
                <a:cubicBezTo>
                  <a:pt x="19930" y="18301"/>
                  <a:pt x="19804" y="18416"/>
                  <a:pt x="19788" y="18462"/>
                </a:cubicBezTo>
                <a:cubicBezTo>
                  <a:pt x="19926" y="18356"/>
                  <a:pt x="19881" y="18341"/>
                  <a:pt x="20017" y="18213"/>
                </a:cubicBezTo>
                <a:cubicBezTo>
                  <a:pt x="20035" y="18189"/>
                  <a:pt x="19967" y="18253"/>
                  <a:pt x="19964" y="18231"/>
                </a:cubicBezTo>
                <a:cubicBezTo>
                  <a:pt x="19971" y="18198"/>
                  <a:pt x="19992" y="18195"/>
                  <a:pt x="20002" y="18183"/>
                </a:cubicBezTo>
                <a:cubicBezTo>
                  <a:pt x="20008" y="18149"/>
                  <a:pt x="19999" y="18161"/>
                  <a:pt x="19971" y="18198"/>
                </a:cubicBezTo>
                <a:cubicBezTo>
                  <a:pt x="20002" y="18106"/>
                  <a:pt x="20058" y="18033"/>
                  <a:pt x="20099" y="17930"/>
                </a:cubicBezTo>
                <a:cubicBezTo>
                  <a:pt x="20127" y="17893"/>
                  <a:pt x="20155" y="17857"/>
                  <a:pt x="20160" y="17900"/>
                </a:cubicBezTo>
                <a:cubicBezTo>
                  <a:pt x="20216" y="17827"/>
                  <a:pt x="20214" y="17729"/>
                  <a:pt x="20282" y="17665"/>
                </a:cubicBezTo>
                <a:cubicBezTo>
                  <a:pt x="20303" y="17662"/>
                  <a:pt x="20294" y="17674"/>
                  <a:pt x="20288" y="17708"/>
                </a:cubicBezTo>
                <a:cubicBezTo>
                  <a:pt x="20278" y="17720"/>
                  <a:pt x="20272" y="17754"/>
                  <a:pt x="20263" y="17766"/>
                </a:cubicBezTo>
                <a:cubicBezTo>
                  <a:pt x="20312" y="17726"/>
                  <a:pt x="20325" y="17659"/>
                  <a:pt x="20303" y="17662"/>
                </a:cubicBezTo>
                <a:cubicBezTo>
                  <a:pt x="20307" y="17607"/>
                  <a:pt x="20381" y="17586"/>
                  <a:pt x="20393" y="17519"/>
                </a:cubicBezTo>
                <a:cubicBezTo>
                  <a:pt x="20415" y="17516"/>
                  <a:pt x="20390" y="17574"/>
                  <a:pt x="20448" y="17523"/>
                </a:cubicBezTo>
                <a:cubicBezTo>
                  <a:pt x="20452" y="17468"/>
                  <a:pt x="20484" y="17376"/>
                  <a:pt x="20530" y="17316"/>
                </a:cubicBezTo>
                <a:cubicBezTo>
                  <a:pt x="20574" y="17233"/>
                  <a:pt x="20620" y="17173"/>
                  <a:pt x="20644" y="17191"/>
                </a:cubicBezTo>
                <a:cubicBezTo>
                  <a:pt x="20679" y="17121"/>
                  <a:pt x="20725" y="17060"/>
                  <a:pt x="20745" y="16960"/>
                </a:cubicBezTo>
                <a:cubicBezTo>
                  <a:pt x="20837" y="16914"/>
                  <a:pt x="20857" y="16737"/>
                  <a:pt x="20921" y="16729"/>
                </a:cubicBezTo>
                <a:cubicBezTo>
                  <a:pt x="20913" y="16664"/>
                  <a:pt x="20956" y="16582"/>
                  <a:pt x="21012" y="16509"/>
                </a:cubicBezTo>
                <a:cubicBezTo>
                  <a:pt x="21040" y="16473"/>
                  <a:pt x="21068" y="16436"/>
                  <a:pt x="21083" y="16391"/>
                </a:cubicBezTo>
                <a:cubicBezTo>
                  <a:pt x="21099" y="16345"/>
                  <a:pt x="21127" y="16308"/>
                  <a:pt x="21131" y="16253"/>
                </a:cubicBezTo>
                <a:cubicBezTo>
                  <a:pt x="21165" y="16183"/>
                  <a:pt x="21199" y="16113"/>
                  <a:pt x="21234" y="16043"/>
                </a:cubicBezTo>
                <a:cubicBezTo>
                  <a:pt x="21268" y="15973"/>
                  <a:pt x="21290" y="15894"/>
                  <a:pt x="21337" y="15833"/>
                </a:cubicBezTo>
                <a:cubicBezTo>
                  <a:pt x="21365" y="15797"/>
                  <a:pt x="21305" y="15925"/>
                  <a:pt x="21349" y="15843"/>
                </a:cubicBezTo>
                <a:cubicBezTo>
                  <a:pt x="21401" y="15574"/>
                  <a:pt x="21549" y="15380"/>
                  <a:pt x="21613" y="15120"/>
                </a:cubicBezTo>
                <a:cubicBezTo>
                  <a:pt x="21585" y="15157"/>
                  <a:pt x="21588" y="15178"/>
                  <a:pt x="21560" y="15215"/>
                </a:cubicBezTo>
                <a:cubicBezTo>
                  <a:pt x="21539" y="15217"/>
                  <a:pt x="21554" y="15172"/>
                  <a:pt x="21536" y="15196"/>
                </a:cubicBezTo>
                <a:cubicBezTo>
                  <a:pt x="21542" y="15162"/>
                  <a:pt x="21561" y="15138"/>
                  <a:pt x="21570" y="15126"/>
                </a:cubicBezTo>
                <a:cubicBezTo>
                  <a:pt x="21614" y="15044"/>
                  <a:pt x="21614" y="15044"/>
                  <a:pt x="21614" y="15044"/>
                </a:cubicBezTo>
                <a:cubicBezTo>
                  <a:pt x="21630" y="14998"/>
                  <a:pt x="21655" y="14940"/>
                  <a:pt x="21680" y="14882"/>
                </a:cubicBezTo>
                <a:cubicBezTo>
                  <a:pt x="21665" y="14852"/>
                  <a:pt x="21652" y="14919"/>
                  <a:pt x="21642" y="14931"/>
                </a:cubicBezTo>
                <a:cubicBezTo>
                  <a:pt x="21602" y="14958"/>
                  <a:pt x="21665" y="14852"/>
                  <a:pt x="21638" y="14812"/>
                </a:cubicBezTo>
                <a:cubicBezTo>
                  <a:pt x="21659" y="14809"/>
                  <a:pt x="21668" y="14797"/>
                  <a:pt x="21684" y="14751"/>
                </a:cubicBezTo>
                <a:cubicBezTo>
                  <a:pt x="21691" y="14717"/>
                  <a:pt x="21676" y="14687"/>
                  <a:pt x="21682" y="14653"/>
                </a:cubicBezTo>
                <a:cubicBezTo>
                  <a:pt x="21688" y="14619"/>
                  <a:pt x="21716" y="14583"/>
                  <a:pt x="21723" y="14549"/>
                </a:cubicBezTo>
                <a:cubicBezTo>
                  <a:pt x="21754" y="14458"/>
                  <a:pt x="21789" y="14388"/>
                  <a:pt x="21777" y="14302"/>
                </a:cubicBezTo>
                <a:cubicBezTo>
                  <a:pt x="21812" y="14232"/>
                  <a:pt x="21824" y="14241"/>
                  <a:pt x="21823" y="14318"/>
                </a:cubicBezTo>
                <a:cubicBezTo>
                  <a:pt x="21860" y="14269"/>
                  <a:pt x="21855" y="14226"/>
                  <a:pt x="21880" y="14169"/>
                </a:cubicBezTo>
                <a:cubicBezTo>
                  <a:pt x="21877" y="14147"/>
                  <a:pt x="21852" y="14205"/>
                  <a:pt x="21842" y="14217"/>
                </a:cubicBezTo>
                <a:cubicBezTo>
                  <a:pt x="21812" y="14156"/>
                  <a:pt x="21828" y="14110"/>
                  <a:pt x="21844" y="14064"/>
                </a:cubicBezTo>
                <a:cubicBezTo>
                  <a:pt x="21863" y="14040"/>
                  <a:pt x="21865" y="14061"/>
                  <a:pt x="21871" y="14104"/>
                </a:cubicBezTo>
                <a:cubicBezTo>
                  <a:pt x="21875" y="13973"/>
                  <a:pt x="21913" y="13848"/>
                  <a:pt x="21939" y="13714"/>
                </a:cubicBezTo>
                <a:cubicBezTo>
                  <a:pt x="21949" y="13701"/>
                  <a:pt x="21957" y="13766"/>
                  <a:pt x="21979" y="13686"/>
                </a:cubicBezTo>
                <a:cubicBezTo>
                  <a:pt x="21925" y="13606"/>
                  <a:pt x="22036" y="13210"/>
                  <a:pt x="22007" y="13072"/>
                </a:cubicBezTo>
                <a:cubicBezTo>
                  <a:pt x="22047" y="13045"/>
                  <a:pt x="22058" y="12880"/>
                  <a:pt x="22075" y="13008"/>
                </a:cubicBezTo>
                <a:cubicBezTo>
                  <a:pt x="22085" y="12920"/>
                  <a:pt x="22064" y="12923"/>
                  <a:pt x="22039" y="12904"/>
                </a:cubicBezTo>
                <a:cubicBezTo>
                  <a:pt x="22046" y="12871"/>
                  <a:pt x="22064" y="12846"/>
                  <a:pt x="22083" y="12822"/>
                </a:cubicBezTo>
                <a:cubicBezTo>
                  <a:pt x="22080" y="12801"/>
                  <a:pt x="22089" y="12788"/>
                  <a:pt x="22099" y="12776"/>
                </a:cubicBezTo>
                <a:cubicBezTo>
                  <a:pt x="22096" y="12755"/>
                  <a:pt x="22093" y="12733"/>
                  <a:pt x="22100" y="12700"/>
                </a:cubicBezTo>
                <a:cubicBezTo>
                  <a:pt x="22072" y="12736"/>
                  <a:pt x="22099" y="12776"/>
                  <a:pt x="22071" y="12813"/>
                </a:cubicBezTo>
                <a:cubicBezTo>
                  <a:pt x="22068" y="12791"/>
                  <a:pt x="22056" y="12782"/>
                  <a:pt x="22056" y="12782"/>
                </a:cubicBezTo>
                <a:cubicBezTo>
                  <a:pt x="22066" y="12693"/>
                  <a:pt x="22076" y="12605"/>
                  <a:pt x="22086" y="12516"/>
                </a:cubicBezTo>
                <a:cubicBezTo>
                  <a:pt x="22090" y="12461"/>
                  <a:pt x="22093" y="12406"/>
                  <a:pt x="22088" y="12363"/>
                </a:cubicBezTo>
                <a:cubicBezTo>
                  <a:pt x="22085" y="12342"/>
                  <a:pt x="22082" y="12321"/>
                  <a:pt x="22089" y="12287"/>
                </a:cubicBezTo>
                <a:cubicBezTo>
                  <a:pt x="22086" y="12266"/>
                  <a:pt x="22083" y="12244"/>
                  <a:pt x="22068" y="12214"/>
                </a:cubicBezTo>
                <a:cubicBezTo>
                  <a:pt x="22114" y="12229"/>
                  <a:pt x="22102" y="12220"/>
                  <a:pt x="22136" y="12150"/>
                </a:cubicBezTo>
                <a:cubicBezTo>
                  <a:pt x="22118" y="12098"/>
                  <a:pt x="22105" y="12165"/>
                  <a:pt x="22077" y="12201"/>
                </a:cubicBezTo>
                <a:cubicBezTo>
                  <a:pt x="22030" y="12088"/>
                  <a:pt x="22116" y="12000"/>
                  <a:pt x="22059" y="11899"/>
                </a:cubicBezTo>
                <a:cubicBezTo>
                  <a:pt x="22088" y="11786"/>
                  <a:pt x="22120" y="11945"/>
                  <a:pt x="22133" y="11878"/>
                </a:cubicBezTo>
                <a:cubicBezTo>
                  <a:pt x="22112" y="11804"/>
                  <a:pt x="22084" y="11841"/>
                  <a:pt x="22060" y="11822"/>
                </a:cubicBezTo>
                <a:cubicBezTo>
                  <a:pt x="22039" y="11749"/>
                  <a:pt x="22082" y="11743"/>
                  <a:pt x="22076" y="11700"/>
                </a:cubicBezTo>
                <a:cubicBezTo>
                  <a:pt x="22086" y="11688"/>
                  <a:pt x="22103" y="11740"/>
                  <a:pt x="22106" y="11761"/>
                </a:cubicBezTo>
                <a:cubicBezTo>
                  <a:pt x="22119" y="11694"/>
                  <a:pt x="22084" y="11590"/>
                  <a:pt x="22068" y="11636"/>
                </a:cubicBezTo>
                <a:cubicBezTo>
                  <a:pt x="22103" y="11489"/>
                  <a:pt x="22072" y="11504"/>
                  <a:pt x="22113" y="11401"/>
                </a:cubicBezTo>
                <a:cubicBezTo>
                  <a:pt x="22075" y="11275"/>
                  <a:pt x="22084" y="11263"/>
                  <a:pt x="22088" y="11132"/>
                </a:cubicBezTo>
                <a:cubicBezTo>
                  <a:pt x="22076" y="11122"/>
                  <a:pt x="22063" y="11189"/>
                  <a:pt x="22040" y="11094"/>
                </a:cubicBezTo>
                <a:cubicBezTo>
                  <a:pt x="22008" y="11186"/>
                  <a:pt x="22008" y="11186"/>
                  <a:pt x="22008" y="11186"/>
                </a:cubicBezTo>
                <a:cubicBezTo>
                  <a:pt x="22017" y="11250"/>
                  <a:pt x="22057" y="11223"/>
                  <a:pt x="22023" y="11293"/>
                </a:cubicBezTo>
                <a:cubicBezTo>
                  <a:pt x="22040" y="11345"/>
                  <a:pt x="22038" y="11324"/>
                  <a:pt x="22047" y="11312"/>
                </a:cubicBezTo>
                <a:cubicBezTo>
                  <a:pt x="22052" y="11431"/>
                  <a:pt x="22088" y="11786"/>
                  <a:pt x="22024" y="11718"/>
                </a:cubicBezTo>
                <a:cubicBezTo>
                  <a:pt x="21996" y="11754"/>
                  <a:pt x="22045" y="11791"/>
                  <a:pt x="22051" y="11834"/>
                </a:cubicBezTo>
                <a:cubicBezTo>
                  <a:pt x="22026" y="11892"/>
                  <a:pt x="22008" y="11840"/>
                  <a:pt x="21987" y="11767"/>
                </a:cubicBezTo>
                <a:cubicBezTo>
                  <a:pt x="21993" y="11809"/>
                  <a:pt x="21985" y="11996"/>
                  <a:pt x="22019" y="11926"/>
                </a:cubicBezTo>
                <a:cubicBezTo>
                  <a:pt x="22030" y="12011"/>
                  <a:pt x="21996" y="12082"/>
                  <a:pt x="22041" y="12174"/>
                </a:cubicBezTo>
                <a:cubicBezTo>
                  <a:pt x="22013" y="12210"/>
                  <a:pt x="22008" y="12091"/>
                  <a:pt x="21990" y="12115"/>
                </a:cubicBezTo>
                <a:cubicBezTo>
                  <a:pt x="21971" y="12139"/>
                  <a:pt x="21979" y="12204"/>
                  <a:pt x="21976" y="12259"/>
                </a:cubicBezTo>
                <a:cubicBezTo>
                  <a:pt x="21994" y="12311"/>
                  <a:pt x="21987" y="12344"/>
                  <a:pt x="21951" y="12317"/>
                </a:cubicBezTo>
                <a:cubicBezTo>
                  <a:pt x="21935" y="12362"/>
                  <a:pt x="21971" y="12390"/>
                  <a:pt x="21978" y="12356"/>
                </a:cubicBezTo>
                <a:cubicBezTo>
                  <a:pt x="21977" y="12433"/>
                  <a:pt x="21973" y="12488"/>
                  <a:pt x="21951" y="12567"/>
                </a:cubicBezTo>
                <a:cubicBezTo>
                  <a:pt x="21963" y="12576"/>
                  <a:pt x="21973" y="12564"/>
                  <a:pt x="21976" y="12586"/>
                </a:cubicBezTo>
                <a:cubicBezTo>
                  <a:pt x="21981" y="12629"/>
                  <a:pt x="21965" y="12674"/>
                  <a:pt x="21971" y="12717"/>
                </a:cubicBezTo>
                <a:cubicBezTo>
                  <a:pt x="21971" y="12717"/>
                  <a:pt x="21959" y="12708"/>
                  <a:pt x="21947" y="12699"/>
                </a:cubicBezTo>
                <a:cubicBezTo>
                  <a:pt x="21958" y="12784"/>
                  <a:pt x="21957" y="12861"/>
                  <a:pt x="21947" y="12949"/>
                </a:cubicBezTo>
                <a:cubicBezTo>
                  <a:pt x="21946" y="13026"/>
                  <a:pt x="21924" y="13105"/>
                  <a:pt x="21923" y="13181"/>
                </a:cubicBezTo>
                <a:cubicBezTo>
                  <a:pt x="21896" y="13218"/>
                  <a:pt x="21927" y="13126"/>
                  <a:pt x="21903" y="13108"/>
                </a:cubicBezTo>
                <a:cubicBezTo>
                  <a:pt x="21866" y="13157"/>
                  <a:pt x="21896" y="13218"/>
                  <a:pt x="21858" y="13267"/>
                </a:cubicBezTo>
                <a:cubicBezTo>
                  <a:pt x="21859" y="13190"/>
                  <a:pt x="21860" y="13114"/>
                  <a:pt x="21894" y="13044"/>
                </a:cubicBezTo>
                <a:cubicBezTo>
                  <a:pt x="21879" y="13013"/>
                  <a:pt x="21892" y="12946"/>
                  <a:pt x="21893" y="12869"/>
                </a:cubicBezTo>
                <a:cubicBezTo>
                  <a:pt x="21900" y="12836"/>
                  <a:pt x="21906" y="12802"/>
                  <a:pt x="21912" y="12769"/>
                </a:cubicBezTo>
                <a:cubicBezTo>
                  <a:pt x="21919" y="12735"/>
                  <a:pt x="21913" y="12692"/>
                  <a:pt x="21910" y="12671"/>
                </a:cubicBezTo>
                <a:cubicBezTo>
                  <a:pt x="21904" y="12704"/>
                  <a:pt x="21907" y="12726"/>
                  <a:pt x="21900" y="12759"/>
                </a:cubicBezTo>
                <a:cubicBezTo>
                  <a:pt x="21894" y="12793"/>
                  <a:pt x="21897" y="12814"/>
                  <a:pt x="21890" y="12848"/>
                </a:cubicBezTo>
                <a:cubicBezTo>
                  <a:pt x="21887" y="12903"/>
                  <a:pt x="21874" y="12970"/>
                  <a:pt x="21870" y="13025"/>
                </a:cubicBezTo>
                <a:cubicBezTo>
                  <a:pt x="21851" y="13126"/>
                  <a:pt x="21843" y="13236"/>
                  <a:pt x="21824" y="13337"/>
                </a:cubicBezTo>
                <a:cubicBezTo>
                  <a:pt x="21842" y="13389"/>
                  <a:pt x="21849" y="13279"/>
                  <a:pt x="21858" y="13267"/>
                </a:cubicBezTo>
                <a:cubicBezTo>
                  <a:pt x="21875" y="13395"/>
                  <a:pt x="21796" y="13373"/>
                  <a:pt x="21813" y="13502"/>
                </a:cubicBezTo>
                <a:cubicBezTo>
                  <a:pt x="21820" y="13468"/>
                  <a:pt x="21826" y="13434"/>
                  <a:pt x="21833" y="13401"/>
                </a:cubicBezTo>
                <a:cubicBezTo>
                  <a:pt x="21862" y="13462"/>
                  <a:pt x="21822" y="13489"/>
                  <a:pt x="21840" y="13542"/>
                </a:cubicBezTo>
                <a:cubicBezTo>
                  <a:pt x="21815" y="13599"/>
                  <a:pt x="21810" y="13557"/>
                  <a:pt x="21816" y="13523"/>
                </a:cubicBezTo>
                <a:cubicBezTo>
                  <a:pt x="21810" y="13557"/>
                  <a:pt x="21803" y="13590"/>
                  <a:pt x="21785" y="13614"/>
                </a:cubicBezTo>
                <a:cubicBezTo>
                  <a:pt x="21833" y="13652"/>
                  <a:pt x="21744" y="13969"/>
                  <a:pt x="21709" y="14115"/>
                </a:cubicBezTo>
                <a:cubicBezTo>
                  <a:pt x="21669" y="14142"/>
                  <a:pt x="21731" y="14036"/>
                  <a:pt x="21716" y="14005"/>
                </a:cubicBezTo>
                <a:cubicBezTo>
                  <a:pt x="21713" y="14060"/>
                  <a:pt x="21700" y="14127"/>
                  <a:pt x="21687" y="14194"/>
                </a:cubicBezTo>
                <a:cubicBezTo>
                  <a:pt x="21662" y="14252"/>
                  <a:pt x="21658" y="14307"/>
                  <a:pt x="21645" y="14375"/>
                </a:cubicBezTo>
                <a:cubicBezTo>
                  <a:pt x="21607" y="14500"/>
                  <a:pt x="21569" y="14625"/>
                  <a:pt x="21531" y="14750"/>
                </a:cubicBezTo>
                <a:cubicBezTo>
                  <a:pt x="21510" y="14752"/>
                  <a:pt x="21514" y="14697"/>
                  <a:pt x="21511" y="14676"/>
                </a:cubicBezTo>
                <a:cubicBezTo>
                  <a:pt x="21464" y="14737"/>
                  <a:pt x="21485" y="14810"/>
                  <a:pt x="21506" y="14807"/>
                </a:cubicBezTo>
                <a:cubicBezTo>
                  <a:pt x="21478" y="14920"/>
                  <a:pt x="21473" y="14801"/>
                  <a:pt x="21432" y="14905"/>
                </a:cubicBezTo>
                <a:cubicBezTo>
                  <a:pt x="21413" y="15005"/>
                  <a:pt x="21478" y="14844"/>
                  <a:pt x="21475" y="14899"/>
                </a:cubicBezTo>
                <a:cubicBezTo>
                  <a:pt x="21468" y="14933"/>
                  <a:pt x="21453" y="14978"/>
                  <a:pt x="21446" y="15012"/>
                </a:cubicBezTo>
                <a:cubicBezTo>
                  <a:pt x="21440" y="15045"/>
                  <a:pt x="21424" y="15091"/>
                  <a:pt x="21417" y="15125"/>
                </a:cubicBezTo>
                <a:cubicBezTo>
                  <a:pt x="21395" y="15204"/>
                  <a:pt x="21373" y="15283"/>
                  <a:pt x="21327" y="15344"/>
                </a:cubicBezTo>
                <a:cubicBezTo>
                  <a:pt x="21347" y="15418"/>
                  <a:pt x="21310" y="15466"/>
                  <a:pt x="21291" y="15567"/>
                </a:cubicBezTo>
                <a:cubicBezTo>
                  <a:pt x="21244" y="15628"/>
                  <a:pt x="21248" y="15573"/>
                  <a:pt x="21211" y="15621"/>
                </a:cubicBezTo>
                <a:cubicBezTo>
                  <a:pt x="21194" y="15743"/>
                  <a:pt x="21153" y="15847"/>
                  <a:pt x="21103" y="15963"/>
                </a:cubicBezTo>
                <a:cubicBezTo>
                  <a:pt x="21072" y="15978"/>
                  <a:pt x="21123" y="15862"/>
                  <a:pt x="21129" y="15829"/>
                </a:cubicBezTo>
                <a:cubicBezTo>
                  <a:pt x="21110" y="15853"/>
                  <a:pt x="21085" y="15911"/>
                  <a:pt x="21070" y="15956"/>
                </a:cubicBezTo>
                <a:cubicBezTo>
                  <a:pt x="21045" y="16014"/>
                  <a:pt x="21041" y="16069"/>
                  <a:pt x="21028" y="16136"/>
                </a:cubicBezTo>
                <a:cubicBezTo>
                  <a:pt x="20991" y="16185"/>
                  <a:pt x="21001" y="16097"/>
                  <a:pt x="20976" y="16154"/>
                </a:cubicBezTo>
                <a:cubicBezTo>
                  <a:pt x="20967" y="16090"/>
                  <a:pt x="21014" y="16029"/>
                  <a:pt x="21002" y="16020"/>
                </a:cubicBezTo>
                <a:cubicBezTo>
                  <a:pt x="20940" y="16127"/>
                  <a:pt x="20908" y="16218"/>
                  <a:pt x="20877" y="16310"/>
                </a:cubicBezTo>
                <a:cubicBezTo>
                  <a:pt x="20867" y="16322"/>
                  <a:pt x="20861" y="16355"/>
                  <a:pt x="20852" y="16367"/>
                </a:cubicBezTo>
                <a:cubicBezTo>
                  <a:pt x="20845" y="16401"/>
                  <a:pt x="20836" y="16413"/>
                  <a:pt x="20829" y="16447"/>
                </a:cubicBezTo>
                <a:cubicBezTo>
                  <a:pt x="20814" y="16492"/>
                  <a:pt x="20798" y="16538"/>
                  <a:pt x="20782" y="16584"/>
                </a:cubicBezTo>
                <a:cubicBezTo>
                  <a:pt x="20717" y="16669"/>
                  <a:pt x="20783" y="16507"/>
                  <a:pt x="20724" y="16559"/>
                </a:cubicBezTo>
                <a:cubicBezTo>
                  <a:pt x="20656" y="16699"/>
                  <a:pt x="20656" y="16699"/>
                  <a:pt x="20656" y="16699"/>
                </a:cubicBezTo>
                <a:cubicBezTo>
                  <a:pt x="20640" y="16745"/>
                  <a:pt x="20612" y="16781"/>
                  <a:pt x="20596" y="16827"/>
                </a:cubicBezTo>
                <a:cubicBezTo>
                  <a:pt x="20531" y="16912"/>
                  <a:pt x="20488" y="16994"/>
                  <a:pt x="20410" y="17070"/>
                </a:cubicBezTo>
                <a:cubicBezTo>
                  <a:pt x="20407" y="17125"/>
                  <a:pt x="20388" y="17149"/>
                  <a:pt x="20360" y="17186"/>
                </a:cubicBezTo>
                <a:cubicBezTo>
                  <a:pt x="20342" y="17210"/>
                  <a:pt x="20323" y="17234"/>
                  <a:pt x="20305" y="17259"/>
                </a:cubicBezTo>
                <a:cubicBezTo>
                  <a:pt x="20298" y="17292"/>
                  <a:pt x="20335" y="17244"/>
                  <a:pt x="20310" y="17302"/>
                </a:cubicBezTo>
                <a:cubicBezTo>
                  <a:pt x="20252" y="17353"/>
                  <a:pt x="20189" y="17460"/>
                  <a:pt x="20136" y="17554"/>
                </a:cubicBezTo>
                <a:cubicBezTo>
                  <a:pt x="20121" y="17600"/>
                  <a:pt x="20093" y="17636"/>
                  <a:pt x="20074" y="17660"/>
                </a:cubicBezTo>
                <a:cubicBezTo>
                  <a:pt x="20046" y="17697"/>
                  <a:pt x="20025" y="17700"/>
                  <a:pt x="20004" y="17703"/>
                </a:cubicBezTo>
                <a:cubicBezTo>
                  <a:pt x="19976" y="17739"/>
                  <a:pt x="19929" y="17800"/>
                  <a:pt x="19892" y="17848"/>
                </a:cubicBezTo>
                <a:cubicBezTo>
                  <a:pt x="19855" y="17897"/>
                  <a:pt x="19830" y="17955"/>
                  <a:pt x="19771" y="18006"/>
                </a:cubicBezTo>
                <a:cubicBezTo>
                  <a:pt x="19697" y="18104"/>
                  <a:pt x="19610" y="18192"/>
                  <a:pt x="19579" y="18283"/>
                </a:cubicBezTo>
                <a:cubicBezTo>
                  <a:pt x="19558" y="18286"/>
                  <a:pt x="19539" y="18310"/>
                  <a:pt x="19508" y="18325"/>
                </a:cubicBezTo>
                <a:cubicBezTo>
                  <a:pt x="19490" y="18350"/>
                  <a:pt x="19471" y="18374"/>
                  <a:pt x="19452" y="18398"/>
                </a:cubicBezTo>
                <a:cubicBezTo>
                  <a:pt x="19415" y="18447"/>
                  <a:pt x="19375" y="18474"/>
                  <a:pt x="19314" y="18504"/>
                </a:cubicBezTo>
                <a:cubicBezTo>
                  <a:pt x="19292" y="18583"/>
                  <a:pt x="19221" y="18626"/>
                  <a:pt x="19189" y="18717"/>
                </a:cubicBezTo>
                <a:cubicBezTo>
                  <a:pt x="19140" y="18756"/>
                  <a:pt x="19156" y="18711"/>
                  <a:pt x="19116" y="18738"/>
                </a:cubicBezTo>
                <a:cubicBezTo>
                  <a:pt x="19039" y="18814"/>
                  <a:pt x="18962" y="18889"/>
                  <a:pt x="18884" y="18965"/>
                </a:cubicBezTo>
                <a:cubicBezTo>
                  <a:pt x="18857" y="19002"/>
                  <a:pt x="18819" y="19050"/>
                  <a:pt x="18779" y="19078"/>
                </a:cubicBezTo>
                <a:cubicBezTo>
                  <a:pt x="18662" y="19181"/>
                  <a:pt x="18662" y="19181"/>
                  <a:pt x="18662" y="19181"/>
                </a:cubicBezTo>
                <a:cubicBezTo>
                  <a:pt x="18536" y="19296"/>
                  <a:pt x="18536" y="19296"/>
                  <a:pt x="18536" y="19296"/>
                </a:cubicBezTo>
                <a:cubicBezTo>
                  <a:pt x="18526" y="19308"/>
                  <a:pt x="18508" y="19332"/>
                  <a:pt x="18477" y="19347"/>
                </a:cubicBezTo>
                <a:cubicBezTo>
                  <a:pt x="18419" y="19399"/>
                  <a:pt x="18419" y="19399"/>
                  <a:pt x="18419" y="19399"/>
                </a:cubicBezTo>
                <a:cubicBezTo>
                  <a:pt x="18329" y="19465"/>
                  <a:pt x="18249" y="19520"/>
                  <a:pt x="18160" y="19586"/>
                </a:cubicBezTo>
                <a:cubicBezTo>
                  <a:pt x="18163" y="19608"/>
                  <a:pt x="18135" y="19644"/>
                  <a:pt x="18194" y="19593"/>
                </a:cubicBezTo>
                <a:cubicBezTo>
                  <a:pt x="18126" y="19656"/>
                  <a:pt x="18055" y="19698"/>
                  <a:pt x="17975" y="19753"/>
                </a:cubicBezTo>
                <a:cubicBezTo>
                  <a:pt x="17904" y="19795"/>
                  <a:pt x="17824" y="19849"/>
                  <a:pt x="17766" y="19901"/>
                </a:cubicBezTo>
                <a:cubicBezTo>
                  <a:pt x="17704" y="19931"/>
                  <a:pt x="17704" y="19931"/>
                  <a:pt x="17704" y="19931"/>
                </a:cubicBezTo>
                <a:cubicBezTo>
                  <a:pt x="17655" y="19970"/>
                  <a:pt x="17655" y="19970"/>
                  <a:pt x="17655" y="19970"/>
                </a:cubicBezTo>
                <a:cubicBezTo>
                  <a:pt x="17615" y="19997"/>
                  <a:pt x="17575" y="20025"/>
                  <a:pt x="17544" y="20040"/>
                </a:cubicBezTo>
                <a:cubicBezTo>
                  <a:pt x="17476" y="20103"/>
                  <a:pt x="17396" y="20158"/>
                  <a:pt x="17338" y="20209"/>
                </a:cubicBezTo>
                <a:cubicBezTo>
                  <a:pt x="17270" y="20273"/>
                  <a:pt x="17172" y="20275"/>
                  <a:pt x="17101" y="20317"/>
                </a:cubicBezTo>
                <a:cubicBezTo>
                  <a:pt x="17092" y="20330"/>
                  <a:pt x="17135" y="20324"/>
                  <a:pt x="17104" y="20339"/>
                </a:cubicBezTo>
                <a:cubicBezTo>
                  <a:pt x="17064" y="20366"/>
                  <a:pt x="17012" y="20384"/>
                  <a:pt x="16951" y="20414"/>
                </a:cubicBezTo>
                <a:cubicBezTo>
                  <a:pt x="16920" y="20429"/>
                  <a:pt x="16892" y="20465"/>
                  <a:pt x="16861" y="20481"/>
                </a:cubicBezTo>
                <a:cubicBezTo>
                  <a:pt x="16831" y="20496"/>
                  <a:pt x="16800" y="20511"/>
                  <a:pt x="16760" y="20538"/>
                </a:cubicBezTo>
                <a:cubicBezTo>
                  <a:pt x="16729" y="20553"/>
                  <a:pt x="16696" y="20546"/>
                  <a:pt x="16653" y="20552"/>
                </a:cubicBezTo>
                <a:cubicBezTo>
                  <a:pt x="16573" y="20607"/>
                  <a:pt x="16493" y="20661"/>
                  <a:pt x="16422" y="20703"/>
                </a:cubicBezTo>
                <a:cubicBezTo>
                  <a:pt x="16330" y="20748"/>
                  <a:pt x="16247" y="20781"/>
                  <a:pt x="16177" y="20823"/>
                </a:cubicBezTo>
                <a:cubicBezTo>
                  <a:pt x="16002" y="20902"/>
                  <a:pt x="15824" y="20958"/>
                  <a:pt x="15658" y="21024"/>
                </a:cubicBezTo>
                <a:cubicBezTo>
                  <a:pt x="15649" y="21036"/>
                  <a:pt x="15658" y="21024"/>
                  <a:pt x="15640" y="21048"/>
                </a:cubicBezTo>
                <a:cubicBezTo>
                  <a:pt x="15045" y="21248"/>
                  <a:pt x="14441" y="21461"/>
                  <a:pt x="13811" y="21556"/>
                </a:cubicBezTo>
                <a:cubicBezTo>
                  <a:pt x="13789" y="21559"/>
                  <a:pt x="13780" y="21571"/>
                  <a:pt x="13758" y="21574"/>
                </a:cubicBezTo>
                <a:cubicBezTo>
                  <a:pt x="13737" y="21577"/>
                  <a:pt x="13716" y="21580"/>
                  <a:pt x="13685" y="21595"/>
                </a:cubicBezTo>
                <a:cubicBezTo>
                  <a:pt x="13621" y="21604"/>
                  <a:pt x="13556" y="21612"/>
                  <a:pt x="13471" y="21624"/>
                </a:cubicBezTo>
                <a:cubicBezTo>
                  <a:pt x="13437" y="21618"/>
                  <a:pt x="13394" y="21623"/>
                  <a:pt x="13364" y="21638"/>
                </a:cubicBezTo>
                <a:cubicBezTo>
                  <a:pt x="13342" y="21641"/>
                  <a:pt x="13321" y="21644"/>
                  <a:pt x="13299" y="21647"/>
                </a:cubicBezTo>
                <a:cubicBezTo>
                  <a:pt x="13278" y="21650"/>
                  <a:pt x="13257" y="21653"/>
                  <a:pt x="13244" y="21644"/>
                </a:cubicBezTo>
                <a:cubicBezTo>
                  <a:pt x="13159" y="21655"/>
                  <a:pt x="13082" y="21654"/>
                  <a:pt x="13006" y="21654"/>
                </a:cubicBezTo>
                <a:cubicBezTo>
                  <a:pt x="12933" y="21675"/>
                  <a:pt x="12868" y="21683"/>
                  <a:pt x="12804" y="21692"/>
                </a:cubicBezTo>
                <a:cubicBezTo>
                  <a:pt x="12740" y="21701"/>
                  <a:pt x="12685" y="21697"/>
                  <a:pt x="12639" y="21681"/>
                </a:cubicBezTo>
                <a:cubicBezTo>
                  <a:pt x="12608" y="21696"/>
                  <a:pt x="12587" y="21699"/>
                  <a:pt x="12556" y="21714"/>
                </a:cubicBezTo>
                <a:cubicBezTo>
                  <a:pt x="12520" y="21687"/>
                  <a:pt x="12468" y="21705"/>
                  <a:pt x="12404" y="21713"/>
                </a:cubicBezTo>
                <a:cubicBezTo>
                  <a:pt x="12327" y="21713"/>
                  <a:pt x="12263" y="21721"/>
                  <a:pt x="12205" y="21696"/>
                </a:cubicBezTo>
                <a:cubicBezTo>
                  <a:pt x="12120" y="21708"/>
                  <a:pt x="12043" y="21707"/>
                  <a:pt x="11958" y="21719"/>
                </a:cubicBezTo>
                <a:cubicBezTo>
                  <a:pt x="11869" y="21709"/>
                  <a:pt x="11771" y="21711"/>
                  <a:pt x="11683" y="21701"/>
                </a:cubicBezTo>
                <a:cubicBezTo>
                  <a:pt x="11475" y="21697"/>
                  <a:pt x="11286" y="21667"/>
                  <a:pt x="11112" y="21669"/>
                </a:cubicBezTo>
                <a:cubicBezTo>
                  <a:pt x="11078" y="21663"/>
                  <a:pt x="11054" y="21644"/>
                  <a:pt x="11042" y="21635"/>
                </a:cubicBezTo>
                <a:cubicBezTo>
                  <a:pt x="10923" y="21640"/>
                  <a:pt x="10801" y="21624"/>
                  <a:pt x="10700" y="21605"/>
                </a:cubicBezTo>
                <a:cubicBezTo>
                  <a:pt x="10578" y="21588"/>
                  <a:pt x="10456" y="21572"/>
                  <a:pt x="10355" y="21553"/>
                </a:cubicBezTo>
                <a:cubicBezTo>
                  <a:pt x="10121" y="21508"/>
                  <a:pt x="9904" y="21439"/>
                  <a:pt x="9672" y="21416"/>
                </a:cubicBezTo>
                <a:cubicBezTo>
                  <a:pt x="9578" y="21363"/>
                  <a:pt x="9478" y="21344"/>
                  <a:pt x="9377" y="21325"/>
                </a:cubicBezTo>
                <a:cubicBezTo>
                  <a:pt x="9331" y="21309"/>
                  <a:pt x="9276" y="21306"/>
                  <a:pt x="9231" y="21290"/>
                </a:cubicBezTo>
                <a:cubicBezTo>
                  <a:pt x="9185" y="21274"/>
                  <a:pt x="9139" y="21259"/>
                  <a:pt x="9091" y="21222"/>
                </a:cubicBezTo>
                <a:cubicBezTo>
                  <a:pt x="9036" y="21218"/>
                  <a:pt x="8969" y="21205"/>
                  <a:pt x="8911" y="21181"/>
                </a:cubicBezTo>
                <a:cubicBezTo>
                  <a:pt x="8866" y="21165"/>
                  <a:pt x="8808" y="21140"/>
                  <a:pt x="8741" y="21127"/>
                </a:cubicBezTo>
                <a:cubicBezTo>
                  <a:pt x="8449" y="20981"/>
                  <a:pt x="8129" y="20872"/>
                  <a:pt x="7816" y="20728"/>
                </a:cubicBezTo>
                <a:cubicBezTo>
                  <a:pt x="7734" y="20685"/>
                  <a:pt x="7652" y="20642"/>
                  <a:pt x="7570" y="20598"/>
                </a:cubicBezTo>
                <a:cubicBezTo>
                  <a:pt x="7488" y="20555"/>
                  <a:pt x="7406" y="20511"/>
                  <a:pt x="7333" y="20456"/>
                </a:cubicBezTo>
                <a:cubicBezTo>
                  <a:pt x="7206" y="20396"/>
                  <a:pt x="7206" y="20396"/>
                  <a:pt x="7206" y="20396"/>
                </a:cubicBezTo>
                <a:cubicBezTo>
                  <a:pt x="7193" y="20387"/>
                  <a:pt x="7169" y="20369"/>
                  <a:pt x="7157" y="20359"/>
                </a:cubicBezTo>
                <a:cubicBezTo>
                  <a:pt x="7087" y="20325"/>
                  <a:pt x="7087" y="20325"/>
                  <a:pt x="7087" y="20325"/>
                </a:cubicBezTo>
                <a:cubicBezTo>
                  <a:pt x="6850" y="20183"/>
                  <a:pt x="6850" y="20183"/>
                  <a:pt x="6850" y="20183"/>
                </a:cubicBezTo>
                <a:cubicBezTo>
                  <a:pt x="6768" y="20139"/>
                  <a:pt x="6696" y="20084"/>
                  <a:pt x="6623" y="20028"/>
                </a:cubicBezTo>
                <a:cubicBezTo>
                  <a:pt x="6395" y="19873"/>
                  <a:pt x="6395" y="19873"/>
                  <a:pt x="6395" y="19873"/>
                </a:cubicBezTo>
                <a:cubicBezTo>
                  <a:pt x="6323" y="19818"/>
                  <a:pt x="6250" y="19762"/>
                  <a:pt x="6177" y="19706"/>
                </a:cubicBezTo>
                <a:cubicBezTo>
                  <a:pt x="6104" y="19651"/>
                  <a:pt x="6019" y="19586"/>
                  <a:pt x="5956" y="19518"/>
                </a:cubicBezTo>
                <a:cubicBezTo>
                  <a:pt x="5886" y="19484"/>
                  <a:pt x="5886" y="19484"/>
                  <a:pt x="5886" y="19484"/>
                </a:cubicBezTo>
                <a:cubicBezTo>
                  <a:pt x="5853" y="19478"/>
                  <a:pt x="5862" y="19465"/>
                  <a:pt x="5883" y="19462"/>
                </a:cubicBezTo>
                <a:cubicBezTo>
                  <a:pt x="5811" y="19407"/>
                  <a:pt x="5738" y="19351"/>
                  <a:pt x="5665" y="19296"/>
                </a:cubicBezTo>
                <a:cubicBezTo>
                  <a:pt x="5602" y="19228"/>
                  <a:pt x="5541" y="19182"/>
                  <a:pt x="5478" y="19114"/>
                </a:cubicBezTo>
                <a:cubicBezTo>
                  <a:pt x="5417" y="19067"/>
                  <a:pt x="5344" y="19012"/>
                  <a:pt x="5281" y="18944"/>
                </a:cubicBezTo>
                <a:cubicBezTo>
                  <a:pt x="5217" y="18876"/>
                  <a:pt x="5154" y="18808"/>
                  <a:pt x="5081" y="18753"/>
                </a:cubicBezTo>
                <a:cubicBezTo>
                  <a:pt x="5066" y="18722"/>
                  <a:pt x="5063" y="18701"/>
                  <a:pt x="5060" y="18679"/>
                </a:cubicBezTo>
                <a:cubicBezTo>
                  <a:pt x="5024" y="18652"/>
                  <a:pt x="5015" y="18664"/>
                  <a:pt x="5003" y="18654"/>
                </a:cubicBezTo>
                <a:cubicBezTo>
                  <a:pt x="4981" y="18657"/>
                  <a:pt x="4957" y="18639"/>
                  <a:pt x="4939" y="18587"/>
                </a:cubicBezTo>
                <a:cubicBezTo>
                  <a:pt x="4936" y="18565"/>
                  <a:pt x="4963" y="18605"/>
                  <a:pt x="4988" y="18624"/>
                </a:cubicBezTo>
                <a:cubicBezTo>
                  <a:pt x="4961" y="18584"/>
                  <a:pt x="4909" y="18525"/>
                  <a:pt x="4888" y="18528"/>
                </a:cubicBezTo>
                <a:cubicBezTo>
                  <a:pt x="4411" y="17971"/>
                  <a:pt x="3996" y="17384"/>
                  <a:pt x="3639" y="16745"/>
                </a:cubicBezTo>
                <a:cubicBezTo>
                  <a:pt x="3612" y="16705"/>
                  <a:pt x="3585" y="16665"/>
                  <a:pt x="3570" y="16634"/>
                </a:cubicBezTo>
                <a:cubicBezTo>
                  <a:pt x="3510" y="16512"/>
                  <a:pt x="3510" y="16512"/>
                  <a:pt x="3510" y="16512"/>
                </a:cubicBezTo>
                <a:cubicBezTo>
                  <a:pt x="3390" y="16266"/>
                  <a:pt x="3390" y="16266"/>
                  <a:pt x="3390" y="16266"/>
                </a:cubicBezTo>
                <a:cubicBezTo>
                  <a:pt x="3363" y="16226"/>
                  <a:pt x="3336" y="16186"/>
                  <a:pt x="3330" y="16143"/>
                </a:cubicBezTo>
                <a:cubicBezTo>
                  <a:pt x="3271" y="16021"/>
                  <a:pt x="3271" y="16021"/>
                  <a:pt x="3271" y="16021"/>
                </a:cubicBezTo>
                <a:cubicBezTo>
                  <a:pt x="3238" y="15938"/>
                  <a:pt x="3184" y="15858"/>
                  <a:pt x="3151" y="15775"/>
                </a:cubicBezTo>
                <a:cubicBezTo>
                  <a:pt x="3053" y="15527"/>
                  <a:pt x="3053" y="15527"/>
                  <a:pt x="3053" y="15527"/>
                </a:cubicBezTo>
                <a:cubicBezTo>
                  <a:pt x="3029" y="15432"/>
                  <a:pt x="2987" y="15361"/>
                  <a:pt x="2964" y="15266"/>
                </a:cubicBezTo>
                <a:cubicBezTo>
                  <a:pt x="2875" y="15005"/>
                  <a:pt x="2875" y="15005"/>
                  <a:pt x="2875" y="15005"/>
                </a:cubicBezTo>
                <a:cubicBezTo>
                  <a:pt x="2860" y="14975"/>
                  <a:pt x="2842" y="14923"/>
                  <a:pt x="2836" y="14880"/>
                </a:cubicBezTo>
                <a:cubicBezTo>
                  <a:pt x="2798" y="14754"/>
                  <a:pt x="2798" y="14754"/>
                  <a:pt x="2798" y="14754"/>
                </a:cubicBezTo>
                <a:cubicBezTo>
                  <a:pt x="2597" y="14062"/>
                  <a:pt x="2458" y="13339"/>
                  <a:pt x="2417" y="12614"/>
                </a:cubicBezTo>
                <a:cubicBezTo>
                  <a:pt x="2385" y="11877"/>
                  <a:pt x="2429" y="11141"/>
                  <a:pt x="2550" y="10405"/>
                </a:cubicBezTo>
                <a:cubicBezTo>
                  <a:pt x="2547" y="10384"/>
                  <a:pt x="2544" y="10362"/>
                  <a:pt x="2532" y="10353"/>
                </a:cubicBezTo>
                <a:cubicBezTo>
                  <a:pt x="2564" y="10261"/>
                  <a:pt x="2593" y="10149"/>
                  <a:pt x="2612" y="10048"/>
                </a:cubicBezTo>
                <a:cubicBezTo>
                  <a:pt x="2622" y="9959"/>
                  <a:pt x="2641" y="9859"/>
                  <a:pt x="2673" y="9767"/>
                </a:cubicBezTo>
                <a:cubicBezTo>
                  <a:pt x="2692" y="9666"/>
                  <a:pt x="2721" y="9554"/>
                  <a:pt x="2752" y="9462"/>
                </a:cubicBezTo>
                <a:cubicBezTo>
                  <a:pt x="2756" y="9407"/>
                  <a:pt x="2772" y="9361"/>
                  <a:pt x="2788" y="9316"/>
                </a:cubicBezTo>
                <a:cubicBezTo>
                  <a:pt x="2803" y="9270"/>
                  <a:pt x="2831" y="9233"/>
                  <a:pt x="2856" y="9176"/>
                </a:cubicBezTo>
                <a:cubicBezTo>
                  <a:pt x="2869" y="9108"/>
                  <a:pt x="2849" y="9035"/>
                  <a:pt x="2882" y="9041"/>
                </a:cubicBezTo>
                <a:cubicBezTo>
                  <a:pt x="2883" y="8965"/>
                  <a:pt x="2939" y="8815"/>
                  <a:pt x="2992" y="8721"/>
                </a:cubicBezTo>
                <a:cubicBezTo>
                  <a:pt x="2999" y="8688"/>
                  <a:pt x="2996" y="8666"/>
                  <a:pt x="3002" y="8633"/>
                </a:cubicBezTo>
                <a:cubicBezTo>
                  <a:pt x="3053" y="8517"/>
                  <a:pt x="3112" y="8389"/>
                  <a:pt x="3159" y="8252"/>
                </a:cubicBezTo>
                <a:cubicBezTo>
                  <a:pt x="3225" y="8090"/>
                  <a:pt x="3315" y="7947"/>
                  <a:pt x="3381" y="7786"/>
                </a:cubicBezTo>
                <a:cubicBezTo>
                  <a:pt x="3443" y="7679"/>
                  <a:pt x="3443" y="7679"/>
                  <a:pt x="3443" y="7679"/>
                </a:cubicBezTo>
                <a:cubicBezTo>
                  <a:pt x="3503" y="7551"/>
                  <a:pt x="3503" y="7551"/>
                  <a:pt x="3503" y="7551"/>
                </a:cubicBezTo>
                <a:cubicBezTo>
                  <a:pt x="3615" y="7329"/>
                  <a:pt x="3615" y="7329"/>
                  <a:pt x="3615" y="7329"/>
                </a:cubicBezTo>
                <a:cubicBezTo>
                  <a:pt x="3658" y="7247"/>
                  <a:pt x="3705" y="7186"/>
                  <a:pt x="3749" y="7104"/>
                </a:cubicBezTo>
                <a:cubicBezTo>
                  <a:pt x="3795" y="7043"/>
                  <a:pt x="3839" y="6961"/>
                  <a:pt x="3885" y="6900"/>
                </a:cubicBezTo>
                <a:cubicBezTo>
                  <a:pt x="3901" y="6855"/>
                  <a:pt x="3929" y="6818"/>
                  <a:pt x="3957" y="6782"/>
                </a:cubicBezTo>
                <a:cubicBezTo>
                  <a:pt x="4031" y="6684"/>
                  <a:pt x="4031" y="6684"/>
                  <a:pt x="4031" y="6684"/>
                </a:cubicBezTo>
                <a:cubicBezTo>
                  <a:pt x="4087" y="6611"/>
                  <a:pt x="4133" y="6551"/>
                  <a:pt x="4201" y="6487"/>
                </a:cubicBezTo>
                <a:cubicBezTo>
                  <a:pt x="4198" y="6466"/>
                  <a:pt x="4217" y="6441"/>
                  <a:pt x="4223" y="6408"/>
                </a:cubicBezTo>
                <a:cubicBezTo>
                  <a:pt x="4313" y="6341"/>
                  <a:pt x="4433" y="6183"/>
                  <a:pt x="4446" y="6116"/>
                </a:cubicBezTo>
                <a:cubicBezTo>
                  <a:pt x="4477" y="6101"/>
                  <a:pt x="4468" y="6113"/>
                  <a:pt x="4498" y="6098"/>
                </a:cubicBezTo>
                <a:cubicBezTo>
                  <a:pt x="4499" y="6022"/>
                  <a:pt x="4561" y="5992"/>
                  <a:pt x="4601" y="5964"/>
                </a:cubicBezTo>
                <a:cubicBezTo>
                  <a:pt x="4644" y="5882"/>
                  <a:pt x="4700" y="5809"/>
                  <a:pt x="4777" y="5734"/>
                </a:cubicBezTo>
                <a:cubicBezTo>
                  <a:pt x="4842" y="5648"/>
                  <a:pt x="4929" y="5561"/>
                  <a:pt x="5006" y="5485"/>
                </a:cubicBezTo>
                <a:cubicBezTo>
                  <a:pt x="5036" y="5470"/>
                  <a:pt x="5049" y="5479"/>
                  <a:pt x="5039" y="5491"/>
                </a:cubicBezTo>
                <a:cubicBezTo>
                  <a:pt x="5079" y="5464"/>
                  <a:pt x="5062" y="5412"/>
                  <a:pt x="5142" y="5357"/>
                </a:cubicBezTo>
                <a:cubicBezTo>
                  <a:pt x="5151" y="5345"/>
                  <a:pt x="5129" y="5348"/>
                  <a:pt x="5120" y="5360"/>
                </a:cubicBezTo>
                <a:cubicBezTo>
                  <a:pt x="5157" y="5312"/>
                  <a:pt x="5209" y="5294"/>
                  <a:pt x="5234" y="5236"/>
                </a:cubicBezTo>
                <a:cubicBezTo>
                  <a:pt x="5253" y="5212"/>
                  <a:pt x="5256" y="5233"/>
                  <a:pt x="5247" y="5245"/>
                </a:cubicBezTo>
                <a:cubicBezTo>
                  <a:pt x="5284" y="5197"/>
                  <a:pt x="5358" y="5099"/>
                  <a:pt x="5435" y="5024"/>
                </a:cubicBezTo>
                <a:cubicBezTo>
                  <a:pt x="5499" y="5015"/>
                  <a:pt x="5398" y="5072"/>
                  <a:pt x="5382" y="5118"/>
                </a:cubicBezTo>
                <a:cubicBezTo>
                  <a:pt x="5410" y="5081"/>
                  <a:pt x="5447" y="5033"/>
                  <a:pt x="5497" y="4993"/>
                </a:cubicBezTo>
                <a:cubicBezTo>
                  <a:pt x="5525" y="4957"/>
                  <a:pt x="5574" y="4918"/>
                  <a:pt x="5611" y="4869"/>
                </a:cubicBezTo>
                <a:cubicBezTo>
                  <a:pt x="5725" y="4745"/>
                  <a:pt x="5725" y="4745"/>
                  <a:pt x="5725" y="4745"/>
                </a:cubicBezTo>
                <a:cubicBezTo>
                  <a:pt x="5765" y="4717"/>
                  <a:pt x="5802" y="4669"/>
                  <a:pt x="5852" y="4629"/>
                </a:cubicBezTo>
                <a:cubicBezTo>
                  <a:pt x="5873" y="4627"/>
                  <a:pt x="5904" y="4612"/>
                  <a:pt x="5935" y="4597"/>
                </a:cubicBezTo>
                <a:cubicBezTo>
                  <a:pt x="5940" y="4639"/>
                  <a:pt x="5962" y="4560"/>
                  <a:pt x="5892" y="4602"/>
                </a:cubicBezTo>
                <a:cubicBezTo>
                  <a:pt x="5957" y="4517"/>
                  <a:pt x="6037" y="4463"/>
                  <a:pt x="6133" y="4363"/>
                </a:cubicBezTo>
                <a:cubicBezTo>
                  <a:pt x="6166" y="4369"/>
                  <a:pt x="6274" y="4278"/>
                  <a:pt x="6218" y="4351"/>
                </a:cubicBezTo>
                <a:cubicBezTo>
                  <a:pt x="6280" y="4321"/>
                  <a:pt x="6253" y="4281"/>
                  <a:pt x="6378" y="4242"/>
                </a:cubicBezTo>
                <a:cubicBezTo>
                  <a:pt x="6434" y="4169"/>
                  <a:pt x="6314" y="4251"/>
                  <a:pt x="6293" y="4254"/>
                </a:cubicBezTo>
                <a:cubicBezTo>
                  <a:pt x="6388" y="4154"/>
                  <a:pt x="6514" y="4115"/>
                  <a:pt x="6598" y="4006"/>
                </a:cubicBezTo>
                <a:cubicBezTo>
                  <a:pt x="6619" y="4003"/>
                  <a:pt x="6600" y="4027"/>
                  <a:pt x="6582" y="4051"/>
                </a:cubicBezTo>
                <a:cubicBezTo>
                  <a:pt x="6613" y="4036"/>
                  <a:pt x="6640" y="4000"/>
                  <a:pt x="6683" y="3994"/>
                </a:cubicBezTo>
                <a:cubicBezTo>
                  <a:pt x="6628" y="3991"/>
                  <a:pt x="6733" y="3955"/>
                  <a:pt x="6779" y="3894"/>
                </a:cubicBezTo>
                <a:cubicBezTo>
                  <a:pt x="6850" y="3852"/>
                  <a:pt x="6920" y="3810"/>
                  <a:pt x="6991" y="3767"/>
                </a:cubicBezTo>
                <a:cubicBezTo>
                  <a:pt x="7062" y="3725"/>
                  <a:pt x="7130" y="3662"/>
                  <a:pt x="7200" y="3619"/>
                </a:cubicBezTo>
                <a:cubicBezTo>
                  <a:pt x="7271" y="3577"/>
                  <a:pt x="7330" y="3526"/>
                  <a:pt x="7400" y="3483"/>
                </a:cubicBezTo>
                <a:cubicBezTo>
                  <a:pt x="7471" y="3441"/>
                  <a:pt x="7545" y="3420"/>
                  <a:pt x="7618" y="3400"/>
                </a:cubicBezTo>
                <a:cubicBezTo>
                  <a:pt x="7625" y="3366"/>
                  <a:pt x="7695" y="3324"/>
                  <a:pt x="7745" y="3284"/>
                </a:cubicBezTo>
                <a:cubicBezTo>
                  <a:pt x="7775" y="3269"/>
                  <a:pt x="7815" y="3242"/>
                  <a:pt x="7846" y="3227"/>
                </a:cubicBezTo>
                <a:cubicBezTo>
                  <a:pt x="7877" y="3212"/>
                  <a:pt x="7907" y="3197"/>
                  <a:pt x="7938" y="3182"/>
                </a:cubicBezTo>
                <a:cubicBezTo>
                  <a:pt x="7941" y="3203"/>
                  <a:pt x="7910" y="3218"/>
                  <a:pt x="7870" y="3246"/>
                </a:cubicBezTo>
                <a:cubicBezTo>
                  <a:pt x="7818" y="3264"/>
                  <a:pt x="7766" y="3281"/>
                  <a:pt x="7738" y="3318"/>
                </a:cubicBezTo>
                <a:cubicBezTo>
                  <a:pt x="7781" y="3312"/>
                  <a:pt x="7800" y="3288"/>
                  <a:pt x="7833" y="3294"/>
                </a:cubicBezTo>
                <a:cubicBezTo>
                  <a:pt x="7744" y="3361"/>
                  <a:pt x="7667" y="3437"/>
                  <a:pt x="7565" y="3494"/>
                </a:cubicBezTo>
                <a:cubicBezTo>
                  <a:pt x="7562" y="3472"/>
                  <a:pt x="7489" y="3493"/>
                  <a:pt x="7430" y="3545"/>
                </a:cubicBezTo>
                <a:cubicBezTo>
                  <a:pt x="7369" y="3575"/>
                  <a:pt x="7301" y="3638"/>
                  <a:pt x="7282" y="3663"/>
                </a:cubicBezTo>
                <a:cubicBezTo>
                  <a:pt x="7335" y="3645"/>
                  <a:pt x="7384" y="3606"/>
                  <a:pt x="7436" y="3588"/>
                </a:cubicBezTo>
                <a:cubicBezTo>
                  <a:pt x="7467" y="3573"/>
                  <a:pt x="7497" y="3558"/>
                  <a:pt x="7528" y="3542"/>
                </a:cubicBezTo>
                <a:cubicBezTo>
                  <a:pt x="7568" y="3515"/>
                  <a:pt x="7599" y="3500"/>
                  <a:pt x="7630" y="3485"/>
                </a:cubicBezTo>
                <a:cubicBezTo>
                  <a:pt x="7691" y="3455"/>
                  <a:pt x="7740" y="3416"/>
                  <a:pt x="7802" y="3386"/>
                </a:cubicBezTo>
                <a:cubicBezTo>
                  <a:pt x="7851" y="3346"/>
                  <a:pt x="7900" y="3307"/>
                  <a:pt x="7949" y="3268"/>
                </a:cubicBezTo>
                <a:cubicBezTo>
                  <a:pt x="7962" y="3277"/>
                  <a:pt x="7922" y="3304"/>
                  <a:pt x="7903" y="3328"/>
                </a:cubicBezTo>
                <a:cubicBezTo>
                  <a:pt x="8004" y="3271"/>
                  <a:pt x="8232" y="3175"/>
                  <a:pt x="8214" y="3123"/>
                </a:cubicBezTo>
                <a:cubicBezTo>
                  <a:pt x="8272" y="3072"/>
                  <a:pt x="8269" y="3127"/>
                  <a:pt x="8299" y="3112"/>
                </a:cubicBezTo>
                <a:cubicBezTo>
                  <a:pt x="8339" y="3084"/>
                  <a:pt x="8392" y="3066"/>
                  <a:pt x="8432" y="3039"/>
                </a:cubicBezTo>
                <a:cubicBezTo>
                  <a:pt x="8472" y="3012"/>
                  <a:pt x="8524" y="2994"/>
                  <a:pt x="8554" y="2979"/>
                </a:cubicBezTo>
                <a:cubicBezTo>
                  <a:pt x="8594" y="2952"/>
                  <a:pt x="8646" y="2934"/>
                  <a:pt x="8686" y="2907"/>
                </a:cubicBezTo>
                <a:cubicBezTo>
                  <a:pt x="8726" y="2880"/>
                  <a:pt x="8779" y="2862"/>
                  <a:pt x="8828" y="2822"/>
                </a:cubicBezTo>
                <a:cubicBezTo>
                  <a:pt x="8975" y="2781"/>
                  <a:pt x="9101" y="2742"/>
                  <a:pt x="9236" y="2691"/>
                </a:cubicBezTo>
                <a:cubicBezTo>
                  <a:pt x="9383" y="2650"/>
                  <a:pt x="9518" y="2599"/>
                  <a:pt x="9650" y="2526"/>
                </a:cubicBezTo>
                <a:cubicBezTo>
                  <a:pt x="9702" y="2508"/>
                  <a:pt x="9745" y="2503"/>
                  <a:pt x="9797" y="2485"/>
                </a:cubicBezTo>
                <a:cubicBezTo>
                  <a:pt x="9840" y="2479"/>
                  <a:pt x="9892" y="2461"/>
                  <a:pt x="9944" y="2443"/>
                </a:cubicBezTo>
                <a:cubicBezTo>
                  <a:pt x="10048" y="2407"/>
                  <a:pt x="10131" y="2374"/>
                  <a:pt x="10192" y="2344"/>
                </a:cubicBezTo>
                <a:cubicBezTo>
                  <a:pt x="10278" y="2333"/>
                  <a:pt x="10385" y="2318"/>
                  <a:pt x="10501" y="2292"/>
                </a:cubicBezTo>
                <a:cubicBezTo>
                  <a:pt x="10563" y="2262"/>
                  <a:pt x="10627" y="2253"/>
                  <a:pt x="10679" y="2235"/>
                </a:cubicBezTo>
                <a:cubicBezTo>
                  <a:pt x="10743" y="2226"/>
                  <a:pt x="10817" y="2206"/>
                  <a:pt x="10881" y="2197"/>
                </a:cubicBezTo>
                <a:cubicBezTo>
                  <a:pt x="10946" y="2188"/>
                  <a:pt x="11019" y="2167"/>
                  <a:pt x="11083" y="2159"/>
                </a:cubicBezTo>
                <a:cubicBezTo>
                  <a:pt x="11126" y="2153"/>
                  <a:pt x="11126" y="2153"/>
                  <a:pt x="11126" y="2153"/>
                </a:cubicBezTo>
                <a:cubicBezTo>
                  <a:pt x="11178" y="2135"/>
                  <a:pt x="11178" y="2135"/>
                  <a:pt x="11178" y="2135"/>
                </a:cubicBezTo>
                <a:cubicBezTo>
                  <a:pt x="11212" y="2142"/>
                  <a:pt x="11255" y="2136"/>
                  <a:pt x="11276" y="2133"/>
                </a:cubicBezTo>
                <a:cubicBezTo>
                  <a:pt x="11352" y="2133"/>
                  <a:pt x="11417" y="2125"/>
                  <a:pt x="11472" y="2128"/>
                </a:cubicBezTo>
                <a:cubicBezTo>
                  <a:pt x="11548" y="2129"/>
                  <a:pt x="11603" y="2132"/>
                  <a:pt x="11670" y="2145"/>
                </a:cubicBezTo>
                <a:cubicBezTo>
                  <a:pt x="11549" y="2053"/>
                  <a:pt x="11958" y="2096"/>
                  <a:pt x="11937" y="2022"/>
                </a:cubicBezTo>
                <a:cubicBezTo>
                  <a:pt x="11980" y="2016"/>
                  <a:pt x="12032" y="1998"/>
                  <a:pt x="12096" y="1990"/>
                </a:cubicBezTo>
                <a:cubicBezTo>
                  <a:pt x="12139" y="1984"/>
                  <a:pt x="12203" y="1975"/>
                  <a:pt x="12240" y="2003"/>
                </a:cubicBezTo>
                <a:cubicBezTo>
                  <a:pt x="12347" y="1989"/>
                  <a:pt x="12454" y="1974"/>
                  <a:pt x="12552" y="1972"/>
                </a:cubicBezTo>
                <a:cubicBezTo>
                  <a:pt x="12659" y="1958"/>
                  <a:pt x="12759" y="1977"/>
                  <a:pt x="12869" y="1984"/>
                </a:cubicBezTo>
                <a:cubicBezTo>
                  <a:pt x="12912" y="1978"/>
                  <a:pt x="12967" y="1981"/>
                  <a:pt x="13022" y="1985"/>
                </a:cubicBezTo>
                <a:cubicBezTo>
                  <a:pt x="13046" y="2004"/>
                  <a:pt x="13068" y="2001"/>
                  <a:pt x="13089" y="1998"/>
                </a:cubicBezTo>
                <a:cubicBezTo>
                  <a:pt x="13168" y="2020"/>
                  <a:pt x="13168" y="2020"/>
                  <a:pt x="13168" y="2020"/>
                </a:cubicBezTo>
                <a:cubicBezTo>
                  <a:pt x="13269" y="2039"/>
                  <a:pt x="13369" y="2058"/>
                  <a:pt x="13461" y="2089"/>
                </a:cubicBezTo>
                <a:cubicBezTo>
                  <a:pt x="13513" y="2071"/>
                  <a:pt x="13577" y="2063"/>
                  <a:pt x="13562" y="2032"/>
                </a:cubicBezTo>
                <a:cubicBezTo>
                  <a:pt x="13629" y="2045"/>
                  <a:pt x="13687" y="2070"/>
                  <a:pt x="13745" y="2095"/>
                </a:cubicBezTo>
                <a:cubicBezTo>
                  <a:pt x="13809" y="2086"/>
                  <a:pt x="13855" y="2102"/>
                  <a:pt x="13922" y="2115"/>
                </a:cubicBezTo>
                <a:cubicBezTo>
                  <a:pt x="13950" y="2078"/>
                  <a:pt x="14008" y="2103"/>
                  <a:pt x="14048" y="2076"/>
                </a:cubicBezTo>
                <a:cubicBezTo>
                  <a:pt x="14023" y="2057"/>
                  <a:pt x="13971" y="2075"/>
                  <a:pt x="13947" y="2057"/>
                </a:cubicBezTo>
                <a:cubicBezTo>
                  <a:pt x="14066" y="2051"/>
                  <a:pt x="14243" y="2071"/>
                  <a:pt x="14414" y="2125"/>
                </a:cubicBezTo>
                <a:cubicBezTo>
                  <a:pt x="14459" y="2140"/>
                  <a:pt x="14514" y="2144"/>
                  <a:pt x="14548" y="2150"/>
                </a:cubicBezTo>
                <a:cubicBezTo>
                  <a:pt x="14593" y="2166"/>
                  <a:pt x="14630" y="2194"/>
                  <a:pt x="14675" y="2209"/>
                </a:cubicBezTo>
                <a:cubicBezTo>
                  <a:pt x="14755" y="2231"/>
                  <a:pt x="14837" y="2275"/>
                  <a:pt x="14907" y="2309"/>
                </a:cubicBezTo>
                <a:cubicBezTo>
                  <a:pt x="14925" y="2285"/>
                  <a:pt x="14968" y="2279"/>
                  <a:pt x="15023" y="2282"/>
                </a:cubicBezTo>
                <a:cubicBezTo>
                  <a:pt x="15069" y="2298"/>
                  <a:pt x="15126" y="2323"/>
                  <a:pt x="15184" y="2348"/>
                </a:cubicBezTo>
                <a:cubicBezTo>
                  <a:pt x="15248" y="2339"/>
                  <a:pt x="15325" y="2340"/>
                  <a:pt x="15401" y="2340"/>
                </a:cubicBezTo>
                <a:cubicBezTo>
                  <a:pt x="15468" y="2353"/>
                  <a:pt x="15545" y="2354"/>
                  <a:pt x="15624" y="2376"/>
                </a:cubicBezTo>
                <a:cubicBezTo>
                  <a:pt x="15779" y="2399"/>
                  <a:pt x="15938" y="2443"/>
                  <a:pt x="16096" y="2487"/>
                </a:cubicBezTo>
                <a:cubicBezTo>
                  <a:pt x="16120" y="2505"/>
                  <a:pt x="16148" y="2545"/>
                  <a:pt x="16184" y="2573"/>
                </a:cubicBezTo>
                <a:cubicBezTo>
                  <a:pt x="16166" y="2521"/>
                  <a:pt x="16352" y="2605"/>
                  <a:pt x="16452" y="2624"/>
                </a:cubicBezTo>
                <a:cubicBezTo>
                  <a:pt x="16443" y="2636"/>
                  <a:pt x="16455" y="2646"/>
                  <a:pt x="16434" y="2648"/>
                </a:cubicBezTo>
                <a:cubicBezTo>
                  <a:pt x="16467" y="2655"/>
                  <a:pt x="16491" y="2673"/>
                  <a:pt x="16537" y="2689"/>
                </a:cubicBezTo>
                <a:cubicBezTo>
                  <a:pt x="16571" y="2695"/>
                  <a:pt x="16595" y="2714"/>
                  <a:pt x="16628" y="2720"/>
                </a:cubicBezTo>
                <a:cubicBezTo>
                  <a:pt x="16698" y="2754"/>
                  <a:pt x="16756" y="2779"/>
                  <a:pt x="16814" y="2804"/>
                </a:cubicBezTo>
                <a:cubicBezTo>
                  <a:pt x="16884" y="2839"/>
                  <a:pt x="16951" y="2851"/>
                  <a:pt x="17009" y="2876"/>
                </a:cubicBezTo>
                <a:cubicBezTo>
                  <a:pt x="17066" y="2901"/>
                  <a:pt x="17112" y="2917"/>
                  <a:pt x="17179" y="2930"/>
                </a:cubicBezTo>
                <a:cubicBezTo>
                  <a:pt x="17319" y="2998"/>
                  <a:pt x="17471" y="3076"/>
                  <a:pt x="17635" y="3163"/>
                </a:cubicBezTo>
                <a:cubicBezTo>
                  <a:pt x="17787" y="3240"/>
                  <a:pt x="17936" y="3296"/>
                  <a:pt x="18052" y="3346"/>
                </a:cubicBezTo>
                <a:cubicBezTo>
                  <a:pt x="18136" y="3411"/>
                  <a:pt x="18276" y="3480"/>
                  <a:pt x="18395" y="3551"/>
                </a:cubicBezTo>
                <a:cubicBezTo>
                  <a:pt x="18534" y="3619"/>
                  <a:pt x="18653" y="3690"/>
                  <a:pt x="18735" y="3734"/>
                </a:cubicBezTo>
                <a:cubicBezTo>
                  <a:pt x="18863" y="3793"/>
                  <a:pt x="18981" y="3864"/>
                  <a:pt x="19099" y="3936"/>
                </a:cubicBezTo>
                <a:cubicBezTo>
                  <a:pt x="19148" y="3973"/>
                  <a:pt x="19206" y="3998"/>
                  <a:pt x="19263" y="4022"/>
                </a:cubicBezTo>
                <a:cubicBezTo>
                  <a:pt x="19288" y="4041"/>
                  <a:pt x="19312" y="4060"/>
                  <a:pt x="19345" y="4066"/>
                </a:cubicBezTo>
                <a:cubicBezTo>
                  <a:pt x="19370" y="4084"/>
                  <a:pt x="19382" y="4094"/>
                  <a:pt x="19415" y="4100"/>
                </a:cubicBezTo>
                <a:cubicBezTo>
                  <a:pt x="19355" y="4054"/>
                  <a:pt x="19373" y="4029"/>
                  <a:pt x="19358" y="3999"/>
                </a:cubicBezTo>
                <a:cubicBezTo>
                  <a:pt x="19416" y="4024"/>
                  <a:pt x="19434" y="4076"/>
                  <a:pt x="19492" y="4101"/>
                </a:cubicBezTo>
                <a:cubicBezTo>
                  <a:pt x="19465" y="4061"/>
                  <a:pt x="19428" y="4033"/>
                  <a:pt x="19404" y="4014"/>
                </a:cubicBezTo>
                <a:cubicBezTo>
                  <a:pt x="19389" y="3984"/>
                  <a:pt x="19365" y="3965"/>
                  <a:pt x="19362" y="3944"/>
                </a:cubicBezTo>
                <a:cubicBezTo>
                  <a:pt x="19249" y="3915"/>
                  <a:pt x="19150" y="3743"/>
                  <a:pt x="19098" y="3761"/>
                </a:cubicBezTo>
                <a:cubicBezTo>
                  <a:pt x="19040" y="3736"/>
                  <a:pt x="19044" y="3681"/>
                  <a:pt x="19017" y="3641"/>
                </a:cubicBezTo>
                <a:cubicBezTo>
                  <a:pt x="18899" y="3570"/>
                  <a:pt x="18789" y="3487"/>
                  <a:pt x="18680" y="3403"/>
                </a:cubicBezTo>
                <a:cubicBezTo>
                  <a:pt x="18808" y="3462"/>
                  <a:pt x="18844" y="3490"/>
                  <a:pt x="19006" y="3556"/>
                </a:cubicBezTo>
                <a:cubicBezTo>
                  <a:pt x="18909" y="3482"/>
                  <a:pt x="18800" y="3398"/>
                  <a:pt x="18690" y="3315"/>
                </a:cubicBezTo>
                <a:cubicBezTo>
                  <a:pt x="18654" y="3287"/>
                  <a:pt x="18630" y="3268"/>
                  <a:pt x="18606" y="3250"/>
                </a:cubicBezTo>
                <a:cubicBezTo>
                  <a:pt x="18560" y="3234"/>
                  <a:pt x="18536" y="3216"/>
                  <a:pt x="18499" y="3188"/>
                </a:cubicBezTo>
                <a:cubicBezTo>
                  <a:pt x="18451" y="3151"/>
                  <a:pt x="18381" y="3117"/>
                  <a:pt x="18320" y="3070"/>
                </a:cubicBezTo>
                <a:cubicBezTo>
                  <a:pt x="18250" y="3036"/>
                  <a:pt x="18190" y="2990"/>
                  <a:pt x="18120" y="2955"/>
                </a:cubicBezTo>
                <a:cubicBezTo>
                  <a:pt x="18050" y="2921"/>
                  <a:pt x="17989" y="2875"/>
                  <a:pt x="17919" y="2841"/>
                </a:cubicBezTo>
                <a:cubicBezTo>
                  <a:pt x="17849" y="2807"/>
                  <a:pt x="17780" y="2772"/>
                  <a:pt x="17710" y="2738"/>
                </a:cubicBezTo>
                <a:cubicBezTo>
                  <a:pt x="17640" y="2704"/>
                  <a:pt x="17561" y="2682"/>
                  <a:pt x="17503" y="2657"/>
                </a:cubicBezTo>
                <a:cubicBezTo>
                  <a:pt x="17445" y="2632"/>
                  <a:pt x="17409" y="2604"/>
                  <a:pt x="17369" y="2555"/>
                </a:cubicBezTo>
                <a:cubicBezTo>
                  <a:pt x="17360" y="2567"/>
                  <a:pt x="17351" y="2579"/>
                  <a:pt x="17363" y="2589"/>
                </a:cubicBezTo>
                <a:cubicBezTo>
                  <a:pt x="17305" y="2564"/>
                  <a:pt x="17247" y="2539"/>
                  <a:pt x="17190" y="2514"/>
                </a:cubicBezTo>
                <a:cubicBezTo>
                  <a:pt x="17145" y="2422"/>
                  <a:pt x="16879" y="2392"/>
                  <a:pt x="16757" y="2376"/>
                </a:cubicBezTo>
                <a:cubicBezTo>
                  <a:pt x="16709" y="2339"/>
                  <a:pt x="16809" y="2358"/>
                  <a:pt x="16864" y="2361"/>
                </a:cubicBezTo>
                <a:cubicBezTo>
                  <a:pt x="16819" y="2346"/>
                  <a:pt x="16746" y="2290"/>
                  <a:pt x="16755" y="2278"/>
                </a:cubicBezTo>
                <a:cubicBezTo>
                  <a:pt x="16856" y="2297"/>
                  <a:pt x="16871" y="2328"/>
                  <a:pt x="16947" y="2328"/>
                </a:cubicBezTo>
                <a:cubicBezTo>
                  <a:pt x="16920" y="2289"/>
                  <a:pt x="16837" y="2321"/>
                  <a:pt x="16819" y="2269"/>
                </a:cubicBezTo>
                <a:cubicBezTo>
                  <a:pt x="16740" y="2247"/>
                  <a:pt x="16777" y="2275"/>
                  <a:pt x="16719" y="2250"/>
                </a:cubicBezTo>
                <a:cubicBezTo>
                  <a:pt x="16697" y="2253"/>
                  <a:pt x="16664" y="2247"/>
                  <a:pt x="16640" y="2228"/>
                </a:cubicBezTo>
                <a:cubicBezTo>
                  <a:pt x="16658" y="2204"/>
                  <a:pt x="16747" y="2214"/>
                  <a:pt x="16756" y="2202"/>
                </a:cubicBezTo>
                <a:cubicBezTo>
                  <a:pt x="16768" y="2211"/>
                  <a:pt x="16792" y="2229"/>
                  <a:pt x="16814" y="2227"/>
                </a:cubicBezTo>
                <a:cubicBezTo>
                  <a:pt x="16750" y="2235"/>
                  <a:pt x="16932" y="2298"/>
                  <a:pt x="17002" y="2332"/>
                </a:cubicBezTo>
                <a:cubicBezTo>
                  <a:pt x="17026" y="2351"/>
                  <a:pt x="17005" y="2353"/>
                  <a:pt x="17041" y="2381"/>
                </a:cubicBezTo>
                <a:cubicBezTo>
                  <a:pt x="17133" y="2413"/>
                  <a:pt x="17188" y="2416"/>
                  <a:pt x="17243" y="2420"/>
                </a:cubicBezTo>
                <a:cubicBezTo>
                  <a:pt x="17288" y="2435"/>
                  <a:pt x="17355" y="2448"/>
                  <a:pt x="17425" y="2482"/>
                </a:cubicBezTo>
                <a:cubicBezTo>
                  <a:pt x="17428" y="2504"/>
                  <a:pt x="17279" y="2447"/>
                  <a:pt x="17224" y="2444"/>
                </a:cubicBezTo>
                <a:cubicBezTo>
                  <a:pt x="17294" y="2478"/>
                  <a:pt x="17434" y="2546"/>
                  <a:pt x="17416" y="2494"/>
                </a:cubicBezTo>
                <a:cubicBezTo>
                  <a:pt x="17501" y="2559"/>
                  <a:pt x="17583" y="2603"/>
                  <a:pt x="17686" y="2643"/>
                </a:cubicBezTo>
                <a:cubicBezTo>
                  <a:pt x="17790" y="2684"/>
                  <a:pt x="17881" y="2715"/>
                  <a:pt x="17975" y="2768"/>
                </a:cubicBezTo>
                <a:cubicBezTo>
                  <a:pt x="17936" y="2719"/>
                  <a:pt x="17878" y="2694"/>
                  <a:pt x="17820" y="2669"/>
                </a:cubicBezTo>
                <a:cubicBezTo>
                  <a:pt x="17787" y="2662"/>
                  <a:pt x="17741" y="2647"/>
                  <a:pt x="17717" y="2628"/>
                </a:cubicBezTo>
                <a:cubicBezTo>
                  <a:pt x="17683" y="2622"/>
                  <a:pt x="17650" y="2615"/>
                  <a:pt x="17626" y="2597"/>
                </a:cubicBezTo>
                <a:cubicBezTo>
                  <a:pt x="17647" y="2594"/>
                  <a:pt x="17681" y="2600"/>
                  <a:pt x="17726" y="2616"/>
                </a:cubicBezTo>
                <a:cubicBezTo>
                  <a:pt x="17760" y="2622"/>
                  <a:pt x="17805" y="2638"/>
                  <a:pt x="17842" y="2666"/>
                </a:cubicBezTo>
                <a:cubicBezTo>
                  <a:pt x="17924" y="2709"/>
                  <a:pt x="18006" y="2753"/>
                  <a:pt x="18057" y="2811"/>
                </a:cubicBezTo>
                <a:cubicBezTo>
                  <a:pt x="18206" y="2868"/>
                  <a:pt x="18358" y="2945"/>
                  <a:pt x="18482" y="3059"/>
                </a:cubicBezTo>
                <a:cubicBezTo>
                  <a:pt x="18540" y="3084"/>
                  <a:pt x="18598" y="3109"/>
                  <a:pt x="18646" y="3146"/>
                </a:cubicBezTo>
                <a:cubicBezTo>
                  <a:pt x="18704" y="3171"/>
                  <a:pt x="18765" y="3217"/>
                  <a:pt x="18823" y="3242"/>
                </a:cubicBezTo>
                <a:cubicBezTo>
                  <a:pt x="18920" y="3317"/>
                  <a:pt x="19038" y="3388"/>
                  <a:pt x="19135" y="3462"/>
                </a:cubicBezTo>
                <a:cubicBezTo>
                  <a:pt x="19232" y="3536"/>
                  <a:pt x="19341" y="3620"/>
                  <a:pt x="19438" y="3694"/>
                </a:cubicBezTo>
                <a:cubicBezTo>
                  <a:pt x="19486" y="3731"/>
                  <a:pt x="19535" y="3768"/>
                  <a:pt x="19596" y="3814"/>
                </a:cubicBezTo>
                <a:cubicBezTo>
                  <a:pt x="19644" y="3851"/>
                  <a:pt x="19693" y="3888"/>
                  <a:pt x="19741" y="3925"/>
                </a:cubicBezTo>
                <a:cubicBezTo>
                  <a:pt x="19723" y="3873"/>
                  <a:pt x="19675" y="3836"/>
                  <a:pt x="19648" y="3796"/>
                </a:cubicBezTo>
                <a:cubicBezTo>
                  <a:pt x="19608" y="3747"/>
                  <a:pt x="19560" y="3710"/>
                  <a:pt x="19542" y="3658"/>
                </a:cubicBezTo>
                <a:cubicBezTo>
                  <a:pt x="19436" y="3596"/>
                  <a:pt x="19348" y="3510"/>
                  <a:pt x="19279" y="3399"/>
                </a:cubicBezTo>
                <a:cubicBezTo>
                  <a:pt x="19233" y="3383"/>
                  <a:pt x="19258" y="3402"/>
                  <a:pt x="19224" y="3395"/>
                </a:cubicBezTo>
                <a:cubicBezTo>
                  <a:pt x="19179" y="3303"/>
                  <a:pt x="19088" y="3272"/>
                  <a:pt x="19025" y="3204"/>
                </a:cubicBezTo>
                <a:cubicBezTo>
                  <a:pt x="18997" y="3164"/>
                  <a:pt x="19055" y="3189"/>
                  <a:pt x="19113" y="3214"/>
                </a:cubicBezTo>
                <a:cubicBezTo>
                  <a:pt x="19025" y="3128"/>
                  <a:pt x="18919" y="3066"/>
                  <a:pt x="18834" y="3001"/>
                </a:cubicBezTo>
                <a:cubicBezTo>
                  <a:pt x="18771" y="2933"/>
                  <a:pt x="18889" y="3005"/>
                  <a:pt x="18850" y="2955"/>
                </a:cubicBezTo>
                <a:cubicBezTo>
                  <a:pt x="18726" y="2841"/>
                  <a:pt x="18616" y="2834"/>
                  <a:pt x="18449" y="2726"/>
                </a:cubicBezTo>
                <a:cubicBezTo>
                  <a:pt x="18419" y="2664"/>
                  <a:pt x="18629" y="2767"/>
                  <a:pt x="18699" y="2801"/>
                </a:cubicBezTo>
                <a:cubicBezTo>
                  <a:pt x="18675" y="2783"/>
                  <a:pt x="18647" y="2743"/>
                  <a:pt x="18623" y="2724"/>
                </a:cubicBezTo>
                <a:cubicBezTo>
                  <a:pt x="18611" y="2715"/>
                  <a:pt x="18626" y="2746"/>
                  <a:pt x="18626" y="2746"/>
                </a:cubicBezTo>
                <a:cubicBezTo>
                  <a:pt x="18556" y="2711"/>
                  <a:pt x="18517" y="2662"/>
                  <a:pt x="18474" y="2668"/>
                </a:cubicBezTo>
                <a:cubicBezTo>
                  <a:pt x="18447" y="2628"/>
                  <a:pt x="18471" y="2647"/>
                  <a:pt x="18444" y="2607"/>
                </a:cubicBezTo>
                <a:cubicBezTo>
                  <a:pt x="18304" y="2538"/>
                  <a:pt x="18186" y="2467"/>
                  <a:pt x="18065" y="2374"/>
                </a:cubicBezTo>
                <a:cubicBezTo>
                  <a:pt x="18019" y="2359"/>
                  <a:pt x="18010" y="2371"/>
                  <a:pt x="18037" y="2411"/>
                </a:cubicBezTo>
                <a:cubicBezTo>
                  <a:pt x="17982" y="2407"/>
                  <a:pt x="17946" y="2379"/>
                  <a:pt x="17900" y="2364"/>
                </a:cubicBezTo>
                <a:cubicBezTo>
                  <a:pt x="17882" y="2312"/>
                  <a:pt x="17879" y="2290"/>
                  <a:pt x="17886" y="2257"/>
                </a:cubicBezTo>
                <a:cubicBezTo>
                  <a:pt x="17922" y="2284"/>
                  <a:pt x="17968" y="2300"/>
                  <a:pt x="18013" y="2316"/>
                </a:cubicBezTo>
                <a:cubicBezTo>
                  <a:pt x="18050" y="2344"/>
                  <a:pt x="18108" y="2368"/>
                  <a:pt x="18153" y="2384"/>
                </a:cubicBezTo>
                <a:cubicBezTo>
                  <a:pt x="18245" y="2415"/>
                  <a:pt x="18324" y="2437"/>
                  <a:pt x="18367" y="2432"/>
                </a:cubicBezTo>
                <a:cubicBezTo>
                  <a:pt x="18461" y="2484"/>
                  <a:pt x="18461" y="2484"/>
                  <a:pt x="18461" y="2484"/>
                </a:cubicBezTo>
                <a:cubicBezTo>
                  <a:pt x="18485" y="2503"/>
                  <a:pt x="18509" y="2521"/>
                  <a:pt x="18534" y="2540"/>
                </a:cubicBezTo>
                <a:cubicBezTo>
                  <a:pt x="18603" y="2574"/>
                  <a:pt x="18652" y="2611"/>
                  <a:pt x="18722" y="2645"/>
                </a:cubicBezTo>
                <a:cubicBezTo>
                  <a:pt x="18831" y="2729"/>
                  <a:pt x="18949" y="2800"/>
                  <a:pt x="19037" y="2886"/>
                </a:cubicBezTo>
                <a:cubicBezTo>
                  <a:pt x="19016" y="2813"/>
                  <a:pt x="19165" y="2946"/>
                  <a:pt x="19252" y="3032"/>
                </a:cubicBezTo>
                <a:cubicBezTo>
                  <a:pt x="19267" y="3063"/>
                  <a:pt x="19165" y="2946"/>
                  <a:pt x="19110" y="2942"/>
                </a:cubicBezTo>
                <a:cubicBezTo>
                  <a:pt x="19188" y="3041"/>
                  <a:pt x="19322" y="3066"/>
                  <a:pt x="19419" y="3140"/>
                </a:cubicBezTo>
                <a:cubicBezTo>
                  <a:pt x="19471" y="3199"/>
                  <a:pt x="19352" y="3127"/>
                  <a:pt x="19449" y="3202"/>
                </a:cubicBezTo>
                <a:cubicBezTo>
                  <a:pt x="19501" y="3184"/>
                  <a:pt x="19735" y="3381"/>
                  <a:pt x="19837" y="3498"/>
                </a:cubicBezTo>
                <a:cubicBezTo>
                  <a:pt x="19965" y="3557"/>
                  <a:pt x="20068" y="3674"/>
                  <a:pt x="20204" y="3798"/>
                </a:cubicBezTo>
                <a:cubicBezTo>
                  <a:pt x="20256" y="3780"/>
                  <a:pt x="20101" y="3681"/>
                  <a:pt x="20062" y="3632"/>
                </a:cubicBezTo>
                <a:cubicBezTo>
                  <a:pt x="20122" y="3678"/>
                  <a:pt x="20241" y="3749"/>
                  <a:pt x="20353" y="3854"/>
                </a:cubicBezTo>
                <a:cubicBezTo>
                  <a:pt x="20465" y="3959"/>
                  <a:pt x="20567" y="4076"/>
                  <a:pt x="20658" y="4184"/>
                </a:cubicBezTo>
                <a:cubicBezTo>
                  <a:pt x="20740" y="4227"/>
                  <a:pt x="20882" y="4393"/>
                  <a:pt x="20999" y="4541"/>
                </a:cubicBezTo>
                <a:cubicBezTo>
                  <a:pt x="21063" y="4609"/>
                  <a:pt x="21136" y="4664"/>
                  <a:pt x="21187" y="4723"/>
                </a:cubicBezTo>
                <a:cubicBezTo>
                  <a:pt x="21248" y="4769"/>
                  <a:pt x="21284" y="4797"/>
                  <a:pt x="21305" y="4794"/>
                </a:cubicBezTo>
                <a:cubicBezTo>
                  <a:pt x="21411" y="4932"/>
                  <a:pt x="21490" y="4955"/>
                  <a:pt x="21559" y="5065"/>
                </a:cubicBezTo>
                <a:cubicBezTo>
                  <a:pt x="21541" y="5089"/>
                  <a:pt x="21486" y="5010"/>
                  <a:pt x="21468" y="5034"/>
                </a:cubicBezTo>
                <a:cubicBezTo>
                  <a:pt x="21504" y="5062"/>
                  <a:pt x="21531" y="5102"/>
                  <a:pt x="21568" y="5129"/>
                </a:cubicBezTo>
                <a:cubicBezTo>
                  <a:pt x="21595" y="5169"/>
                  <a:pt x="21631" y="5197"/>
                  <a:pt x="21667" y="5225"/>
                </a:cubicBezTo>
                <a:cubicBezTo>
                  <a:pt x="21719" y="5283"/>
                  <a:pt x="21782" y="5351"/>
                  <a:pt x="21831" y="5388"/>
                </a:cubicBezTo>
                <a:cubicBezTo>
                  <a:pt x="21943" y="5493"/>
                  <a:pt x="22027" y="5558"/>
                  <a:pt x="22080" y="5540"/>
                </a:cubicBezTo>
                <a:cubicBezTo>
                  <a:pt x="22038" y="5469"/>
                  <a:pt x="21975" y="5325"/>
                  <a:pt x="22021" y="5341"/>
                </a:cubicBezTo>
                <a:cubicBezTo>
                  <a:pt x="21976" y="5249"/>
                  <a:pt x="21907" y="5138"/>
                  <a:pt x="21852" y="5058"/>
                </a:cubicBezTo>
                <a:cubicBezTo>
                  <a:pt x="21795" y="4957"/>
                  <a:pt x="21763" y="4874"/>
                  <a:pt x="21778" y="4828"/>
                </a:cubicBezTo>
                <a:cubicBezTo>
                  <a:pt x="21684" y="4776"/>
                  <a:pt x="21600" y="4634"/>
                  <a:pt x="21557" y="4640"/>
                </a:cubicBezTo>
                <a:cubicBezTo>
                  <a:pt x="21560" y="4662"/>
                  <a:pt x="21597" y="4689"/>
                  <a:pt x="21621" y="4708"/>
                </a:cubicBezTo>
                <a:cubicBezTo>
                  <a:pt x="21627" y="4751"/>
                  <a:pt x="21599" y="4711"/>
                  <a:pt x="21551" y="4674"/>
                </a:cubicBezTo>
                <a:cubicBezTo>
                  <a:pt x="21530" y="4600"/>
                  <a:pt x="21503" y="4560"/>
                  <a:pt x="21464" y="4511"/>
                </a:cubicBezTo>
                <a:cubicBezTo>
                  <a:pt x="21434" y="4450"/>
                  <a:pt x="21468" y="4456"/>
                  <a:pt x="21507" y="4505"/>
                </a:cubicBezTo>
                <a:cubicBezTo>
                  <a:pt x="21492" y="4475"/>
                  <a:pt x="21489" y="4453"/>
                  <a:pt x="21465" y="4435"/>
                </a:cubicBezTo>
                <a:cubicBezTo>
                  <a:pt x="21453" y="4425"/>
                  <a:pt x="21441" y="4416"/>
                  <a:pt x="21419" y="4419"/>
                </a:cubicBezTo>
                <a:cubicBezTo>
                  <a:pt x="21399" y="4345"/>
                  <a:pt x="21323" y="4268"/>
                  <a:pt x="21232" y="4161"/>
                </a:cubicBezTo>
                <a:cubicBezTo>
                  <a:pt x="21145" y="4074"/>
                  <a:pt x="21045" y="3979"/>
                  <a:pt x="20960" y="3914"/>
                </a:cubicBezTo>
                <a:cubicBezTo>
                  <a:pt x="20891" y="3803"/>
                  <a:pt x="20791" y="3708"/>
                  <a:pt x="20682" y="3624"/>
                </a:cubicBezTo>
                <a:cubicBezTo>
                  <a:pt x="20658" y="3606"/>
                  <a:pt x="20634" y="3587"/>
                  <a:pt x="20609" y="3569"/>
                </a:cubicBezTo>
                <a:cubicBezTo>
                  <a:pt x="20573" y="3541"/>
                  <a:pt x="20549" y="3522"/>
                  <a:pt x="20524" y="3504"/>
                </a:cubicBezTo>
                <a:cubicBezTo>
                  <a:pt x="20464" y="3457"/>
                  <a:pt x="20406" y="3433"/>
                  <a:pt x="20345" y="3386"/>
                </a:cubicBezTo>
                <a:cubicBezTo>
                  <a:pt x="20333" y="3377"/>
                  <a:pt x="20331" y="3355"/>
                  <a:pt x="20331" y="3355"/>
                </a:cubicBezTo>
                <a:cubicBezTo>
                  <a:pt x="20453" y="3372"/>
                  <a:pt x="20640" y="3554"/>
                  <a:pt x="20758" y="3625"/>
                </a:cubicBezTo>
                <a:cubicBezTo>
                  <a:pt x="20753" y="3582"/>
                  <a:pt x="20704" y="3545"/>
                  <a:pt x="20699" y="3502"/>
                </a:cubicBezTo>
                <a:cubicBezTo>
                  <a:pt x="20520" y="3385"/>
                  <a:pt x="20398" y="3292"/>
                  <a:pt x="20274" y="3178"/>
                </a:cubicBezTo>
                <a:cubicBezTo>
                  <a:pt x="20250" y="3159"/>
                  <a:pt x="20214" y="3131"/>
                  <a:pt x="20189" y="3113"/>
                </a:cubicBezTo>
                <a:cubicBezTo>
                  <a:pt x="20153" y="3085"/>
                  <a:pt x="20117" y="3057"/>
                  <a:pt x="20080" y="3029"/>
                </a:cubicBezTo>
                <a:cubicBezTo>
                  <a:pt x="20020" y="2983"/>
                  <a:pt x="19947" y="2927"/>
                  <a:pt x="19874" y="2872"/>
                </a:cubicBezTo>
                <a:cubicBezTo>
                  <a:pt x="19862" y="2863"/>
                  <a:pt x="19884" y="2860"/>
                  <a:pt x="19859" y="2841"/>
                </a:cubicBezTo>
                <a:cubicBezTo>
                  <a:pt x="19981" y="2934"/>
                  <a:pt x="20160" y="3051"/>
                  <a:pt x="20239" y="3073"/>
                </a:cubicBezTo>
                <a:cubicBezTo>
                  <a:pt x="20209" y="3012"/>
                  <a:pt x="20142" y="2999"/>
                  <a:pt x="20112" y="2938"/>
                </a:cubicBezTo>
                <a:cubicBezTo>
                  <a:pt x="20118" y="2981"/>
                  <a:pt x="20057" y="2934"/>
                  <a:pt x="20006" y="2876"/>
                </a:cubicBezTo>
                <a:cubicBezTo>
                  <a:pt x="20008" y="2897"/>
                  <a:pt x="19999" y="2910"/>
                  <a:pt x="19966" y="2903"/>
                </a:cubicBezTo>
                <a:cubicBezTo>
                  <a:pt x="19926" y="2854"/>
                  <a:pt x="19842" y="2789"/>
                  <a:pt x="19759" y="2746"/>
                </a:cubicBezTo>
                <a:cubicBezTo>
                  <a:pt x="19699" y="2699"/>
                  <a:pt x="19629" y="2665"/>
                  <a:pt x="19635" y="2708"/>
                </a:cubicBezTo>
                <a:cubicBezTo>
                  <a:pt x="19577" y="2683"/>
                  <a:pt x="19650" y="2662"/>
                  <a:pt x="19559" y="2631"/>
                </a:cubicBezTo>
                <a:cubicBezTo>
                  <a:pt x="19556" y="2609"/>
                  <a:pt x="19641" y="2674"/>
                  <a:pt x="19623" y="2622"/>
                </a:cubicBezTo>
                <a:cubicBezTo>
                  <a:pt x="19551" y="2567"/>
                  <a:pt x="19462" y="2557"/>
                  <a:pt x="19477" y="2587"/>
                </a:cubicBezTo>
                <a:cubicBezTo>
                  <a:pt x="19419" y="2562"/>
                  <a:pt x="19447" y="2526"/>
                  <a:pt x="19420" y="2486"/>
                </a:cubicBezTo>
                <a:cubicBezTo>
                  <a:pt x="19302" y="2415"/>
                  <a:pt x="19353" y="2473"/>
                  <a:pt x="19274" y="2451"/>
                </a:cubicBezTo>
                <a:cubicBezTo>
                  <a:pt x="19225" y="2414"/>
                  <a:pt x="19232" y="2381"/>
                  <a:pt x="19268" y="2408"/>
                </a:cubicBezTo>
                <a:cubicBezTo>
                  <a:pt x="19193" y="2331"/>
                  <a:pt x="19189" y="2386"/>
                  <a:pt x="19155" y="2380"/>
                </a:cubicBezTo>
                <a:cubicBezTo>
                  <a:pt x="19140" y="2349"/>
                  <a:pt x="19068" y="2294"/>
                  <a:pt x="19086" y="2269"/>
                </a:cubicBezTo>
                <a:cubicBezTo>
                  <a:pt x="19132" y="2285"/>
                  <a:pt x="19180" y="2322"/>
                  <a:pt x="19226" y="2338"/>
                </a:cubicBezTo>
                <a:cubicBezTo>
                  <a:pt x="19138" y="2251"/>
                  <a:pt x="19050" y="2242"/>
                  <a:pt x="19043" y="2275"/>
                </a:cubicBezTo>
                <a:cubicBezTo>
                  <a:pt x="18983" y="2229"/>
                  <a:pt x="18910" y="2173"/>
                  <a:pt x="18852" y="2148"/>
                </a:cubicBezTo>
                <a:cubicBezTo>
                  <a:pt x="18782" y="2114"/>
                  <a:pt x="18725" y="2089"/>
                  <a:pt x="18658" y="2076"/>
                </a:cubicBezTo>
                <a:cubicBezTo>
                  <a:pt x="18582" y="1999"/>
                  <a:pt x="18698" y="2049"/>
                  <a:pt x="18661" y="2021"/>
                </a:cubicBezTo>
                <a:cubicBezTo>
                  <a:pt x="18752" y="2053"/>
                  <a:pt x="18825" y="2108"/>
                  <a:pt x="18907" y="2152"/>
                </a:cubicBezTo>
                <a:cubicBezTo>
                  <a:pt x="18844" y="2084"/>
                  <a:pt x="18862" y="2060"/>
                  <a:pt x="18966" y="2100"/>
                </a:cubicBezTo>
                <a:cubicBezTo>
                  <a:pt x="18927" y="2051"/>
                  <a:pt x="18869" y="2026"/>
                  <a:pt x="18850" y="2050"/>
                </a:cubicBezTo>
                <a:cubicBezTo>
                  <a:pt x="18847" y="2029"/>
                  <a:pt x="18835" y="2020"/>
                  <a:pt x="18811" y="2001"/>
                </a:cubicBezTo>
                <a:cubicBezTo>
                  <a:pt x="18787" y="1983"/>
                  <a:pt x="18763" y="1964"/>
                  <a:pt x="18760" y="1943"/>
                </a:cubicBezTo>
                <a:cubicBezTo>
                  <a:pt x="18635" y="1905"/>
                  <a:pt x="18538" y="1831"/>
                  <a:pt x="18383" y="1732"/>
                </a:cubicBezTo>
                <a:cubicBezTo>
                  <a:pt x="18368" y="1701"/>
                  <a:pt x="18520" y="1779"/>
                  <a:pt x="18526" y="1822"/>
                </a:cubicBezTo>
                <a:cubicBezTo>
                  <a:pt x="18550" y="1840"/>
                  <a:pt x="18547" y="1819"/>
                  <a:pt x="18535" y="1809"/>
                </a:cubicBezTo>
                <a:cubicBezTo>
                  <a:pt x="18547" y="1819"/>
                  <a:pt x="18569" y="1816"/>
                  <a:pt x="18581" y="1825"/>
                </a:cubicBezTo>
                <a:cubicBezTo>
                  <a:pt x="18517" y="1757"/>
                  <a:pt x="18426" y="1726"/>
                  <a:pt x="18344" y="1683"/>
                </a:cubicBezTo>
                <a:cubicBezTo>
                  <a:pt x="18317" y="1643"/>
                  <a:pt x="18372" y="1646"/>
                  <a:pt x="18345" y="1606"/>
                </a:cubicBezTo>
                <a:cubicBezTo>
                  <a:pt x="18290" y="1603"/>
                  <a:pt x="18299" y="1590"/>
                  <a:pt x="18208" y="1559"/>
                </a:cubicBezTo>
                <a:cubicBezTo>
                  <a:pt x="18135" y="1504"/>
                  <a:pt x="18169" y="1510"/>
                  <a:pt x="18141" y="1470"/>
                </a:cubicBezTo>
                <a:cubicBezTo>
                  <a:pt x="18084" y="1445"/>
                  <a:pt x="18086" y="1466"/>
                  <a:pt x="18053" y="1460"/>
                </a:cubicBezTo>
                <a:cubicBezTo>
                  <a:pt x="18004" y="1423"/>
                  <a:pt x="18072" y="1436"/>
                  <a:pt x="17999" y="1380"/>
                </a:cubicBezTo>
                <a:cubicBezTo>
                  <a:pt x="17929" y="1346"/>
                  <a:pt x="17871" y="1321"/>
                  <a:pt x="17801" y="1287"/>
                </a:cubicBezTo>
                <a:cubicBezTo>
                  <a:pt x="17743" y="1262"/>
                  <a:pt x="17683" y="1216"/>
                  <a:pt x="17625" y="1191"/>
                </a:cubicBezTo>
                <a:cubicBezTo>
                  <a:pt x="17586" y="1141"/>
                  <a:pt x="17671" y="1206"/>
                  <a:pt x="17747" y="1207"/>
                </a:cubicBezTo>
                <a:cubicBezTo>
                  <a:pt x="17699" y="1170"/>
                  <a:pt x="17610" y="1160"/>
                  <a:pt x="17571" y="1111"/>
                </a:cubicBezTo>
                <a:cubicBezTo>
                  <a:pt x="17562" y="1123"/>
                  <a:pt x="17504" y="1098"/>
                  <a:pt x="17528" y="1116"/>
                </a:cubicBezTo>
                <a:cubicBezTo>
                  <a:pt x="17458" y="1082"/>
                  <a:pt x="17376" y="1039"/>
                  <a:pt x="17306" y="1005"/>
                </a:cubicBezTo>
                <a:cubicBezTo>
                  <a:pt x="17215" y="973"/>
                  <a:pt x="17145" y="939"/>
                  <a:pt x="17054" y="908"/>
                </a:cubicBezTo>
                <a:cubicBezTo>
                  <a:pt x="16892" y="842"/>
                  <a:pt x="16731" y="777"/>
                  <a:pt x="16582" y="721"/>
                </a:cubicBezTo>
                <a:cubicBezTo>
                  <a:pt x="16548" y="714"/>
                  <a:pt x="16585" y="742"/>
                  <a:pt x="16609" y="761"/>
                </a:cubicBezTo>
                <a:cubicBezTo>
                  <a:pt x="16542" y="748"/>
                  <a:pt x="16487" y="744"/>
                  <a:pt x="16441" y="729"/>
                </a:cubicBezTo>
                <a:cubicBezTo>
                  <a:pt x="16421" y="655"/>
                  <a:pt x="16308" y="627"/>
                  <a:pt x="16183" y="589"/>
                </a:cubicBezTo>
                <a:cubicBezTo>
                  <a:pt x="16049" y="563"/>
                  <a:pt x="15906" y="550"/>
                  <a:pt x="15824" y="507"/>
                </a:cubicBezTo>
                <a:cubicBezTo>
                  <a:pt x="15864" y="479"/>
                  <a:pt x="15952" y="489"/>
                  <a:pt x="16041" y="499"/>
                </a:cubicBezTo>
                <a:cubicBezTo>
                  <a:pt x="16086" y="515"/>
                  <a:pt x="16132" y="530"/>
                  <a:pt x="16187" y="534"/>
                </a:cubicBezTo>
                <a:cubicBezTo>
                  <a:pt x="16245" y="559"/>
                  <a:pt x="16290" y="575"/>
                  <a:pt x="16345" y="578"/>
                </a:cubicBezTo>
                <a:cubicBezTo>
                  <a:pt x="16287" y="553"/>
                  <a:pt x="16242" y="537"/>
                  <a:pt x="16196" y="522"/>
                </a:cubicBezTo>
                <a:cubicBezTo>
                  <a:pt x="16150" y="506"/>
                  <a:pt x="16117" y="500"/>
                  <a:pt x="16102" y="469"/>
                </a:cubicBezTo>
                <a:cubicBezTo>
                  <a:pt x="16047" y="466"/>
                  <a:pt x="16004" y="471"/>
                  <a:pt x="15959" y="456"/>
                </a:cubicBezTo>
                <a:cubicBezTo>
                  <a:pt x="15901" y="431"/>
                  <a:pt x="15922" y="428"/>
                  <a:pt x="15898" y="409"/>
                </a:cubicBezTo>
                <a:cubicBezTo>
                  <a:pt x="15965" y="422"/>
                  <a:pt x="16041" y="423"/>
                  <a:pt x="16090" y="460"/>
                </a:cubicBezTo>
                <a:cubicBezTo>
                  <a:pt x="16063" y="420"/>
                  <a:pt x="16145" y="463"/>
                  <a:pt x="16176" y="448"/>
                </a:cubicBezTo>
                <a:cubicBezTo>
                  <a:pt x="16088" y="362"/>
                  <a:pt x="15944" y="425"/>
                  <a:pt x="15856" y="339"/>
                </a:cubicBezTo>
                <a:cubicBezTo>
                  <a:pt x="15801" y="335"/>
                  <a:pt x="15737" y="344"/>
                  <a:pt x="15682" y="340"/>
                </a:cubicBezTo>
                <a:cubicBezTo>
                  <a:pt x="15627" y="337"/>
                  <a:pt x="15563" y="346"/>
                  <a:pt x="15520" y="351"/>
                </a:cubicBezTo>
                <a:cubicBezTo>
                  <a:pt x="15438" y="308"/>
                  <a:pt x="15480" y="302"/>
                  <a:pt x="15535" y="306"/>
                </a:cubicBezTo>
                <a:cubicBezTo>
                  <a:pt x="15484" y="247"/>
                  <a:pt x="15386" y="249"/>
                  <a:pt x="15316" y="215"/>
                </a:cubicBezTo>
                <a:cubicBezTo>
                  <a:pt x="15331" y="246"/>
                  <a:pt x="15301" y="261"/>
                  <a:pt x="15200" y="242"/>
                </a:cubicBezTo>
                <a:cubicBezTo>
                  <a:pt x="15246" y="257"/>
                  <a:pt x="15301" y="261"/>
                  <a:pt x="15337" y="289"/>
                </a:cubicBezTo>
                <a:cubicBezTo>
                  <a:pt x="15261" y="288"/>
                  <a:pt x="15181" y="266"/>
                  <a:pt x="15112" y="232"/>
                </a:cubicBezTo>
                <a:cubicBezTo>
                  <a:pt x="15035" y="231"/>
                  <a:pt x="14959" y="231"/>
                  <a:pt x="14882" y="230"/>
                </a:cubicBezTo>
                <a:cubicBezTo>
                  <a:pt x="14855" y="190"/>
                  <a:pt x="14935" y="212"/>
                  <a:pt x="14788" y="177"/>
                </a:cubicBezTo>
                <a:cubicBezTo>
                  <a:pt x="14685" y="137"/>
                  <a:pt x="14850" y="147"/>
                  <a:pt x="14758" y="116"/>
                </a:cubicBezTo>
                <a:cubicBezTo>
                  <a:pt x="14700" y="167"/>
                  <a:pt x="14584" y="118"/>
                  <a:pt x="14434" y="138"/>
                </a:cubicBezTo>
                <a:cubicBezTo>
                  <a:pt x="14288" y="103"/>
                  <a:pt x="14154" y="77"/>
                  <a:pt x="14017" y="30"/>
                </a:cubicBezTo>
                <a:cubicBezTo>
                  <a:pt x="13903" y="78"/>
                  <a:pt x="13760" y="65"/>
                  <a:pt x="13598" y="76"/>
                </a:cubicBezTo>
                <a:cubicBezTo>
                  <a:pt x="13507" y="45"/>
                  <a:pt x="13693" y="52"/>
                  <a:pt x="13669" y="34"/>
                </a:cubicBezTo>
                <a:cubicBezTo>
                  <a:pt x="13559" y="27"/>
                  <a:pt x="13440" y="32"/>
                  <a:pt x="13354" y="43"/>
                </a:cubicBezTo>
                <a:cubicBezTo>
                  <a:pt x="13247" y="58"/>
                  <a:pt x="13164" y="91"/>
                  <a:pt x="13112" y="109"/>
                </a:cubicBezTo>
                <a:cubicBezTo>
                  <a:pt x="13322" y="135"/>
                  <a:pt x="13412" y="68"/>
                  <a:pt x="13552" y="60"/>
                </a:cubicBezTo>
                <a:cubicBezTo>
                  <a:pt x="13589" y="88"/>
                  <a:pt x="13589" y="88"/>
                  <a:pt x="13558" y="103"/>
                </a:cubicBezTo>
                <a:cubicBezTo>
                  <a:pt x="13625" y="116"/>
                  <a:pt x="13720" y="92"/>
                  <a:pt x="13674" y="77"/>
                </a:cubicBezTo>
                <a:cubicBezTo>
                  <a:pt x="13720" y="92"/>
                  <a:pt x="13766" y="108"/>
                  <a:pt x="13842" y="108"/>
                </a:cubicBezTo>
                <a:cubicBezTo>
                  <a:pt x="13918" y="109"/>
                  <a:pt x="13985" y="122"/>
                  <a:pt x="14062" y="122"/>
                </a:cubicBezTo>
                <a:cubicBezTo>
                  <a:pt x="14215" y="124"/>
                  <a:pt x="14379" y="134"/>
                  <a:pt x="14507" y="193"/>
                </a:cubicBezTo>
                <a:cubicBezTo>
                  <a:pt x="14421" y="205"/>
                  <a:pt x="14281" y="213"/>
                  <a:pt x="14147" y="187"/>
                </a:cubicBezTo>
                <a:cubicBezTo>
                  <a:pt x="14003" y="174"/>
                  <a:pt x="13869" y="148"/>
                  <a:pt x="13747" y="132"/>
                </a:cubicBezTo>
                <a:cubicBezTo>
                  <a:pt x="13664" y="165"/>
                  <a:pt x="13545" y="170"/>
                  <a:pt x="13402" y="157"/>
                </a:cubicBezTo>
                <a:cubicBezTo>
                  <a:pt x="13368" y="150"/>
                  <a:pt x="13347" y="153"/>
                  <a:pt x="13304" y="159"/>
                </a:cubicBezTo>
                <a:cubicBezTo>
                  <a:pt x="13270" y="153"/>
                  <a:pt x="13237" y="146"/>
                  <a:pt x="13194" y="152"/>
                </a:cubicBezTo>
                <a:cubicBezTo>
                  <a:pt x="13127" y="139"/>
                  <a:pt x="13038" y="129"/>
                  <a:pt x="12962" y="129"/>
                </a:cubicBezTo>
                <a:cubicBezTo>
                  <a:pt x="13057" y="105"/>
                  <a:pt x="13118" y="75"/>
                  <a:pt x="13134" y="29"/>
                </a:cubicBezTo>
                <a:cubicBezTo>
                  <a:pt x="13061" y="50"/>
                  <a:pt x="13015" y="35"/>
                  <a:pt x="12941" y="55"/>
                </a:cubicBezTo>
                <a:cubicBezTo>
                  <a:pt x="12847" y="3"/>
                  <a:pt x="12771" y="2"/>
                  <a:pt x="12697" y="23"/>
                </a:cubicBezTo>
                <a:cubicBezTo>
                  <a:pt x="12621" y="22"/>
                  <a:pt x="12557" y="31"/>
                  <a:pt x="12465" y="0"/>
                </a:cubicBezTo>
                <a:cubicBezTo>
                  <a:pt x="12239" y="19"/>
                  <a:pt x="12315" y="20"/>
                  <a:pt x="12111" y="36"/>
                </a:cubicBezTo>
                <a:cubicBezTo>
                  <a:pt x="12165" y="40"/>
                  <a:pt x="12101" y="49"/>
                  <a:pt x="12125" y="67"/>
                </a:cubicBezTo>
                <a:cubicBezTo>
                  <a:pt x="12061" y="76"/>
                  <a:pt x="11994" y="63"/>
                  <a:pt x="11942" y="81"/>
                </a:cubicBezTo>
                <a:cubicBezTo>
                  <a:pt x="11841" y="62"/>
                  <a:pt x="11970" y="44"/>
                  <a:pt x="12037" y="57"/>
                </a:cubicBezTo>
                <a:cubicBezTo>
                  <a:pt x="12010" y="17"/>
                  <a:pt x="11753" y="52"/>
                  <a:pt x="11746" y="85"/>
                </a:cubicBezTo>
                <a:cubicBezTo>
                  <a:pt x="11704" y="91"/>
                  <a:pt x="11661" y="97"/>
                  <a:pt x="11606" y="93"/>
                </a:cubicBezTo>
                <a:cubicBezTo>
                  <a:pt x="11563" y="99"/>
                  <a:pt x="11529" y="93"/>
                  <a:pt x="11484" y="77"/>
                </a:cubicBezTo>
                <a:cubicBezTo>
                  <a:pt x="11343" y="85"/>
                  <a:pt x="11211" y="158"/>
                  <a:pt x="11089" y="141"/>
                </a:cubicBezTo>
                <a:cubicBezTo>
                  <a:pt x="10998" y="110"/>
                  <a:pt x="11145" y="68"/>
                  <a:pt x="11216" y="26"/>
                </a:cubicBezTo>
                <a:cubicBezTo>
                  <a:pt x="11044" y="49"/>
                  <a:pt x="10974" y="91"/>
                  <a:pt x="10747" y="111"/>
                </a:cubicBezTo>
                <a:cubicBezTo>
                  <a:pt x="10659" y="101"/>
                  <a:pt x="10711" y="83"/>
                  <a:pt x="10604" y="98"/>
                </a:cubicBezTo>
                <a:cubicBezTo>
                  <a:pt x="10533" y="140"/>
                  <a:pt x="10757" y="99"/>
                  <a:pt x="10674" y="132"/>
                </a:cubicBezTo>
                <a:cubicBezTo>
                  <a:pt x="10738" y="123"/>
                  <a:pt x="10814" y="124"/>
                  <a:pt x="10888" y="103"/>
                </a:cubicBezTo>
                <a:cubicBezTo>
                  <a:pt x="10900" y="112"/>
                  <a:pt x="10900" y="112"/>
                  <a:pt x="10912" y="121"/>
                </a:cubicBezTo>
                <a:cubicBezTo>
                  <a:pt x="10934" y="119"/>
                  <a:pt x="10955" y="116"/>
                  <a:pt x="11019" y="107"/>
                </a:cubicBezTo>
                <a:cubicBezTo>
                  <a:pt x="11043" y="126"/>
                  <a:pt x="11001" y="131"/>
                  <a:pt x="10970" y="146"/>
                </a:cubicBezTo>
                <a:cubicBezTo>
                  <a:pt x="10906" y="155"/>
                  <a:pt x="10857" y="118"/>
                  <a:pt x="10793" y="127"/>
                </a:cubicBezTo>
                <a:cubicBezTo>
                  <a:pt x="10796" y="148"/>
                  <a:pt x="10744" y="166"/>
                  <a:pt x="10765" y="163"/>
                </a:cubicBezTo>
                <a:cubicBezTo>
                  <a:pt x="10691" y="184"/>
                  <a:pt x="10615" y="183"/>
                  <a:pt x="10539" y="183"/>
                </a:cubicBezTo>
                <a:cubicBezTo>
                  <a:pt x="10505" y="176"/>
                  <a:pt x="10527" y="173"/>
                  <a:pt x="10579" y="155"/>
                </a:cubicBezTo>
                <a:cubicBezTo>
                  <a:pt x="10622" y="150"/>
                  <a:pt x="10603" y="174"/>
                  <a:pt x="10646" y="168"/>
                </a:cubicBezTo>
                <a:cubicBezTo>
                  <a:pt x="10655" y="156"/>
                  <a:pt x="10695" y="129"/>
                  <a:pt x="10628" y="116"/>
                </a:cubicBezTo>
                <a:cubicBezTo>
                  <a:pt x="10545" y="149"/>
                  <a:pt x="10484" y="179"/>
                  <a:pt x="10398" y="191"/>
                </a:cubicBezTo>
                <a:cubicBezTo>
                  <a:pt x="10315" y="224"/>
                  <a:pt x="10242" y="244"/>
                  <a:pt x="10168" y="265"/>
                </a:cubicBezTo>
                <a:cubicBezTo>
                  <a:pt x="10095" y="286"/>
                  <a:pt x="10021" y="307"/>
                  <a:pt x="9948" y="328"/>
                </a:cubicBezTo>
                <a:cubicBezTo>
                  <a:pt x="9874" y="348"/>
                  <a:pt x="9801" y="369"/>
                  <a:pt x="9718" y="402"/>
                </a:cubicBezTo>
                <a:cubicBezTo>
                  <a:pt x="9684" y="396"/>
                  <a:pt x="9651" y="389"/>
                  <a:pt x="9672" y="387"/>
                </a:cubicBezTo>
                <a:cubicBezTo>
                  <a:pt x="9653" y="411"/>
                  <a:pt x="9424" y="485"/>
                  <a:pt x="9276" y="527"/>
                </a:cubicBezTo>
                <a:cubicBezTo>
                  <a:pt x="9240" y="499"/>
                  <a:pt x="9491" y="422"/>
                  <a:pt x="9479" y="413"/>
                </a:cubicBezTo>
                <a:cubicBezTo>
                  <a:pt x="9537" y="437"/>
                  <a:pt x="9599" y="407"/>
                  <a:pt x="9501" y="410"/>
                </a:cubicBezTo>
                <a:cubicBezTo>
                  <a:pt x="9436" y="418"/>
                  <a:pt x="9375" y="448"/>
                  <a:pt x="9311" y="457"/>
                </a:cubicBezTo>
                <a:cubicBezTo>
                  <a:pt x="9280" y="472"/>
                  <a:pt x="9259" y="475"/>
                  <a:pt x="9228" y="490"/>
                </a:cubicBezTo>
                <a:cubicBezTo>
                  <a:pt x="9197" y="505"/>
                  <a:pt x="9176" y="508"/>
                  <a:pt x="9145" y="523"/>
                </a:cubicBezTo>
                <a:cubicBezTo>
                  <a:pt x="9029" y="550"/>
                  <a:pt x="8925" y="585"/>
                  <a:pt x="8830" y="609"/>
                </a:cubicBezTo>
                <a:cubicBezTo>
                  <a:pt x="8750" y="587"/>
                  <a:pt x="9057" y="513"/>
                  <a:pt x="9042" y="482"/>
                </a:cubicBezTo>
                <a:cubicBezTo>
                  <a:pt x="8956" y="494"/>
                  <a:pt x="8935" y="497"/>
                  <a:pt x="8885" y="536"/>
                </a:cubicBezTo>
                <a:cubicBezTo>
                  <a:pt x="8821" y="545"/>
                  <a:pt x="8726" y="568"/>
                  <a:pt x="8643" y="601"/>
                </a:cubicBezTo>
                <a:cubicBezTo>
                  <a:pt x="8539" y="637"/>
                  <a:pt x="8447" y="682"/>
                  <a:pt x="8343" y="718"/>
                </a:cubicBezTo>
                <a:cubicBezTo>
                  <a:pt x="8251" y="763"/>
                  <a:pt x="8146" y="799"/>
                  <a:pt x="8054" y="844"/>
                </a:cubicBezTo>
                <a:cubicBezTo>
                  <a:pt x="7962" y="889"/>
                  <a:pt x="7891" y="932"/>
                  <a:pt x="7809" y="965"/>
                </a:cubicBezTo>
                <a:cubicBezTo>
                  <a:pt x="7744" y="973"/>
                  <a:pt x="7981" y="865"/>
                  <a:pt x="7843" y="895"/>
                </a:cubicBezTo>
                <a:cubicBezTo>
                  <a:pt x="7818" y="952"/>
                  <a:pt x="7714" y="988"/>
                  <a:pt x="7621" y="1033"/>
                </a:cubicBezTo>
                <a:cubicBezTo>
                  <a:pt x="7686" y="1025"/>
                  <a:pt x="7759" y="1004"/>
                  <a:pt x="7821" y="974"/>
                </a:cubicBezTo>
                <a:cubicBezTo>
                  <a:pt x="7821" y="974"/>
                  <a:pt x="7811" y="986"/>
                  <a:pt x="7833" y="983"/>
                </a:cubicBezTo>
                <a:cubicBezTo>
                  <a:pt x="7784" y="1022"/>
                  <a:pt x="7710" y="1043"/>
                  <a:pt x="7646" y="1052"/>
                </a:cubicBezTo>
                <a:cubicBezTo>
                  <a:pt x="7615" y="1067"/>
                  <a:pt x="7584" y="1082"/>
                  <a:pt x="7554" y="1097"/>
                </a:cubicBezTo>
                <a:cubicBezTo>
                  <a:pt x="7523" y="1112"/>
                  <a:pt x="7492" y="1127"/>
                  <a:pt x="7461" y="1142"/>
                </a:cubicBezTo>
                <a:cubicBezTo>
                  <a:pt x="7421" y="1169"/>
                  <a:pt x="7440" y="1145"/>
                  <a:pt x="7397" y="1151"/>
                </a:cubicBezTo>
                <a:cubicBezTo>
                  <a:pt x="7308" y="1217"/>
                  <a:pt x="7201" y="1232"/>
                  <a:pt x="7112" y="1298"/>
                </a:cubicBezTo>
                <a:cubicBezTo>
                  <a:pt x="7069" y="1304"/>
                  <a:pt x="7057" y="1295"/>
                  <a:pt x="7075" y="1270"/>
                </a:cubicBezTo>
                <a:cubicBezTo>
                  <a:pt x="7023" y="1288"/>
                  <a:pt x="6986" y="1337"/>
                  <a:pt x="6931" y="1334"/>
                </a:cubicBezTo>
                <a:cubicBezTo>
                  <a:pt x="6891" y="1361"/>
                  <a:pt x="6912" y="1358"/>
                  <a:pt x="6934" y="1355"/>
                </a:cubicBezTo>
                <a:cubicBezTo>
                  <a:pt x="6750" y="1445"/>
                  <a:pt x="6596" y="1520"/>
                  <a:pt x="6433" y="1608"/>
                </a:cubicBezTo>
                <a:cubicBezTo>
                  <a:pt x="6283" y="1704"/>
                  <a:pt x="6129" y="1779"/>
                  <a:pt x="5948" y="1891"/>
                </a:cubicBezTo>
                <a:cubicBezTo>
                  <a:pt x="5926" y="1894"/>
                  <a:pt x="5935" y="1882"/>
                  <a:pt x="5985" y="1843"/>
                </a:cubicBezTo>
                <a:cubicBezTo>
                  <a:pt x="5954" y="1858"/>
                  <a:pt x="5923" y="1873"/>
                  <a:pt x="5893" y="1888"/>
                </a:cubicBezTo>
                <a:cubicBezTo>
                  <a:pt x="5862" y="1903"/>
                  <a:pt x="5843" y="1927"/>
                  <a:pt x="5813" y="1942"/>
                </a:cubicBezTo>
                <a:cubicBezTo>
                  <a:pt x="5714" y="2021"/>
                  <a:pt x="5868" y="1946"/>
                  <a:pt x="5790" y="2021"/>
                </a:cubicBezTo>
                <a:cubicBezTo>
                  <a:pt x="5695" y="2045"/>
                  <a:pt x="5606" y="2112"/>
                  <a:pt x="5520" y="2199"/>
                </a:cubicBezTo>
                <a:cubicBezTo>
                  <a:pt x="5468" y="2217"/>
                  <a:pt x="5505" y="2169"/>
                  <a:pt x="5422" y="2202"/>
                </a:cubicBezTo>
                <a:cubicBezTo>
                  <a:pt x="5394" y="2238"/>
                  <a:pt x="5458" y="2230"/>
                  <a:pt x="5418" y="2257"/>
                </a:cubicBezTo>
                <a:cubicBezTo>
                  <a:pt x="5314" y="2293"/>
                  <a:pt x="5350" y="2320"/>
                  <a:pt x="5212" y="2426"/>
                </a:cubicBezTo>
                <a:cubicBezTo>
                  <a:pt x="5160" y="2444"/>
                  <a:pt x="5188" y="2408"/>
                  <a:pt x="5114" y="2429"/>
                </a:cubicBezTo>
                <a:cubicBezTo>
                  <a:pt x="5108" y="2462"/>
                  <a:pt x="5108" y="2462"/>
                  <a:pt x="5150" y="2456"/>
                </a:cubicBezTo>
                <a:cubicBezTo>
                  <a:pt x="5092" y="2508"/>
                  <a:pt x="5000" y="2553"/>
                  <a:pt x="4920" y="2607"/>
                </a:cubicBezTo>
                <a:cubicBezTo>
                  <a:pt x="4828" y="2652"/>
                  <a:pt x="4766" y="2683"/>
                  <a:pt x="4751" y="2652"/>
                </a:cubicBezTo>
                <a:cubicBezTo>
                  <a:pt x="4597" y="2803"/>
                  <a:pt x="4905" y="2577"/>
                  <a:pt x="4824" y="2707"/>
                </a:cubicBezTo>
                <a:cubicBezTo>
                  <a:pt x="4753" y="2750"/>
                  <a:pt x="4772" y="2725"/>
                  <a:pt x="4680" y="2770"/>
                </a:cubicBezTo>
                <a:cubicBezTo>
                  <a:pt x="4615" y="2856"/>
                  <a:pt x="4501" y="2904"/>
                  <a:pt x="4488" y="2971"/>
                </a:cubicBezTo>
                <a:cubicBezTo>
                  <a:pt x="4448" y="2998"/>
                  <a:pt x="4411" y="3047"/>
                  <a:pt x="4371" y="3074"/>
                </a:cubicBezTo>
                <a:cubicBezTo>
                  <a:pt x="4340" y="3089"/>
                  <a:pt x="4300" y="3116"/>
                  <a:pt x="4288" y="3107"/>
                </a:cubicBezTo>
                <a:cubicBezTo>
                  <a:pt x="4260" y="3143"/>
                  <a:pt x="4232" y="3180"/>
                  <a:pt x="4214" y="3204"/>
                </a:cubicBezTo>
                <a:cubicBezTo>
                  <a:pt x="4287" y="3183"/>
                  <a:pt x="4220" y="3170"/>
                  <a:pt x="4303" y="3137"/>
                </a:cubicBezTo>
                <a:cubicBezTo>
                  <a:pt x="4287" y="3183"/>
                  <a:pt x="4220" y="3247"/>
                  <a:pt x="4130" y="3313"/>
                </a:cubicBezTo>
                <a:cubicBezTo>
                  <a:pt x="4093" y="3362"/>
                  <a:pt x="4044" y="3401"/>
                  <a:pt x="3995" y="3441"/>
                </a:cubicBezTo>
                <a:cubicBezTo>
                  <a:pt x="3957" y="3489"/>
                  <a:pt x="3908" y="3529"/>
                  <a:pt x="3880" y="3565"/>
                </a:cubicBezTo>
                <a:cubicBezTo>
                  <a:pt x="3896" y="3519"/>
                  <a:pt x="3862" y="3513"/>
                  <a:pt x="3940" y="3437"/>
                </a:cubicBezTo>
                <a:cubicBezTo>
                  <a:pt x="3798" y="3522"/>
                  <a:pt x="3831" y="3604"/>
                  <a:pt x="3726" y="3717"/>
                </a:cubicBezTo>
                <a:cubicBezTo>
                  <a:pt x="3674" y="3734"/>
                  <a:pt x="3624" y="3774"/>
                  <a:pt x="3597" y="3810"/>
                </a:cubicBezTo>
                <a:cubicBezTo>
                  <a:pt x="3559" y="3859"/>
                  <a:pt x="3534" y="3917"/>
                  <a:pt x="3506" y="3953"/>
                </a:cubicBezTo>
                <a:cubicBezTo>
                  <a:pt x="3384" y="4013"/>
                  <a:pt x="3321" y="4120"/>
                  <a:pt x="3226" y="4220"/>
                </a:cubicBezTo>
                <a:cubicBezTo>
                  <a:pt x="3183" y="4226"/>
                  <a:pt x="3300" y="4123"/>
                  <a:pt x="3316" y="4077"/>
                </a:cubicBezTo>
                <a:cubicBezTo>
                  <a:pt x="3276" y="4104"/>
                  <a:pt x="3338" y="3998"/>
                  <a:pt x="3298" y="4025"/>
                </a:cubicBezTo>
                <a:cubicBezTo>
                  <a:pt x="3273" y="4083"/>
                  <a:pt x="3226" y="4144"/>
                  <a:pt x="3180" y="4204"/>
                </a:cubicBezTo>
                <a:cubicBezTo>
                  <a:pt x="3134" y="4265"/>
                  <a:pt x="3099" y="4335"/>
                  <a:pt x="3074" y="4393"/>
                </a:cubicBezTo>
                <a:cubicBezTo>
                  <a:pt x="3043" y="4408"/>
                  <a:pt x="3028" y="4454"/>
                  <a:pt x="2948" y="4508"/>
                </a:cubicBezTo>
                <a:cubicBezTo>
                  <a:pt x="2896" y="4526"/>
                  <a:pt x="3127" y="4299"/>
                  <a:pt x="2976" y="4395"/>
                </a:cubicBezTo>
                <a:cubicBezTo>
                  <a:pt x="3001" y="4337"/>
                  <a:pt x="3075" y="4317"/>
                  <a:pt x="3097" y="4237"/>
                </a:cubicBezTo>
                <a:cubicBezTo>
                  <a:pt x="3036" y="4267"/>
                  <a:pt x="2951" y="4453"/>
                  <a:pt x="2924" y="4413"/>
                </a:cubicBezTo>
                <a:cubicBezTo>
                  <a:pt x="2890" y="4483"/>
                  <a:pt x="2831" y="4535"/>
                  <a:pt x="2769" y="4641"/>
                </a:cubicBezTo>
                <a:cubicBezTo>
                  <a:pt x="2742" y="4601"/>
                  <a:pt x="2686" y="4751"/>
                  <a:pt x="2596" y="4817"/>
                </a:cubicBezTo>
                <a:cubicBezTo>
                  <a:pt x="2537" y="4945"/>
                  <a:pt x="2441" y="5045"/>
                  <a:pt x="2370" y="5164"/>
                </a:cubicBezTo>
                <a:cubicBezTo>
                  <a:pt x="2382" y="5173"/>
                  <a:pt x="2403" y="5170"/>
                  <a:pt x="2431" y="5134"/>
                </a:cubicBezTo>
                <a:cubicBezTo>
                  <a:pt x="2462" y="5119"/>
                  <a:pt x="2490" y="5082"/>
                  <a:pt x="2496" y="5049"/>
                </a:cubicBezTo>
                <a:cubicBezTo>
                  <a:pt x="2520" y="5067"/>
                  <a:pt x="2483" y="5116"/>
                  <a:pt x="2446" y="5164"/>
                </a:cubicBezTo>
                <a:cubicBezTo>
                  <a:pt x="2409" y="5213"/>
                  <a:pt x="2372" y="5262"/>
                  <a:pt x="2344" y="5298"/>
                </a:cubicBezTo>
                <a:cubicBezTo>
                  <a:pt x="2310" y="5292"/>
                  <a:pt x="2335" y="5234"/>
                  <a:pt x="2354" y="5210"/>
                </a:cubicBezTo>
                <a:cubicBezTo>
                  <a:pt x="2320" y="5203"/>
                  <a:pt x="2274" y="5264"/>
                  <a:pt x="2250" y="5245"/>
                </a:cubicBezTo>
                <a:cubicBezTo>
                  <a:pt x="2298" y="5282"/>
                  <a:pt x="2190" y="5373"/>
                  <a:pt x="2152" y="5498"/>
                </a:cubicBezTo>
                <a:cubicBezTo>
                  <a:pt x="2214" y="5468"/>
                  <a:pt x="2205" y="5404"/>
                  <a:pt x="2267" y="5374"/>
                </a:cubicBezTo>
                <a:cubicBezTo>
                  <a:pt x="2220" y="5435"/>
                  <a:pt x="2198" y="5514"/>
                  <a:pt x="2127" y="5556"/>
                </a:cubicBezTo>
                <a:cubicBezTo>
                  <a:pt x="2096" y="5571"/>
                  <a:pt x="2146" y="5532"/>
                  <a:pt x="2152" y="5498"/>
                </a:cubicBezTo>
                <a:cubicBezTo>
                  <a:pt x="2122" y="5513"/>
                  <a:pt x="2084" y="5562"/>
                  <a:pt x="2091" y="5528"/>
                </a:cubicBezTo>
                <a:cubicBezTo>
                  <a:pt x="2032" y="5580"/>
                  <a:pt x="2109" y="5581"/>
                  <a:pt x="2038" y="5623"/>
                </a:cubicBezTo>
                <a:cubicBezTo>
                  <a:pt x="2059" y="5620"/>
                  <a:pt x="2111" y="5602"/>
                  <a:pt x="2077" y="5672"/>
                </a:cubicBezTo>
                <a:cubicBezTo>
                  <a:pt x="2024" y="5766"/>
                  <a:pt x="2065" y="5663"/>
                  <a:pt x="2006" y="5714"/>
                </a:cubicBezTo>
                <a:cubicBezTo>
                  <a:pt x="1993" y="5781"/>
                  <a:pt x="2003" y="5769"/>
                  <a:pt x="2024" y="5766"/>
                </a:cubicBezTo>
                <a:cubicBezTo>
                  <a:pt x="2008" y="5812"/>
                  <a:pt x="1978" y="5827"/>
                  <a:pt x="1962" y="5873"/>
                </a:cubicBezTo>
                <a:cubicBezTo>
                  <a:pt x="1885" y="5949"/>
                  <a:pt x="1960" y="5775"/>
                  <a:pt x="1892" y="5839"/>
                </a:cubicBezTo>
                <a:cubicBezTo>
                  <a:pt x="1895" y="5860"/>
                  <a:pt x="1891" y="5915"/>
                  <a:pt x="1913" y="5912"/>
                </a:cubicBezTo>
                <a:cubicBezTo>
                  <a:pt x="1890" y="5991"/>
                  <a:pt x="1817" y="6012"/>
                  <a:pt x="1798" y="6113"/>
                </a:cubicBezTo>
                <a:cubicBezTo>
                  <a:pt x="1739" y="6164"/>
                  <a:pt x="1745" y="6131"/>
                  <a:pt x="1708" y="6180"/>
                </a:cubicBezTo>
                <a:cubicBezTo>
                  <a:pt x="1677" y="6271"/>
                  <a:pt x="1612" y="6356"/>
                  <a:pt x="1556" y="6429"/>
                </a:cubicBezTo>
                <a:cubicBezTo>
                  <a:pt x="1577" y="6503"/>
                  <a:pt x="1474" y="6636"/>
                  <a:pt x="1424" y="6752"/>
                </a:cubicBezTo>
                <a:cubicBezTo>
                  <a:pt x="1387" y="6801"/>
                  <a:pt x="1462" y="6627"/>
                  <a:pt x="1388" y="6724"/>
                </a:cubicBezTo>
                <a:cubicBezTo>
                  <a:pt x="1381" y="6834"/>
                  <a:pt x="1306" y="6931"/>
                  <a:pt x="1247" y="7059"/>
                </a:cubicBezTo>
                <a:cubicBezTo>
                  <a:pt x="1215" y="7151"/>
                  <a:pt x="1287" y="7032"/>
                  <a:pt x="1265" y="7111"/>
                </a:cubicBezTo>
                <a:cubicBezTo>
                  <a:pt x="1240" y="7169"/>
                  <a:pt x="1240" y="7169"/>
                  <a:pt x="1228" y="7160"/>
                </a:cubicBezTo>
                <a:cubicBezTo>
                  <a:pt x="1206" y="7163"/>
                  <a:pt x="1194" y="7154"/>
                  <a:pt x="1178" y="7199"/>
                </a:cubicBezTo>
                <a:cubicBezTo>
                  <a:pt x="1153" y="7257"/>
                  <a:pt x="1135" y="7282"/>
                  <a:pt x="1159" y="7300"/>
                </a:cubicBezTo>
                <a:cubicBezTo>
                  <a:pt x="1082" y="7376"/>
                  <a:pt x="1032" y="7492"/>
                  <a:pt x="1003" y="7605"/>
                </a:cubicBezTo>
                <a:cubicBezTo>
                  <a:pt x="987" y="7650"/>
                  <a:pt x="974" y="7717"/>
                  <a:pt x="959" y="7763"/>
                </a:cubicBezTo>
                <a:cubicBezTo>
                  <a:pt x="933" y="7821"/>
                  <a:pt x="908" y="7879"/>
                  <a:pt x="881" y="7915"/>
                </a:cubicBezTo>
                <a:cubicBezTo>
                  <a:pt x="892" y="8001"/>
                  <a:pt x="867" y="8059"/>
                  <a:pt x="832" y="8205"/>
                </a:cubicBezTo>
                <a:cubicBezTo>
                  <a:pt x="825" y="8239"/>
                  <a:pt x="795" y="8254"/>
                  <a:pt x="763" y="8345"/>
                </a:cubicBezTo>
                <a:cubicBezTo>
                  <a:pt x="742" y="8348"/>
                  <a:pt x="748" y="8315"/>
                  <a:pt x="764" y="8269"/>
                </a:cubicBezTo>
                <a:cubicBezTo>
                  <a:pt x="773" y="8257"/>
                  <a:pt x="780" y="8223"/>
                  <a:pt x="789" y="8211"/>
                </a:cubicBezTo>
                <a:cubicBezTo>
                  <a:pt x="786" y="8190"/>
                  <a:pt x="805" y="8165"/>
                  <a:pt x="793" y="8156"/>
                </a:cubicBezTo>
                <a:cubicBezTo>
                  <a:pt x="767" y="8214"/>
                  <a:pt x="742" y="8272"/>
                  <a:pt x="739" y="8327"/>
                </a:cubicBezTo>
                <a:cubicBezTo>
                  <a:pt x="714" y="8385"/>
                  <a:pt x="710" y="8440"/>
                  <a:pt x="706" y="8495"/>
                </a:cubicBezTo>
                <a:cubicBezTo>
                  <a:pt x="666" y="8598"/>
                  <a:pt x="669" y="8543"/>
                  <a:pt x="611" y="8595"/>
                </a:cubicBezTo>
                <a:cubicBezTo>
                  <a:pt x="601" y="8683"/>
                  <a:pt x="563" y="8732"/>
                  <a:pt x="591" y="8772"/>
                </a:cubicBezTo>
                <a:cubicBezTo>
                  <a:pt x="572" y="8796"/>
                  <a:pt x="553" y="8821"/>
                  <a:pt x="535" y="8845"/>
                </a:cubicBezTo>
                <a:cubicBezTo>
                  <a:pt x="587" y="8827"/>
                  <a:pt x="520" y="9065"/>
                  <a:pt x="465" y="9138"/>
                </a:cubicBezTo>
                <a:cubicBezTo>
                  <a:pt x="476" y="9224"/>
                  <a:pt x="439" y="9272"/>
                  <a:pt x="410" y="9385"/>
                </a:cubicBezTo>
                <a:cubicBezTo>
                  <a:pt x="412" y="9483"/>
                  <a:pt x="419" y="9373"/>
                  <a:pt x="438" y="9349"/>
                </a:cubicBezTo>
                <a:cubicBezTo>
                  <a:pt x="446" y="9413"/>
                  <a:pt x="419" y="9449"/>
                  <a:pt x="415" y="9504"/>
                </a:cubicBezTo>
                <a:cubicBezTo>
                  <a:pt x="371" y="9587"/>
                  <a:pt x="384" y="9519"/>
                  <a:pt x="369" y="9489"/>
                </a:cubicBezTo>
                <a:cubicBezTo>
                  <a:pt x="338" y="9580"/>
                  <a:pt x="318" y="9681"/>
                  <a:pt x="263" y="9754"/>
                </a:cubicBezTo>
                <a:cubicBezTo>
                  <a:pt x="260" y="9732"/>
                  <a:pt x="257" y="9711"/>
                  <a:pt x="276" y="9687"/>
                </a:cubicBezTo>
                <a:cubicBezTo>
                  <a:pt x="254" y="9689"/>
                  <a:pt x="229" y="9747"/>
                  <a:pt x="216" y="9815"/>
                </a:cubicBezTo>
                <a:cubicBezTo>
                  <a:pt x="203" y="9882"/>
                  <a:pt x="190" y="9949"/>
                  <a:pt x="187" y="10004"/>
                </a:cubicBezTo>
                <a:cubicBezTo>
                  <a:pt x="225" y="9879"/>
                  <a:pt x="240" y="9833"/>
                  <a:pt x="268" y="9797"/>
                </a:cubicBezTo>
                <a:cubicBezTo>
                  <a:pt x="284" y="9751"/>
                  <a:pt x="312" y="9714"/>
                  <a:pt x="341" y="9602"/>
                </a:cubicBezTo>
                <a:cubicBezTo>
                  <a:pt x="347" y="9819"/>
                  <a:pt x="250" y="9821"/>
                  <a:pt x="239" y="9986"/>
                </a:cubicBezTo>
                <a:cubicBezTo>
                  <a:pt x="260" y="9983"/>
                  <a:pt x="317" y="9834"/>
                  <a:pt x="332" y="9864"/>
                </a:cubicBezTo>
                <a:cubicBezTo>
                  <a:pt x="307" y="9922"/>
                  <a:pt x="284" y="10078"/>
                  <a:pt x="244" y="10105"/>
                </a:cubicBezTo>
                <a:cubicBezTo>
                  <a:pt x="264" y="10179"/>
                  <a:pt x="276" y="10188"/>
                  <a:pt x="306" y="10249"/>
                </a:cubicBezTo>
                <a:cubicBezTo>
                  <a:pt x="258" y="10212"/>
                  <a:pt x="241" y="10334"/>
                  <a:pt x="207" y="10404"/>
                </a:cubicBezTo>
                <a:cubicBezTo>
                  <a:pt x="179" y="10441"/>
                  <a:pt x="183" y="10310"/>
                  <a:pt x="161" y="10389"/>
                </a:cubicBezTo>
                <a:cubicBezTo>
                  <a:pt x="167" y="10432"/>
                  <a:pt x="170" y="10453"/>
                  <a:pt x="191" y="10450"/>
                </a:cubicBezTo>
                <a:cubicBezTo>
                  <a:pt x="188" y="10505"/>
                  <a:pt x="156" y="10597"/>
                  <a:pt x="193" y="10548"/>
                </a:cubicBezTo>
                <a:cubicBezTo>
                  <a:pt x="180" y="10615"/>
                  <a:pt x="155" y="10673"/>
                  <a:pt x="142" y="10740"/>
                </a:cubicBezTo>
                <a:cubicBezTo>
                  <a:pt x="109" y="10734"/>
                  <a:pt x="169" y="10529"/>
                  <a:pt x="120" y="10569"/>
                </a:cubicBezTo>
                <a:cubicBezTo>
                  <a:pt x="116" y="10624"/>
                  <a:pt x="117" y="10798"/>
                  <a:pt x="104" y="10942"/>
                </a:cubicBezTo>
                <a:cubicBezTo>
                  <a:pt x="90" y="11085"/>
                  <a:pt x="83" y="11195"/>
                  <a:pt x="53" y="11134"/>
                </a:cubicBezTo>
                <a:cubicBezTo>
                  <a:pt x="40" y="11201"/>
                  <a:pt x="60" y="11275"/>
                  <a:pt x="35" y="11332"/>
                </a:cubicBezTo>
                <a:cubicBezTo>
                  <a:pt x="65" y="11394"/>
                  <a:pt x="55" y="11482"/>
                  <a:pt x="45" y="11571"/>
                </a:cubicBezTo>
                <a:cubicBezTo>
                  <a:pt x="47" y="11669"/>
                  <a:pt x="49" y="11767"/>
                  <a:pt x="82" y="11849"/>
                </a:cubicBezTo>
                <a:cubicBezTo>
                  <a:pt x="33" y="11889"/>
                  <a:pt x="52" y="12039"/>
                  <a:pt x="22" y="11977"/>
                </a:cubicBezTo>
                <a:cubicBezTo>
                  <a:pt x="0" y="12057"/>
                  <a:pt x="52" y="12039"/>
                  <a:pt x="54" y="12137"/>
                </a:cubicBezTo>
                <a:cubicBezTo>
                  <a:pt x="46" y="12323"/>
                  <a:pt x="35" y="12488"/>
                  <a:pt x="70" y="12669"/>
                </a:cubicBezTo>
                <a:cubicBezTo>
                  <a:pt x="40" y="12684"/>
                  <a:pt x="59" y="12834"/>
                  <a:pt x="84" y="12852"/>
                </a:cubicBezTo>
                <a:cubicBezTo>
                  <a:pt x="49" y="12922"/>
                  <a:pt x="79" y="12984"/>
                  <a:pt x="66" y="13051"/>
                </a:cubicBezTo>
                <a:cubicBezTo>
                  <a:pt x="85" y="13026"/>
                  <a:pt x="70" y="12996"/>
                  <a:pt x="110" y="12969"/>
                </a:cubicBezTo>
                <a:cubicBezTo>
                  <a:pt x="121" y="13054"/>
                  <a:pt x="102" y="13155"/>
                  <a:pt x="74" y="13191"/>
                </a:cubicBezTo>
                <a:cubicBezTo>
                  <a:pt x="79" y="13311"/>
                  <a:pt x="125" y="13250"/>
                  <a:pt x="93" y="13418"/>
                </a:cubicBezTo>
                <a:cubicBezTo>
                  <a:pt x="105" y="13427"/>
                  <a:pt x="112" y="13393"/>
                  <a:pt x="129" y="13446"/>
                </a:cubicBezTo>
                <a:cubicBezTo>
                  <a:pt x="121" y="13381"/>
                  <a:pt x="115" y="13338"/>
                  <a:pt x="110" y="13296"/>
                </a:cubicBezTo>
                <a:cubicBezTo>
                  <a:pt x="113" y="13241"/>
                  <a:pt x="129" y="13195"/>
                  <a:pt x="123" y="13152"/>
                </a:cubicBezTo>
                <a:cubicBezTo>
                  <a:pt x="128" y="13271"/>
                  <a:pt x="128" y="13271"/>
                  <a:pt x="128" y="13271"/>
                </a:cubicBezTo>
                <a:cubicBezTo>
                  <a:pt x="134" y="13314"/>
                  <a:pt x="139" y="13357"/>
                  <a:pt x="145" y="13400"/>
                </a:cubicBezTo>
                <a:cubicBezTo>
                  <a:pt x="144" y="13476"/>
                  <a:pt x="156" y="13562"/>
                  <a:pt x="167" y="13648"/>
                </a:cubicBezTo>
                <a:cubicBezTo>
                  <a:pt x="158" y="13660"/>
                  <a:pt x="155" y="13638"/>
                  <a:pt x="158" y="13660"/>
                </a:cubicBezTo>
                <a:cubicBezTo>
                  <a:pt x="137" y="13586"/>
                  <a:pt x="151" y="13443"/>
                  <a:pt x="96" y="13439"/>
                </a:cubicBezTo>
                <a:cubicBezTo>
                  <a:pt x="101" y="13558"/>
                  <a:pt x="158" y="13660"/>
                  <a:pt x="135" y="13816"/>
                </a:cubicBezTo>
                <a:cubicBezTo>
                  <a:pt x="150" y="13846"/>
                  <a:pt x="165" y="13877"/>
                  <a:pt x="158" y="13910"/>
                </a:cubicBezTo>
                <a:cubicBezTo>
                  <a:pt x="170" y="13920"/>
                  <a:pt x="182" y="13929"/>
                  <a:pt x="189" y="13895"/>
                </a:cubicBezTo>
                <a:cubicBezTo>
                  <a:pt x="222" y="13978"/>
                  <a:pt x="214" y="14088"/>
                  <a:pt x="247" y="14171"/>
                </a:cubicBezTo>
                <a:cubicBezTo>
                  <a:pt x="249" y="14269"/>
                  <a:pt x="219" y="14208"/>
                  <a:pt x="228" y="14272"/>
                </a:cubicBezTo>
                <a:cubicBezTo>
                  <a:pt x="260" y="14355"/>
                  <a:pt x="253" y="14214"/>
                  <a:pt x="270" y="14342"/>
                </a:cubicBezTo>
                <a:cubicBezTo>
                  <a:pt x="269" y="14419"/>
                  <a:pt x="230" y="14293"/>
                  <a:pt x="245" y="14400"/>
                </a:cubicBezTo>
                <a:cubicBezTo>
                  <a:pt x="265" y="14474"/>
                  <a:pt x="266" y="14397"/>
                  <a:pt x="281" y="14428"/>
                </a:cubicBezTo>
                <a:cubicBezTo>
                  <a:pt x="282" y="14602"/>
                  <a:pt x="308" y="14795"/>
                  <a:pt x="364" y="14973"/>
                </a:cubicBezTo>
                <a:cubicBezTo>
                  <a:pt x="399" y="15154"/>
                  <a:pt x="464" y="15319"/>
                  <a:pt x="472" y="15460"/>
                </a:cubicBezTo>
                <a:cubicBezTo>
                  <a:pt x="478" y="15503"/>
                  <a:pt x="433" y="15411"/>
                  <a:pt x="423" y="15423"/>
                </a:cubicBezTo>
                <a:cubicBezTo>
                  <a:pt x="432" y="15487"/>
                  <a:pt x="462" y="15548"/>
                  <a:pt x="492" y="15610"/>
                </a:cubicBezTo>
                <a:cubicBezTo>
                  <a:pt x="500" y="15674"/>
                  <a:pt x="530" y="15736"/>
                  <a:pt x="517" y="15803"/>
                </a:cubicBezTo>
                <a:cubicBezTo>
                  <a:pt x="541" y="15821"/>
                  <a:pt x="551" y="15809"/>
                  <a:pt x="545" y="15766"/>
                </a:cubicBezTo>
                <a:cubicBezTo>
                  <a:pt x="584" y="15815"/>
                  <a:pt x="590" y="15858"/>
                  <a:pt x="617" y="15898"/>
                </a:cubicBezTo>
                <a:cubicBezTo>
                  <a:pt x="625" y="15962"/>
                  <a:pt x="586" y="15913"/>
                  <a:pt x="571" y="15883"/>
                </a:cubicBezTo>
                <a:cubicBezTo>
                  <a:pt x="580" y="15947"/>
                  <a:pt x="622" y="16017"/>
                  <a:pt x="630" y="16082"/>
                </a:cubicBezTo>
                <a:cubicBezTo>
                  <a:pt x="642" y="16091"/>
                  <a:pt x="637" y="16048"/>
                  <a:pt x="646" y="16036"/>
                </a:cubicBezTo>
                <a:cubicBezTo>
                  <a:pt x="673" y="16076"/>
                  <a:pt x="657" y="16122"/>
                  <a:pt x="685" y="16162"/>
                </a:cubicBezTo>
                <a:cubicBezTo>
                  <a:pt x="685" y="16162"/>
                  <a:pt x="660" y="16143"/>
                  <a:pt x="666" y="16186"/>
                </a:cubicBezTo>
                <a:cubicBezTo>
                  <a:pt x="681" y="16217"/>
                  <a:pt x="705" y="16235"/>
                  <a:pt x="720" y="16266"/>
                </a:cubicBezTo>
                <a:cubicBezTo>
                  <a:pt x="729" y="16330"/>
                  <a:pt x="711" y="16278"/>
                  <a:pt x="722" y="16364"/>
                </a:cubicBezTo>
                <a:cubicBezTo>
                  <a:pt x="758" y="16468"/>
                  <a:pt x="803" y="16560"/>
                  <a:pt x="838" y="16664"/>
                </a:cubicBezTo>
                <a:cubicBezTo>
                  <a:pt x="856" y="16716"/>
                  <a:pt x="886" y="16778"/>
                  <a:pt x="913" y="16818"/>
                </a:cubicBezTo>
                <a:cubicBezTo>
                  <a:pt x="931" y="16870"/>
                  <a:pt x="948" y="16922"/>
                  <a:pt x="966" y="16974"/>
                </a:cubicBezTo>
                <a:cubicBezTo>
                  <a:pt x="963" y="16953"/>
                  <a:pt x="961" y="16931"/>
                  <a:pt x="958" y="16910"/>
                </a:cubicBezTo>
                <a:cubicBezTo>
                  <a:pt x="988" y="16971"/>
                  <a:pt x="1036" y="17008"/>
                  <a:pt x="1045" y="17073"/>
                </a:cubicBezTo>
                <a:cubicBezTo>
                  <a:pt x="1062" y="17125"/>
                  <a:pt x="1035" y="17085"/>
                  <a:pt x="999" y="17057"/>
                </a:cubicBezTo>
                <a:cubicBezTo>
                  <a:pt x="1029" y="17118"/>
                  <a:pt x="1062" y="17201"/>
                  <a:pt x="1104" y="17272"/>
                </a:cubicBezTo>
                <a:cubicBezTo>
                  <a:pt x="1158" y="17352"/>
                  <a:pt x="1188" y="17413"/>
                  <a:pt x="1203" y="17444"/>
                </a:cubicBezTo>
                <a:cubicBezTo>
                  <a:pt x="1208" y="17487"/>
                  <a:pt x="1226" y="17539"/>
                  <a:pt x="1280" y="17619"/>
                </a:cubicBezTo>
                <a:cubicBezTo>
                  <a:pt x="1254" y="17502"/>
                  <a:pt x="1299" y="17594"/>
                  <a:pt x="1338" y="17644"/>
                </a:cubicBezTo>
                <a:cubicBezTo>
                  <a:pt x="1281" y="17542"/>
                  <a:pt x="1251" y="17481"/>
                  <a:pt x="1231" y="17407"/>
                </a:cubicBezTo>
                <a:cubicBezTo>
                  <a:pt x="1216" y="17377"/>
                  <a:pt x="1201" y="17346"/>
                  <a:pt x="1183" y="17294"/>
                </a:cubicBezTo>
                <a:cubicBezTo>
                  <a:pt x="1168" y="17263"/>
                  <a:pt x="1141" y="17223"/>
                  <a:pt x="1123" y="17171"/>
                </a:cubicBezTo>
                <a:cubicBezTo>
                  <a:pt x="1099" y="17152"/>
                  <a:pt x="1126" y="17192"/>
                  <a:pt x="1129" y="17214"/>
                </a:cubicBezTo>
                <a:cubicBezTo>
                  <a:pt x="1080" y="17177"/>
                  <a:pt x="1105" y="17119"/>
                  <a:pt x="1057" y="17082"/>
                </a:cubicBezTo>
                <a:cubicBezTo>
                  <a:pt x="1070" y="17015"/>
                  <a:pt x="1048" y="17018"/>
                  <a:pt x="1034" y="16910"/>
                </a:cubicBezTo>
                <a:cubicBezTo>
                  <a:pt x="1064" y="16972"/>
                  <a:pt x="1085" y="17045"/>
                  <a:pt x="1115" y="17107"/>
                </a:cubicBezTo>
                <a:cubicBezTo>
                  <a:pt x="1144" y="17168"/>
                  <a:pt x="1177" y="17251"/>
                  <a:pt x="1207" y="17312"/>
                </a:cubicBezTo>
                <a:cubicBezTo>
                  <a:pt x="1279" y="17444"/>
                  <a:pt x="1339" y="17567"/>
                  <a:pt x="1362" y="17662"/>
                </a:cubicBezTo>
                <a:cubicBezTo>
                  <a:pt x="1374" y="17671"/>
                  <a:pt x="1372" y="17650"/>
                  <a:pt x="1396" y="17668"/>
                </a:cubicBezTo>
                <a:cubicBezTo>
                  <a:pt x="1438" y="17739"/>
                  <a:pt x="1362" y="17662"/>
                  <a:pt x="1383" y="17736"/>
                </a:cubicBezTo>
                <a:cubicBezTo>
                  <a:pt x="1434" y="17794"/>
                  <a:pt x="1486" y="17853"/>
                  <a:pt x="1516" y="17914"/>
                </a:cubicBezTo>
                <a:cubicBezTo>
                  <a:pt x="1545" y="17975"/>
                  <a:pt x="1563" y="18027"/>
                  <a:pt x="1593" y="18089"/>
                </a:cubicBezTo>
                <a:cubicBezTo>
                  <a:pt x="1651" y="18114"/>
                  <a:pt x="1684" y="18197"/>
                  <a:pt x="1728" y="18289"/>
                </a:cubicBezTo>
                <a:cubicBezTo>
                  <a:pt x="1683" y="18273"/>
                  <a:pt x="1619" y="18205"/>
                  <a:pt x="1628" y="18269"/>
                </a:cubicBezTo>
                <a:cubicBezTo>
                  <a:pt x="1589" y="18220"/>
                  <a:pt x="1541" y="18107"/>
                  <a:pt x="1510" y="18122"/>
                </a:cubicBezTo>
                <a:cubicBezTo>
                  <a:pt x="1564" y="18202"/>
                  <a:pt x="1564" y="18202"/>
                  <a:pt x="1561" y="18257"/>
                </a:cubicBezTo>
                <a:cubicBezTo>
                  <a:pt x="1606" y="18272"/>
                  <a:pt x="1624" y="18324"/>
                  <a:pt x="1658" y="18331"/>
                </a:cubicBezTo>
                <a:cubicBezTo>
                  <a:pt x="1700" y="18402"/>
                  <a:pt x="1720" y="18475"/>
                  <a:pt x="1781" y="18521"/>
                </a:cubicBezTo>
                <a:cubicBezTo>
                  <a:pt x="1783" y="18619"/>
                  <a:pt x="1925" y="18785"/>
                  <a:pt x="2018" y="18915"/>
                </a:cubicBezTo>
                <a:cubicBezTo>
                  <a:pt x="1988" y="18930"/>
                  <a:pt x="2039" y="18988"/>
                  <a:pt x="2139" y="19084"/>
                </a:cubicBezTo>
                <a:cubicBezTo>
                  <a:pt x="2129" y="19096"/>
                  <a:pt x="2120" y="19108"/>
                  <a:pt x="2084" y="19080"/>
                </a:cubicBezTo>
                <a:cubicBezTo>
                  <a:pt x="2126" y="19151"/>
                  <a:pt x="2177" y="19209"/>
                  <a:pt x="2216" y="19259"/>
                </a:cubicBezTo>
                <a:cubicBezTo>
                  <a:pt x="2268" y="19317"/>
                  <a:pt x="2319" y="19376"/>
                  <a:pt x="2361" y="19446"/>
                </a:cubicBezTo>
                <a:cubicBezTo>
                  <a:pt x="2397" y="19474"/>
                  <a:pt x="2353" y="19382"/>
                  <a:pt x="2392" y="19431"/>
                </a:cubicBezTo>
                <a:cubicBezTo>
                  <a:pt x="2428" y="19459"/>
                  <a:pt x="2424" y="19514"/>
                  <a:pt x="2482" y="19539"/>
                </a:cubicBezTo>
                <a:cubicBezTo>
                  <a:pt x="2488" y="19582"/>
                  <a:pt x="2488" y="19582"/>
                  <a:pt x="2464" y="19563"/>
                </a:cubicBezTo>
                <a:cubicBezTo>
                  <a:pt x="2506" y="19634"/>
                  <a:pt x="2494" y="19548"/>
                  <a:pt x="2551" y="19650"/>
                </a:cubicBezTo>
                <a:cubicBezTo>
                  <a:pt x="2569" y="19702"/>
                  <a:pt x="2572" y="19723"/>
                  <a:pt x="2548" y="19705"/>
                </a:cubicBezTo>
                <a:cubicBezTo>
                  <a:pt x="2587" y="19754"/>
                  <a:pt x="2638" y="19812"/>
                  <a:pt x="2668" y="19874"/>
                </a:cubicBezTo>
                <a:cubicBezTo>
                  <a:pt x="2719" y="19932"/>
                  <a:pt x="2759" y="19981"/>
                  <a:pt x="2780" y="19979"/>
                </a:cubicBezTo>
                <a:cubicBezTo>
                  <a:pt x="2810" y="20040"/>
                  <a:pt x="2771" y="19991"/>
                  <a:pt x="2813" y="20061"/>
                </a:cubicBezTo>
                <a:cubicBezTo>
                  <a:pt x="2844" y="20046"/>
                  <a:pt x="2891" y="20160"/>
                  <a:pt x="2891" y="20160"/>
                </a:cubicBezTo>
                <a:cubicBezTo>
                  <a:pt x="2943" y="20218"/>
                  <a:pt x="2991" y="20255"/>
                  <a:pt x="3027" y="20283"/>
                </a:cubicBezTo>
                <a:cubicBezTo>
                  <a:pt x="3052" y="20302"/>
                  <a:pt x="3076" y="20320"/>
                  <a:pt x="3091" y="20351"/>
                </a:cubicBezTo>
                <a:cubicBezTo>
                  <a:pt x="3115" y="20369"/>
                  <a:pt x="3130" y="20400"/>
                  <a:pt x="3157" y="20440"/>
                </a:cubicBezTo>
                <a:cubicBezTo>
                  <a:pt x="3212" y="20444"/>
                  <a:pt x="3330" y="20591"/>
                  <a:pt x="3393" y="20659"/>
                </a:cubicBezTo>
                <a:cubicBezTo>
                  <a:pt x="3405" y="20668"/>
                  <a:pt x="3360" y="20653"/>
                  <a:pt x="3387" y="20693"/>
                </a:cubicBezTo>
                <a:cubicBezTo>
                  <a:pt x="3432" y="20708"/>
                  <a:pt x="3469" y="20736"/>
                  <a:pt x="3496" y="20776"/>
                </a:cubicBezTo>
                <a:cubicBezTo>
                  <a:pt x="3532" y="20804"/>
                  <a:pt x="3571" y="20853"/>
                  <a:pt x="3629" y="20878"/>
                </a:cubicBezTo>
                <a:cubicBezTo>
                  <a:pt x="3684" y="20882"/>
                  <a:pt x="3572" y="20777"/>
                  <a:pt x="3536" y="20749"/>
                </a:cubicBezTo>
                <a:cubicBezTo>
                  <a:pt x="3512" y="20730"/>
                  <a:pt x="3630" y="20802"/>
                  <a:pt x="3657" y="20842"/>
                </a:cubicBezTo>
                <a:cubicBezTo>
                  <a:pt x="3712" y="20845"/>
                  <a:pt x="3581" y="20765"/>
                  <a:pt x="3567" y="20734"/>
                </a:cubicBezTo>
                <a:cubicBezTo>
                  <a:pt x="3564" y="20712"/>
                  <a:pt x="3612" y="20749"/>
                  <a:pt x="3646" y="20756"/>
                </a:cubicBezTo>
                <a:cubicBezTo>
                  <a:pt x="3661" y="20787"/>
                  <a:pt x="3706" y="20879"/>
                  <a:pt x="3809" y="20919"/>
                </a:cubicBezTo>
                <a:cubicBezTo>
                  <a:pt x="3827" y="20971"/>
                  <a:pt x="3866" y="21021"/>
                  <a:pt x="3808" y="20996"/>
                </a:cubicBezTo>
                <a:cubicBezTo>
                  <a:pt x="3850" y="21066"/>
                  <a:pt x="3942" y="21098"/>
                  <a:pt x="3974" y="21180"/>
                </a:cubicBezTo>
                <a:cubicBezTo>
                  <a:pt x="4008" y="21187"/>
                  <a:pt x="4014" y="21153"/>
                  <a:pt x="4078" y="21221"/>
                </a:cubicBezTo>
                <a:cubicBezTo>
                  <a:pt x="4044" y="21215"/>
                  <a:pt x="3986" y="21190"/>
                  <a:pt x="3917" y="21155"/>
                </a:cubicBezTo>
                <a:cubicBezTo>
                  <a:pt x="3856" y="21109"/>
                  <a:pt x="3786" y="21075"/>
                  <a:pt x="3713" y="21019"/>
                </a:cubicBezTo>
                <a:cubicBezTo>
                  <a:pt x="3765" y="21078"/>
                  <a:pt x="3804" y="21127"/>
                  <a:pt x="3855" y="21186"/>
                </a:cubicBezTo>
                <a:cubicBezTo>
                  <a:pt x="3891" y="21213"/>
                  <a:pt x="3910" y="21189"/>
                  <a:pt x="3952" y="21260"/>
                </a:cubicBezTo>
                <a:cubicBezTo>
                  <a:pt x="3986" y="21266"/>
                  <a:pt x="3971" y="21235"/>
                  <a:pt x="3995" y="21254"/>
                </a:cubicBezTo>
                <a:cubicBezTo>
                  <a:pt x="4089" y="21307"/>
                  <a:pt x="4034" y="21303"/>
                  <a:pt x="4088" y="21383"/>
                </a:cubicBezTo>
                <a:cubicBezTo>
                  <a:pt x="4107" y="21359"/>
                  <a:pt x="4189" y="21402"/>
                  <a:pt x="4264" y="21479"/>
                </a:cubicBezTo>
                <a:cubicBezTo>
                  <a:pt x="4301" y="21507"/>
                  <a:pt x="4349" y="21544"/>
                  <a:pt x="4376" y="21584"/>
                </a:cubicBezTo>
                <a:cubicBezTo>
                  <a:pt x="4413" y="21612"/>
                  <a:pt x="4428" y="21643"/>
                  <a:pt x="4418" y="21655"/>
                </a:cubicBezTo>
                <a:cubicBezTo>
                  <a:pt x="4449" y="21640"/>
                  <a:pt x="4503" y="21720"/>
                  <a:pt x="4570" y="21732"/>
                </a:cubicBezTo>
                <a:cubicBezTo>
                  <a:pt x="4531" y="21683"/>
                  <a:pt x="4440" y="21652"/>
                  <a:pt x="4410" y="21591"/>
                </a:cubicBezTo>
                <a:cubicBezTo>
                  <a:pt x="4429" y="21566"/>
                  <a:pt x="4555" y="21702"/>
                  <a:pt x="4616" y="21748"/>
                </a:cubicBezTo>
                <a:cubicBezTo>
                  <a:pt x="4637" y="21745"/>
                  <a:pt x="4662" y="21764"/>
                  <a:pt x="4719" y="21789"/>
                </a:cubicBezTo>
                <a:cubicBezTo>
                  <a:pt x="4777" y="21814"/>
                  <a:pt x="4747" y="21829"/>
                  <a:pt x="4701" y="21813"/>
                </a:cubicBezTo>
                <a:cubicBezTo>
                  <a:pt x="4762" y="21859"/>
                  <a:pt x="4780" y="21835"/>
                  <a:pt x="4753" y="21795"/>
                </a:cubicBezTo>
                <a:cubicBezTo>
                  <a:pt x="4705" y="21758"/>
                  <a:pt x="4677" y="21718"/>
                  <a:pt x="4610" y="21705"/>
                </a:cubicBezTo>
                <a:cubicBezTo>
                  <a:pt x="4608" y="21684"/>
                  <a:pt x="4617" y="21672"/>
                  <a:pt x="4602" y="21641"/>
                </a:cubicBezTo>
                <a:cubicBezTo>
                  <a:pt x="4708" y="21703"/>
                  <a:pt x="4753" y="21795"/>
                  <a:pt x="4847" y="21848"/>
                </a:cubicBezTo>
                <a:cubicBezTo>
                  <a:pt x="4862" y="21878"/>
                  <a:pt x="4677" y="21794"/>
                  <a:pt x="4789" y="21899"/>
                </a:cubicBezTo>
                <a:cubicBezTo>
                  <a:pt x="4804" y="21854"/>
                  <a:pt x="4834" y="21915"/>
                  <a:pt x="4904" y="21949"/>
                </a:cubicBezTo>
                <a:cubicBezTo>
                  <a:pt x="4898" y="21983"/>
                  <a:pt x="4834" y="21915"/>
                  <a:pt x="4958" y="22029"/>
                </a:cubicBezTo>
                <a:cubicBezTo>
                  <a:pt x="4989" y="22014"/>
                  <a:pt x="4989" y="22014"/>
                  <a:pt x="5083" y="22067"/>
                </a:cubicBezTo>
                <a:cubicBezTo>
                  <a:pt x="5080" y="22122"/>
                  <a:pt x="5235" y="22144"/>
                  <a:pt x="5280" y="22236"/>
                </a:cubicBezTo>
                <a:cubicBezTo>
                  <a:pt x="5052" y="22082"/>
                  <a:pt x="4855" y="21988"/>
                  <a:pt x="4631" y="21779"/>
                </a:cubicBezTo>
                <a:cubicBezTo>
                  <a:pt x="4688" y="21880"/>
                  <a:pt x="4452" y="21661"/>
                  <a:pt x="4460" y="21725"/>
                </a:cubicBezTo>
                <a:cubicBezTo>
                  <a:pt x="4475" y="21756"/>
                  <a:pt x="4500" y="21775"/>
                  <a:pt x="4536" y="21802"/>
                </a:cubicBezTo>
                <a:cubicBezTo>
                  <a:pt x="4591" y="21806"/>
                  <a:pt x="4718" y="21942"/>
                  <a:pt x="4736" y="21994"/>
                </a:cubicBezTo>
                <a:cubicBezTo>
                  <a:pt x="4715" y="21920"/>
                  <a:pt x="4839" y="22034"/>
                  <a:pt x="4806" y="21951"/>
                </a:cubicBezTo>
                <a:cubicBezTo>
                  <a:pt x="4855" y="21988"/>
                  <a:pt x="4913" y="22013"/>
                  <a:pt x="4952" y="22063"/>
                </a:cubicBezTo>
                <a:cubicBezTo>
                  <a:pt x="4979" y="22103"/>
                  <a:pt x="4806" y="21951"/>
                  <a:pt x="4909" y="22068"/>
                </a:cubicBezTo>
                <a:cubicBezTo>
                  <a:pt x="4854" y="22065"/>
                  <a:pt x="4846" y="22001"/>
                  <a:pt x="4791" y="21997"/>
                </a:cubicBezTo>
                <a:cubicBezTo>
                  <a:pt x="4818" y="22037"/>
                  <a:pt x="4793" y="22019"/>
                  <a:pt x="4821" y="22058"/>
                </a:cubicBezTo>
                <a:cubicBezTo>
                  <a:pt x="4958" y="22105"/>
                  <a:pt x="4975" y="22158"/>
                  <a:pt x="4981" y="22200"/>
                </a:cubicBezTo>
                <a:cubicBezTo>
                  <a:pt x="5000" y="22176"/>
                  <a:pt x="5060" y="22222"/>
                  <a:pt x="5133" y="22278"/>
                </a:cubicBezTo>
                <a:cubicBezTo>
                  <a:pt x="5215" y="22322"/>
                  <a:pt x="5291" y="22399"/>
                  <a:pt x="5360" y="22433"/>
                </a:cubicBezTo>
                <a:cubicBezTo>
                  <a:pt x="5415" y="22436"/>
                  <a:pt x="5358" y="22411"/>
                  <a:pt x="5318" y="22362"/>
                </a:cubicBezTo>
                <a:cubicBezTo>
                  <a:pt x="5477" y="22406"/>
                  <a:pt x="5664" y="22588"/>
                  <a:pt x="5753" y="22598"/>
                </a:cubicBezTo>
                <a:cubicBezTo>
                  <a:pt x="5826" y="22654"/>
                  <a:pt x="5722" y="22613"/>
                  <a:pt x="5746" y="22632"/>
                </a:cubicBezTo>
                <a:cubicBezTo>
                  <a:pt x="5640" y="22570"/>
                  <a:pt x="5534" y="22508"/>
                  <a:pt x="5437" y="22433"/>
                </a:cubicBezTo>
                <a:cubicBezTo>
                  <a:pt x="5382" y="22430"/>
                  <a:pt x="5373" y="22442"/>
                  <a:pt x="5400" y="22482"/>
                </a:cubicBezTo>
                <a:cubicBezTo>
                  <a:pt x="5433" y="22488"/>
                  <a:pt x="5457" y="22507"/>
                  <a:pt x="5482" y="22525"/>
                </a:cubicBezTo>
                <a:cubicBezTo>
                  <a:pt x="5503" y="22523"/>
                  <a:pt x="5503" y="22523"/>
                  <a:pt x="5500" y="22501"/>
                </a:cubicBezTo>
                <a:cubicBezTo>
                  <a:pt x="5539" y="22550"/>
                  <a:pt x="5636" y="22625"/>
                  <a:pt x="5740" y="22665"/>
                </a:cubicBezTo>
                <a:cubicBezTo>
                  <a:pt x="5846" y="22727"/>
                  <a:pt x="5950" y="22768"/>
                  <a:pt x="5992" y="22762"/>
                </a:cubicBezTo>
                <a:cubicBezTo>
                  <a:pt x="5910" y="22795"/>
                  <a:pt x="6116" y="22876"/>
                  <a:pt x="6146" y="22937"/>
                </a:cubicBezTo>
                <a:cubicBezTo>
                  <a:pt x="6192" y="22953"/>
                  <a:pt x="6216" y="22972"/>
                  <a:pt x="6241" y="22990"/>
                </a:cubicBezTo>
                <a:cubicBezTo>
                  <a:pt x="6305" y="22981"/>
                  <a:pt x="6159" y="22947"/>
                  <a:pt x="6144" y="22916"/>
                </a:cubicBezTo>
                <a:cubicBezTo>
                  <a:pt x="6129" y="22885"/>
                  <a:pt x="6162" y="22892"/>
                  <a:pt x="6196" y="22898"/>
                </a:cubicBezTo>
                <a:cubicBezTo>
                  <a:pt x="6241" y="22914"/>
                  <a:pt x="6308" y="22926"/>
                  <a:pt x="6375" y="22939"/>
                </a:cubicBezTo>
                <a:cubicBezTo>
                  <a:pt x="6451" y="23016"/>
                  <a:pt x="6266" y="22932"/>
                  <a:pt x="6256" y="22944"/>
                </a:cubicBezTo>
                <a:cubicBezTo>
                  <a:pt x="6344" y="23031"/>
                  <a:pt x="6338" y="22988"/>
                  <a:pt x="6442" y="23028"/>
                </a:cubicBezTo>
                <a:cubicBezTo>
                  <a:pt x="6427" y="22998"/>
                  <a:pt x="6448" y="22995"/>
                  <a:pt x="6458" y="22983"/>
                </a:cubicBezTo>
                <a:cubicBezTo>
                  <a:pt x="6503" y="22998"/>
                  <a:pt x="6542" y="23048"/>
                  <a:pt x="6597" y="23051"/>
                </a:cubicBezTo>
                <a:cubicBezTo>
                  <a:pt x="6534" y="22983"/>
                  <a:pt x="6403" y="22979"/>
                  <a:pt x="6348" y="22899"/>
                </a:cubicBezTo>
                <a:cubicBezTo>
                  <a:pt x="6236" y="22871"/>
                  <a:pt x="6120" y="22821"/>
                  <a:pt x="6026" y="22768"/>
                </a:cubicBezTo>
                <a:cubicBezTo>
                  <a:pt x="5999" y="22728"/>
                  <a:pt x="6117" y="22800"/>
                  <a:pt x="6154" y="22827"/>
                </a:cubicBezTo>
                <a:cubicBezTo>
                  <a:pt x="6196" y="22822"/>
                  <a:pt x="6066" y="22741"/>
                  <a:pt x="6072" y="22784"/>
                </a:cubicBezTo>
                <a:cubicBezTo>
                  <a:pt x="6078" y="22750"/>
                  <a:pt x="6133" y="22754"/>
                  <a:pt x="6191" y="22779"/>
                </a:cubicBezTo>
                <a:cubicBezTo>
                  <a:pt x="6215" y="22797"/>
                  <a:pt x="6249" y="22804"/>
                  <a:pt x="6285" y="22832"/>
                </a:cubicBezTo>
                <a:cubicBezTo>
                  <a:pt x="6309" y="22850"/>
                  <a:pt x="6331" y="22847"/>
                  <a:pt x="6355" y="22866"/>
                </a:cubicBezTo>
                <a:cubicBezTo>
                  <a:pt x="6367" y="22875"/>
                  <a:pt x="6391" y="22894"/>
                  <a:pt x="6425" y="22900"/>
                </a:cubicBezTo>
                <a:cubicBezTo>
                  <a:pt x="6519" y="22953"/>
                  <a:pt x="6613" y="23005"/>
                  <a:pt x="6719" y="23067"/>
                </a:cubicBezTo>
                <a:cubicBezTo>
                  <a:pt x="6756" y="23095"/>
                  <a:pt x="6814" y="23120"/>
                  <a:pt x="6859" y="23136"/>
                </a:cubicBezTo>
                <a:cubicBezTo>
                  <a:pt x="6917" y="23161"/>
                  <a:pt x="6963" y="23176"/>
                  <a:pt x="7008" y="23192"/>
                </a:cubicBezTo>
                <a:cubicBezTo>
                  <a:pt x="6972" y="23164"/>
                  <a:pt x="6948" y="23146"/>
                  <a:pt x="6981" y="23152"/>
                </a:cubicBezTo>
                <a:cubicBezTo>
                  <a:pt x="6933" y="23115"/>
                  <a:pt x="6868" y="23124"/>
                  <a:pt x="6829" y="23074"/>
                </a:cubicBezTo>
                <a:cubicBezTo>
                  <a:pt x="6829" y="23074"/>
                  <a:pt x="6875" y="23090"/>
                  <a:pt x="6930" y="23094"/>
                </a:cubicBezTo>
                <a:cubicBezTo>
                  <a:pt x="6976" y="23109"/>
                  <a:pt x="7024" y="23146"/>
                  <a:pt x="7048" y="23165"/>
                </a:cubicBezTo>
                <a:cubicBezTo>
                  <a:pt x="7021" y="23125"/>
                  <a:pt x="7222" y="23163"/>
                  <a:pt x="7274" y="23222"/>
                </a:cubicBezTo>
                <a:cubicBezTo>
                  <a:pt x="7298" y="23240"/>
                  <a:pt x="7140" y="23196"/>
                  <a:pt x="7103" y="23168"/>
                </a:cubicBezTo>
                <a:cubicBezTo>
                  <a:pt x="7109" y="23211"/>
                  <a:pt x="7039" y="23177"/>
                  <a:pt x="7008" y="23192"/>
                </a:cubicBezTo>
                <a:cubicBezTo>
                  <a:pt x="7081" y="23248"/>
                  <a:pt x="7047" y="23241"/>
                  <a:pt x="7142" y="23294"/>
                </a:cubicBezTo>
                <a:cubicBezTo>
                  <a:pt x="7062" y="23272"/>
                  <a:pt x="7005" y="23247"/>
                  <a:pt x="6947" y="23222"/>
                </a:cubicBezTo>
                <a:cubicBezTo>
                  <a:pt x="6911" y="23194"/>
                  <a:pt x="6877" y="23188"/>
                  <a:pt x="6843" y="23181"/>
                </a:cubicBezTo>
                <a:cubicBezTo>
                  <a:pt x="6798" y="23166"/>
                  <a:pt x="6752" y="23150"/>
                  <a:pt x="6706" y="23135"/>
                </a:cubicBezTo>
                <a:cubicBezTo>
                  <a:pt x="6782" y="23212"/>
                  <a:pt x="6688" y="23159"/>
                  <a:pt x="6797" y="23242"/>
                </a:cubicBezTo>
                <a:cubicBezTo>
                  <a:pt x="6816" y="23218"/>
                  <a:pt x="6743" y="23162"/>
                  <a:pt x="6880" y="23209"/>
                </a:cubicBezTo>
                <a:cubicBezTo>
                  <a:pt x="7020" y="23278"/>
                  <a:pt x="7147" y="23337"/>
                  <a:pt x="7296" y="23393"/>
                </a:cubicBezTo>
                <a:cubicBezTo>
                  <a:pt x="7248" y="23356"/>
                  <a:pt x="7236" y="23347"/>
                  <a:pt x="7279" y="23341"/>
                </a:cubicBezTo>
                <a:cubicBezTo>
                  <a:pt x="7221" y="23316"/>
                  <a:pt x="7151" y="23282"/>
                  <a:pt x="7093" y="23257"/>
                </a:cubicBezTo>
                <a:cubicBezTo>
                  <a:pt x="7102" y="23245"/>
                  <a:pt x="7194" y="23276"/>
                  <a:pt x="7227" y="23282"/>
                </a:cubicBezTo>
                <a:cubicBezTo>
                  <a:pt x="7273" y="23298"/>
                  <a:pt x="7252" y="23301"/>
                  <a:pt x="7230" y="23304"/>
                </a:cubicBezTo>
                <a:cubicBezTo>
                  <a:pt x="7336" y="23366"/>
                  <a:pt x="7270" y="23277"/>
                  <a:pt x="7401" y="23357"/>
                </a:cubicBezTo>
                <a:cubicBezTo>
                  <a:pt x="7403" y="23379"/>
                  <a:pt x="7336" y="23366"/>
                  <a:pt x="7351" y="23397"/>
                </a:cubicBezTo>
                <a:cubicBezTo>
                  <a:pt x="7440" y="23406"/>
                  <a:pt x="7543" y="23447"/>
                  <a:pt x="7659" y="23497"/>
                </a:cubicBezTo>
                <a:cubicBezTo>
                  <a:pt x="7762" y="23537"/>
                  <a:pt x="7878" y="23587"/>
                  <a:pt x="7976" y="23585"/>
                </a:cubicBezTo>
                <a:cubicBezTo>
                  <a:pt x="7991" y="23616"/>
                  <a:pt x="7936" y="23612"/>
                  <a:pt x="8018" y="23656"/>
                </a:cubicBezTo>
                <a:cubicBezTo>
                  <a:pt x="8106" y="23666"/>
                  <a:pt x="8167" y="23712"/>
                  <a:pt x="8265" y="23710"/>
                </a:cubicBezTo>
                <a:cubicBezTo>
                  <a:pt x="8216" y="23673"/>
                  <a:pt x="8192" y="23654"/>
                  <a:pt x="8201" y="23642"/>
                </a:cubicBezTo>
                <a:cubicBezTo>
                  <a:pt x="8302" y="23661"/>
                  <a:pt x="8405" y="23702"/>
                  <a:pt x="8506" y="23721"/>
                </a:cubicBezTo>
                <a:cubicBezTo>
                  <a:pt x="8530" y="23739"/>
                  <a:pt x="8499" y="23754"/>
                  <a:pt x="8466" y="23748"/>
                </a:cubicBezTo>
                <a:cubicBezTo>
                  <a:pt x="8423" y="23754"/>
                  <a:pt x="8365" y="23729"/>
                  <a:pt x="8317" y="23692"/>
                </a:cubicBezTo>
                <a:cubicBezTo>
                  <a:pt x="8365" y="23729"/>
                  <a:pt x="8277" y="23719"/>
                  <a:pt x="8313" y="23747"/>
                </a:cubicBezTo>
                <a:cubicBezTo>
                  <a:pt x="8368" y="23750"/>
                  <a:pt x="8423" y="23754"/>
                  <a:pt x="8481" y="23779"/>
                </a:cubicBezTo>
                <a:cubicBezTo>
                  <a:pt x="8548" y="23791"/>
                  <a:pt x="8615" y="23804"/>
                  <a:pt x="8716" y="23823"/>
                </a:cubicBezTo>
                <a:cubicBezTo>
                  <a:pt x="8676" y="23774"/>
                  <a:pt x="8603" y="23795"/>
                  <a:pt x="8566" y="23767"/>
                </a:cubicBezTo>
                <a:cubicBezTo>
                  <a:pt x="8585" y="23743"/>
                  <a:pt x="8691" y="23805"/>
                  <a:pt x="8777" y="23793"/>
                </a:cubicBezTo>
                <a:cubicBezTo>
                  <a:pt x="8813" y="23821"/>
                  <a:pt x="8780" y="23815"/>
                  <a:pt x="8828" y="23852"/>
                </a:cubicBezTo>
                <a:cubicBezTo>
                  <a:pt x="8868" y="23825"/>
                  <a:pt x="8935" y="23837"/>
                  <a:pt x="8993" y="23862"/>
                </a:cubicBezTo>
                <a:cubicBezTo>
                  <a:pt x="9005" y="23872"/>
                  <a:pt x="9039" y="23878"/>
                  <a:pt x="9051" y="23887"/>
                </a:cubicBezTo>
                <a:cubicBezTo>
                  <a:pt x="9072" y="23884"/>
                  <a:pt x="9084" y="23894"/>
                  <a:pt x="9097" y="23903"/>
                </a:cubicBezTo>
                <a:cubicBezTo>
                  <a:pt x="9142" y="23918"/>
                  <a:pt x="9185" y="23913"/>
                  <a:pt x="9207" y="23910"/>
                </a:cubicBezTo>
                <a:cubicBezTo>
                  <a:pt x="9258" y="23968"/>
                  <a:pt x="9032" y="23911"/>
                  <a:pt x="9014" y="23936"/>
                </a:cubicBezTo>
                <a:cubicBezTo>
                  <a:pt x="9026" y="23945"/>
                  <a:pt x="9047" y="23942"/>
                  <a:pt x="9081" y="23949"/>
                </a:cubicBezTo>
                <a:cubicBezTo>
                  <a:pt x="9172" y="23980"/>
                  <a:pt x="9017" y="23957"/>
                  <a:pt x="9108" y="23989"/>
                </a:cubicBezTo>
                <a:cubicBezTo>
                  <a:pt x="9184" y="23989"/>
                  <a:pt x="9300" y="24039"/>
                  <a:pt x="9273" y="23999"/>
                </a:cubicBezTo>
                <a:cubicBezTo>
                  <a:pt x="9358" y="23987"/>
                  <a:pt x="9410" y="24046"/>
                  <a:pt x="9498" y="24056"/>
                </a:cubicBezTo>
                <a:cubicBezTo>
                  <a:pt x="9510" y="24065"/>
                  <a:pt x="9458" y="24083"/>
                  <a:pt x="9400" y="24058"/>
                </a:cubicBezTo>
                <a:cubicBezTo>
                  <a:pt x="9403" y="24080"/>
                  <a:pt x="9480" y="24080"/>
                  <a:pt x="9547" y="24093"/>
                </a:cubicBezTo>
                <a:cubicBezTo>
                  <a:pt x="9626" y="24115"/>
                  <a:pt x="9702" y="24116"/>
                  <a:pt x="9696" y="24149"/>
                </a:cubicBezTo>
                <a:cubicBezTo>
                  <a:pt x="9760" y="24141"/>
                  <a:pt x="9803" y="24135"/>
                  <a:pt x="9846" y="24129"/>
                </a:cubicBezTo>
                <a:cubicBezTo>
                  <a:pt x="9800" y="24113"/>
                  <a:pt x="9809" y="24101"/>
                  <a:pt x="9797" y="24092"/>
                </a:cubicBezTo>
                <a:cubicBezTo>
                  <a:pt x="9886" y="24102"/>
                  <a:pt x="9876" y="24114"/>
                  <a:pt x="9913" y="24142"/>
                </a:cubicBezTo>
                <a:cubicBezTo>
                  <a:pt x="9999" y="24130"/>
                  <a:pt x="10066" y="24143"/>
                  <a:pt x="10145" y="24165"/>
                </a:cubicBezTo>
                <a:cubicBezTo>
                  <a:pt x="10224" y="24187"/>
                  <a:pt x="10315" y="24218"/>
                  <a:pt x="10428" y="24247"/>
                </a:cubicBezTo>
                <a:cubicBezTo>
                  <a:pt x="10504" y="24247"/>
                  <a:pt x="10614" y="24254"/>
                  <a:pt x="10727" y="24283"/>
                </a:cubicBezTo>
                <a:cubicBezTo>
                  <a:pt x="10837" y="24290"/>
                  <a:pt x="10971" y="24315"/>
                  <a:pt x="11069" y="24313"/>
                </a:cubicBezTo>
                <a:cubicBezTo>
                  <a:pt x="11075" y="24280"/>
                  <a:pt x="10968" y="24294"/>
                  <a:pt x="10923" y="24278"/>
                </a:cubicBezTo>
                <a:cubicBezTo>
                  <a:pt x="10963" y="24251"/>
                  <a:pt x="11182" y="24265"/>
                  <a:pt x="11283" y="24284"/>
                </a:cubicBezTo>
                <a:cubicBezTo>
                  <a:pt x="11319" y="24312"/>
                  <a:pt x="11140" y="24271"/>
                  <a:pt x="11167" y="24311"/>
                </a:cubicBezTo>
                <a:cubicBezTo>
                  <a:pt x="11234" y="24324"/>
                  <a:pt x="11292" y="24349"/>
                  <a:pt x="11292" y="24349"/>
                </a:cubicBezTo>
                <a:cubicBezTo>
                  <a:pt x="11356" y="24340"/>
                  <a:pt x="11460" y="24304"/>
                  <a:pt x="11546" y="24293"/>
                </a:cubicBezTo>
                <a:cubicBezTo>
                  <a:pt x="11643" y="24290"/>
                  <a:pt x="11616" y="24327"/>
                  <a:pt x="11695" y="24349"/>
                </a:cubicBezTo>
                <a:cubicBezTo>
                  <a:pt x="11750" y="24352"/>
                  <a:pt x="11930" y="24317"/>
                  <a:pt x="11903" y="24353"/>
                </a:cubicBezTo>
                <a:cubicBezTo>
                  <a:pt x="12083" y="24318"/>
                  <a:pt x="12248" y="24329"/>
                  <a:pt x="12434" y="24336"/>
                </a:cubicBezTo>
                <a:cubicBezTo>
                  <a:pt x="12535" y="24356"/>
                  <a:pt x="12342" y="24381"/>
                  <a:pt x="12443" y="24401"/>
                </a:cubicBezTo>
                <a:cubicBezTo>
                  <a:pt x="12581" y="24371"/>
                  <a:pt x="12416" y="24361"/>
                  <a:pt x="12511" y="24337"/>
                </a:cubicBezTo>
                <a:cubicBezTo>
                  <a:pt x="12627" y="24310"/>
                  <a:pt x="12623" y="24365"/>
                  <a:pt x="12690" y="24378"/>
                </a:cubicBezTo>
                <a:cubicBezTo>
                  <a:pt x="12764" y="24357"/>
                  <a:pt x="12822" y="24382"/>
                  <a:pt x="12886" y="24374"/>
                </a:cubicBezTo>
                <a:cubicBezTo>
                  <a:pt x="12855" y="24389"/>
                  <a:pt x="12880" y="24407"/>
                  <a:pt x="12968" y="24417"/>
                </a:cubicBezTo>
                <a:cubicBezTo>
                  <a:pt x="12977" y="24405"/>
                  <a:pt x="12996" y="24381"/>
                  <a:pt x="13042" y="24396"/>
                </a:cubicBezTo>
                <a:cubicBezTo>
                  <a:pt x="13103" y="24366"/>
                  <a:pt x="12965" y="24396"/>
                  <a:pt x="12950" y="24365"/>
                </a:cubicBezTo>
                <a:cubicBezTo>
                  <a:pt x="13012" y="24335"/>
                  <a:pt x="13069" y="24360"/>
                  <a:pt x="13134" y="24351"/>
                </a:cubicBezTo>
                <a:cubicBezTo>
                  <a:pt x="13186" y="24333"/>
                  <a:pt x="13045" y="24341"/>
                  <a:pt x="13024" y="24344"/>
                </a:cubicBezTo>
                <a:cubicBezTo>
                  <a:pt x="13012" y="24335"/>
                  <a:pt x="13042" y="24320"/>
                  <a:pt x="13052" y="24308"/>
                </a:cubicBezTo>
                <a:cubicBezTo>
                  <a:pt x="13137" y="24296"/>
                  <a:pt x="13140" y="24318"/>
                  <a:pt x="13189" y="24278"/>
                </a:cubicBezTo>
                <a:cubicBezTo>
                  <a:pt x="13290" y="24297"/>
                  <a:pt x="13159" y="24293"/>
                  <a:pt x="13152" y="24327"/>
                </a:cubicBezTo>
                <a:cubicBezTo>
                  <a:pt x="13250" y="24325"/>
                  <a:pt x="13247" y="24303"/>
                  <a:pt x="13278" y="24288"/>
                </a:cubicBezTo>
                <a:cubicBezTo>
                  <a:pt x="13382" y="24252"/>
                  <a:pt x="13492" y="24259"/>
                  <a:pt x="13599" y="24245"/>
                </a:cubicBezTo>
                <a:cubicBezTo>
                  <a:pt x="13602" y="24266"/>
                  <a:pt x="13528" y="24287"/>
                  <a:pt x="13531" y="24309"/>
                </a:cubicBezTo>
                <a:cubicBezTo>
                  <a:pt x="13574" y="24303"/>
                  <a:pt x="13620" y="24318"/>
                  <a:pt x="13675" y="24322"/>
                </a:cubicBezTo>
                <a:cubicBezTo>
                  <a:pt x="13730" y="24325"/>
                  <a:pt x="13785" y="24329"/>
                  <a:pt x="13837" y="24311"/>
                </a:cubicBezTo>
                <a:cubicBezTo>
                  <a:pt x="13937" y="24330"/>
                  <a:pt x="13962" y="24349"/>
                  <a:pt x="14166" y="24332"/>
                </a:cubicBezTo>
                <a:cubicBezTo>
                  <a:pt x="14099" y="24319"/>
                  <a:pt x="14026" y="24340"/>
                  <a:pt x="14032" y="24306"/>
                </a:cubicBezTo>
                <a:cubicBezTo>
                  <a:pt x="14094" y="24276"/>
                  <a:pt x="14170" y="24277"/>
                  <a:pt x="14234" y="24268"/>
                </a:cubicBezTo>
                <a:cubicBezTo>
                  <a:pt x="14286" y="24250"/>
                  <a:pt x="14210" y="24250"/>
                  <a:pt x="14284" y="24229"/>
                </a:cubicBezTo>
                <a:cubicBezTo>
                  <a:pt x="14198" y="24241"/>
                  <a:pt x="14012" y="24233"/>
                  <a:pt x="14005" y="24267"/>
                </a:cubicBezTo>
                <a:cubicBezTo>
                  <a:pt x="13993" y="24257"/>
                  <a:pt x="13969" y="24239"/>
                  <a:pt x="14021" y="24221"/>
                </a:cubicBezTo>
                <a:cubicBezTo>
                  <a:pt x="14107" y="24209"/>
                  <a:pt x="14079" y="24246"/>
                  <a:pt x="14180" y="24188"/>
                </a:cubicBezTo>
                <a:cubicBezTo>
                  <a:pt x="14299" y="24183"/>
                  <a:pt x="14131" y="24228"/>
                  <a:pt x="14238" y="24213"/>
                </a:cubicBezTo>
                <a:cubicBezTo>
                  <a:pt x="14223" y="24183"/>
                  <a:pt x="14339" y="24156"/>
                  <a:pt x="14437" y="24154"/>
                </a:cubicBezTo>
                <a:cubicBezTo>
                  <a:pt x="14499" y="24124"/>
                  <a:pt x="14413" y="24135"/>
                  <a:pt x="14339" y="24156"/>
                </a:cubicBezTo>
                <a:cubicBezTo>
                  <a:pt x="14379" y="24129"/>
                  <a:pt x="14422" y="24123"/>
                  <a:pt x="14453" y="24108"/>
                </a:cubicBezTo>
                <a:cubicBezTo>
                  <a:pt x="14486" y="24114"/>
                  <a:pt x="14627" y="24106"/>
                  <a:pt x="14566" y="24137"/>
                </a:cubicBezTo>
                <a:cubicBezTo>
                  <a:pt x="14609" y="24131"/>
                  <a:pt x="14762" y="24056"/>
                  <a:pt x="14725" y="24104"/>
                </a:cubicBezTo>
                <a:cubicBezTo>
                  <a:pt x="14768" y="24098"/>
                  <a:pt x="14798" y="24083"/>
                  <a:pt x="14829" y="24068"/>
                </a:cubicBezTo>
                <a:cubicBezTo>
                  <a:pt x="14869" y="24041"/>
                  <a:pt x="14900" y="24026"/>
                  <a:pt x="14952" y="24008"/>
                </a:cubicBezTo>
                <a:cubicBezTo>
                  <a:pt x="14976" y="24027"/>
                  <a:pt x="14924" y="24045"/>
                  <a:pt x="14893" y="24060"/>
                </a:cubicBezTo>
                <a:cubicBezTo>
                  <a:pt x="15000" y="24045"/>
                  <a:pt x="15205" y="24029"/>
                  <a:pt x="15242" y="23980"/>
                </a:cubicBezTo>
                <a:cubicBezTo>
                  <a:pt x="15273" y="23965"/>
                  <a:pt x="15432" y="23933"/>
                  <a:pt x="15340" y="23978"/>
                </a:cubicBezTo>
                <a:cubicBezTo>
                  <a:pt x="15362" y="23975"/>
                  <a:pt x="15392" y="23960"/>
                  <a:pt x="15414" y="23957"/>
                </a:cubicBezTo>
                <a:cubicBezTo>
                  <a:pt x="15445" y="23942"/>
                  <a:pt x="15466" y="23939"/>
                  <a:pt x="15497" y="23924"/>
                </a:cubicBezTo>
                <a:cubicBezTo>
                  <a:pt x="15549" y="23906"/>
                  <a:pt x="15589" y="23879"/>
                  <a:pt x="15641" y="23861"/>
                </a:cubicBezTo>
                <a:cubicBezTo>
                  <a:pt x="15733" y="23816"/>
                  <a:pt x="15801" y="23752"/>
                  <a:pt x="15838" y="23704"/>
                </a:cubicBezTo>
                <a:cubicBezTo>
                  <a:pt x="15890" y="23686"/>
                  <a:pt x="15933" y="23680"/>
                  <a:pt x="15994" y="23650"/>
                </a:cubicBezTo>
                <a:cubicBezTo>
                  <a:pt x="16080" y="23638"/>
                  <a:pt x="15917" y="23726"/>
                  <a:pt x="16034" y="23699"/>
                </a:cubicBezTo>
                <a:cubicBezTo>
                  <a:pt x="15994" y="23726"/>
                  <a:pt x="15963" y="23741"/>
                  <a:pt x="15941" y="23744"/>
                </a:cubicBezTo>
                <a:cubicBezTo>
                  <a:pt x="15920" y="23747"/>
                  <a:pt x="15899" y="23750"/>
                  <a:pt x="15856" y="23756"/>
                </a:cubicBezTo>
                <a:cubicBezTo>
                  <a:pt x="15764" y="23801"/>
                  <a:pt x="15736" y="23837"/>
                  <a:pt x="15834" y="23835"/>
                </a:cubicBezTo>
                <a:cubicBezTo>
                  <a:pt x="15843" y="23823"/>
                  <a:pt x="15821" y="23826"/>
                  <a:pt x="15800" y="23829"/>
                </a:cubicBezTo>
                <a:cubicBezTo>
                  <a:pt x="15871" y="23786"/>
                  <a:pt x="15932" y="23756"/>
                  <a:pt x="15996" y="23748"/>
                </a:cubicBezTo>
                <a:cubicBezTo>
                  <a:pt x="16030" y="23754"/>
                  <a:pt x="16009" y="23757"/>
                  <a:pt x="15978" y="23772"/>
                </a:cubicBezTo>
                <a:cubicBezTo>
                  <a:pt x="15956" y="23775"/>
                  <a:pt x="15926" y="23790"/>
                  <a:pt x="15916" y="23802"/>
                </a:cubicBezTo>
                <a:cubicBezTo>
                  <a:pt x="15950" y="23808"/>
                  <a:pt x="15981" y="23793"/>
                  <a:pt x="16011" y="23778"/>
                </a:cubicBezTo>
                <a:cubicBezTo>
                  <a:pt x="16033" y="23775"/>
                  <a:pt x="16064" y="23760"/>
                  <a:pt x="16097" y="23767"/>
                </a:cubicBezTo>
                <a:cubicBezTo>
                  <a:pt x="16119" y="23687"/>
                  <a:pt x="16364" y="23644"/>
                  <a:pt x="16535" y="23621"/>
                </a:cubicBezTo>
                <a:cubicBezTo>
                  <a:pt x="16563" y="23584"/>
                  <a:pt x="16594" y="23569"/>
                  <a:pt x="16591" y="23548"/>
                </a:cubicBezTo>
                <a:cubicBezTo>
                  <a:pt x="16600" y="23535"/>
                  <a:pt x="16567" y="23529"/>
                  <a:pt x="16493" y="23550"/>
                </a:cubicBezTo>
                <a:cubicBezTo>
                  <a:pt x="16539" y="23566"/>
                  <a:pt x="16444" y="23589"/>
                  <a:pt x="16371" y="23610"/>
                </a:cubicBezTo>
                <a:cubicBezTo>
                  <a:pt x="16349" y="23613"/>
                  <a:pt x="16401" y="23595"/>
                  <a:pt x="16432" y="23580"/>
                </a:cubicBezTo>
                <a:cubicBezTo>
                  <a:pt x="16386" y="23564"/>
                  <a:pt x="16171" y="23670"/>
                  <a:pt x="16055" y="23696"/>
                </a:cubicBezTo>
                <a:cubicBezTo>
                  <a:pt x="16147" y="23651"/>
                  <a:pt x="16251" y="23615"/>
                  <a:pt x="16344" y="23570"/>
                </a:cubicBezTo>
                <a:cubicBezTo>
                  <a:pt x="16396" y="23552"/>
                  <a:pt x="16448" y="23534"/>
                  <a:pt x="16509" y="23504"/>
                </a:cubicBezTo>
                <a:cubicBezTo>
                  <a:pt x="16561" y="23486"/>
                  <a:pt x="16623" y="23456"/>
                  <a:pt x="16675" y="23438"/>
                </a:cubicBezTo>
                <a:cubicBezTo>
                  <a:pt x="16788" y="23390"/>
                  <a:pt x="16902" y="23342"/>
                  <a:pt x="17015" y="23294"/>
                </a:cubicBezTo>
                <a:cubicBezTo>
                  <a:pt x="17046" y="23279"/>
                  <a:pt x="17068" y="23276"/>
                  <a:pt x="17098" y="23261"/>
                </a:cubicBezTo>
                <a:cubicBezTo>
                  <a:pt x="17129" y="23246"/>
                  <a:pt x="17160" y="23231"/>
                  <a:pt x="17181" y="23228"/>
                </a:cubicBezTo>
                <a:cubicBezTo>
                  <a:pt x="17230" y="23189"/>
                  <a:pt x="17282" y="23171"/>
                  <a:pt x="17332" y="23132"/>
                </a:cubicBezTo>
                <a:cubicBezTo>
                  <a:pt x="17353" y="23129"/>
                  <a:pt x="17325" y="23165"/>
                  <a:pt x="17295" y="23180"/>
                </a:cubicBezTo>
                <a:cubicBezTo>
                  <a:pt x="17359" y="23172"/>
                  <a:pt x="17420" y="23142"/>
                  <a:pt x="17457" y="23093"/>
                </a:cubicBezTo>
                <a:cubicBezTo>
                  <a:pt x="17503" y="23109"/>
                  <a:pt x="17540" y="23060"/>
                  <a:pt x="17635" y="23036"/>
                </a:cubicBezTo>
                <a:cubicBezTo>
                  <a:pt x="17699" y="23028"/>
                  <a:pt x="17506" y="23130"/>
                  <a:pt x="17632" y="23091"/>
                </a:cubicBezTo>
                <a:cubicBezTo>
                  <a:pt x="17687" y="23018"/>
                  <a:pt x="17730" y="23013"/>
                  <a:pt x="17896" y="22947"/>
                </a:cubicBezTo>
                <a:cubicBezTo>
                  <a:pt x="17942" y="22886"/>
                  <a:pt x="18010" y="22822"/>
                  <a:pt x="18127" y="22796"/>
                </a:cubicBezTo>
                <a:cubicBezTo>
                  <a:pt x="18167" y="22769"/>
                  <a:pt x="18185" y="22744"/>
                  <a:pt x="18225" y="22717"/>
                </a:cubicBezTo>
                <a:cubicBezTo>
                  <a:pt x="18256" y="22702"/>
                  <a:pt x="18296" y="22675"/>
                  <a:pt x="18314" y="22651"/>
                </a:cubicBezTo>
                <a:cubicBezTo>
                  <a:pt x="18431" y="22624"/>
                  <a:pt x="18594" y="22537"/>
                  <a:pt x="18754" y="22428"/>
                </a:cubicBezTo>
                <a:cubicBezTo>
                  <a:pt x="18914" y="22319"/>
                  <a:pt x="19083" y="22198"/>
                  <a:pt x="19276" y="22096"/>
                </a:cubicBezTo>
                <a:cubicBezTo>
                  <a:pt x="19252" y="22077"/>
                  <a:pt x="19329" y="22001"/>
                  <a:pt x="19384" y="22005"/>
                </a:cubicBezTo>
                <a:cubicBezTo>
                  <a:pt x="19452" y="21941"/>
                  <a:pt x="19419" y="21935"/>
                  <a:pt x="19416" y="21914"/>
                </a:cubicBezTo>
                <a:cubicBezTo>
                  <a:pt x="19447" y="21898"/>
                  <a:pt x="19465" y="21874"/>
                  <a:pt x="19487" y="21871"/>
                </a:cubicBezTo>
                <a:cubicBezTo>
                  <a:pt x="19489" y="21893"/>
                  <a:pt x="19523" y="21899"/>
                  <a:pt x="19455" y="21963"/>
                </a:cubicBezTo>
                <a:cubicBezTo>
                  <a:pt x="19578" y="21903"/>
                  <a:pt x="19468" y="21896"/>
                  <a:pt x="19603" y="21845"/>
                </a:cubicBezTo>
                <a:cubicBezTo>
                  <a:pt x="19616" y="21778"/>
                  <a:pt x="19647" y="21763"/>
                  <a:pt x="19745" y="21684"/>
                </a:cubicBezTo>
                <a:cubicBezTo>
                  <a:pt x="19797" y="21666"/>
                  <a:pt x="19760" y="21715"/>
                  <a:pt x="19723" y="21763"/>
                </a:cubicBezTo>
                <a:cubicBezTo>
                  <a:pt x="19741" y="21739"/>
                  <a:pt x="19760" y="21715"/>
                  <a:pt x="19791" y="21699"/>
                </a:cubicBezTo>
                <a:cubicBezTo>
                  <a:pt x="19809" y="21675"/>
                  <a:pt x="19828" y="21651"/>
                  <a:pt x="19859" y="21636"/>
                </a:cubicBezTo>
                <a:cubicBezTo>
                  <a:pt x="19908" y="21596"/>
                  <a:pt x="19954" y="21536"/>
                  <a:pt x="20004" y="21496"/>
                </a:cubicBezTo>
                <a:cubicBezTo>
                  <a:pt x="20112" y="21406"/>
                  <a:pt x="20198" y="21318"/>
                  <a:pt x="20229" y="21226"/>
                </a:cubicBezTo>
                <a:cubicBezTo>
                  <a:pt x="20307" y="21150"/>
                  <a:pt x="20319" y="21160"/>
                  <a:pt x="20368" y="21120"/>
                </a:cubicBezTo>
                <a:cubicBezTo>
                  <a:pt x="20429" y="21090"/>
                  <a:pt x="20355" y="21187"/>
                  <a:pt x="20426" y="21145"/>
                </a:cubicBezTo>
                <a:cubicBezTo>
                  <a:pt x="20472" y="21084"/>
                  <a:pt x="20460" y="21075"/>
                  <a:pt x="20427" y="21069"/>
                </a:cubicBezTo>
                <a:cubicBezTo>
                  <a:pt x="20516" y="21002"/>
                  <a:pt x="20473" y="21008"/>
                  <a:pt x="20550" y="20932"/>
                </a:cubicBezTo>
                <a:cubicBezTo>
                  <a:pt x="20624" y="20911"/>
                  <a:pt x="20543" y="21042"/>
                  <a:pt x="20454" y="21109"/>
                </a:cubicBezTo>
                <a:cubicBezTo>
                  <a:pt x="20506" y="21091"/>
                  <a:pt x="20487" y="21115"/>
                  <a:pt x="20457" y="21130"/>
                </a:cubicBezTo>
                <a:cubicBezTo>
                  <a:pt x="20527" y="21088"/>
                  <a:pt x="20619" y="21043"/>
                  <a:pt x="20697" y="20967"/>
                </a:cubicBezTo>
                <a:cubicBezTo>
                  <a:pt x="20706" y="20955"/>
                  <a:pt x="20737" y="20940"/>
                  <a:pt x="20755" y="20916"/>
                </a:cubicBezTo>
                <a:cubicBezTo>
                  <a:pt x="20774" y="20891"/>
                  <a:pt x="20792" y="20867"/>
                  <a:pt x="20811" y="20843"/>
                </a:cubicBezTo>
                <a:cubicBezTo>
                  <a:pt x="20851" y="20815"/>
                  <a:pt x="20885" y="20745"/>
                  <a:pt x="20922" y="20697"/>
                </a:cubicBezTo>
                <a:cubicBezTo>
                  <a:pt x="20981" y="20645"/>
                  <a:pt x="20860" y="20803"/>
                  <a:pt x="20949" y="20737"/>
                </a:cubicBezTo>
                <a:cubicBezTo>
                  <a:pt x="20965" y="20691"/>
                  <a:pt x="21024" y="20639"/>
                  <a:pt x="21092" y="20576"/>
                </a:cubicBezTo>
                <a:cubicBezTo>
                  <a:pt x="21110" y="20552"/>
                  <a:pt x="21150" y="20524"/>
                  <a:pt x="21178" y="20488"/>
                </a:cubicBezTo>
                <a:cubicBezTo>
                  <a:pt x="21218" y="20461"/>
                  <a:pt x="21246" y="20424"/>
                  <a:pt x="21265" y="20400"/>
                </a:cubicBezTo>
                <a:cubicBezTo>
                  <a:pt x="21302" y="20351"/>
                  <a:pt x="21271" y="20366"/>
                  <a:pt x="21296" y="20308"/>
                </a:cubicBezTo>
                <a:cubicBezTo>
                  <a:pt x="21308" y="20318"/>
                  <a:pt x="21292" y="20363"/>
                  <a:pt x="21342" y="20324"/>
                </a:cubicBezTo>
                <a:cubicBezTo>
                  <a:pt x="21388" y="20263"/>
                  <a:pt x="21348" y="20291"/>
                  <a:pt x="21373" y="20233"/>
                </a:cubicBezTo>
                <a:cubicBezTo>
                  <a:pt x="21395" y="20230"/>
                  <a:pt x="21367" y="20266"/>
                  <a:pt x="21398" y="20251"/>
                </a:cubicBezTo>
                <a:cubicBezTo>
                  <a:pt x="21478" y="20197"/>
                  <a:pt x="21530" y="20102"/>
                  <a:pt x="21497" y="20096"/>
                </a:cubicBezTo>
                <a:cubicBezTo>
                  <a:pt x="21528" y="20081"/>
                  <a:pt x="21537" y="20069"/>
                  <a:pt x="21555" y="20045"/>
                </a:cubicBezTo>
                <a:cubicBezTo>
                  <a:pt x="21577" y="20042"/>
                  <a:pt x="21549" y="20078"/>
                  <a:pt x="21530" y="20102"/>
                </a:cubicBezTo>
                <a:cubicBezTo>
                  <a:pt x="21549" y="20078"/>
                  <a:pt x="21580" y="20063"/>
                  <a:pt x="21598" y="20039"/>
                </a:cubicBezTo>
                <a:cubicBezTo>
                  <a:pt x="21617" y="20015"/>
                  <a:pt x="21635" y="19990"/>
                  <a:pt x="21654" y="19966"/>
                </a:cubicBezTo>
                <a:cubicBezTo>
                  <a:pt x="21703" y="19927"/>
                  <a:pt x="21750" y="19866"/>
                  <a:pt x="21787" y="19817"/>
                </a:cubicBezTo>
                <a:cubicBezTo>
                  <a:pt x="21883" y="19717"/>
                  <a:pt x="21948" y="19632"/>
                  <a:pt x="21982" y="19562"/>
                </a:cubicBezTo>
                <a:cubicBezTo>
                  <a:pt x="22124" y="19401"/>
                  <a:pt x="22060" y="19410"/>
                  <a:pt x="22159" y="19331"/>
                </a:cubicBezTo>
                <a:cubicBezTo>
                  <a:pt x="22184" y="19197"/>
                  <a:pt x="22243" y="19145"/>
                  <a:pt x="22300" y="18996"/>
                </a:cubicBezTo>
                <a:cubicBezTo>
                  <a:pt x="22272" y="19032"/>
                  <a:pt x="22235" y="19081"/>
                  <a:pt x="22207" y="19117"/>
                </a:cubicBezTo>
                <a:cubicBezTo>
                  <a:pt x="22213" y="19084"/>
                  <a:pt x="22232" y="19060"/>
                  <a:pt x="22260" y="19023"/>
                </a:cubicBezTo>
                <a:cubicBezTo>
                  <a:pt x="22278" y="18999"/>
                  <a:pt x="22297" y="18975"/>
                  <a:pt x="22315" y="18950"/>
                </a:cubicBezTo>
                <a:cubicBezTo>
                  <a:pt x="22334" y="18926"/>
                  <a:pt x="22318" y="18972"/>
                  <a:pt x="22300" y="18996"/>
                </a:cubicBezTo>
                <a:cubicBezTo>
                  <a:pt x="22393" y="18874"/>
                  <a:pt x="22488" y="18774"/>
                  <a:pt x="22569" y="18643"/>
                </a:cubicBezTo>
                <a:cubicBezTo>
                  <a:pt x="22600" y="18628"/>
                  <a:pt x="22563" y="18677"/>
                  <a:pt x="22565" y="18698"/>
                </a:cubicBezTo>
                <a:cubicBezTo>
                  <a:pt x="22603" y="18650"/>
                  <a:pt x="22649" y="18589"/>
                  <a:pt x="22683" y="18519"/>
                </a:cubicBezTo>
                <a:cubicBezTo>
                  <a:pt x="22666" y="18467"/>
                  <a:pt x="22737" y="18348"/>
                  <a:pt x="22830" y="18227"/>
                </a:cubicBezTo>
                <a:cubicBezTo>
                  <a:pt x="22864" y="18157"/>
                  <a:pt x="22911" y="18096"/>
                  <a:pt x="22945" y="18026"/>
                </a:cubicBezTo>
                <a:cubicBezTo>
                  <a:pt x="23001" y="17953"/>
                  <a:pt x="23026" y="17895"/>
                  <a:pt x="23039" y="17828"/>
                </a:cubicBezTo>
                <a:cubicBezTo>
                  <a:pt x="22942" y="18005"/>
                  <a:pt x="22942" y="18005"/>
                  <a:pt x="22942" y="18005"/>
                </a:cubicBezTo>
                <a:cubicBezTo>
                  <a:pt x="22908" y="18075"/>
                  <a:pt x="22871" y="18123"/>
                  <a:pt x="22824" y="18184"/>
                </a:cubicBezTo>
                <a:cubicBezTo>
                  <a:pt x="22753" y="18303"/>
                  <a:pt x="22691" y="18409"/>
                  <a:pt x="22619" y="18528"/>
                </a:cubicBezTo>
                <a:cubicBezTo>
                  <a:pt x="22651" y="18436"/>
                  <a:pt x="22706" y="18363"/>
                  <a:pt x="22750" y="18281"/>
                </a:cubicBezTo>
                <a:cubicBezTo>
                  <a:pt x="22744" y="18238"/>
                  <a:pt x="22688" y="18388"/>
                  <a:pt x="22648" y="18415"/>
                </a:cubicBezTo>
                <a:cubicBezTo>
                  <a:pt x="22673" y="18357"/>
                  <a:pt x="22689" y="18311"/>
                  <a:pt x="22704" y="18266"/>
                </a:cubicBezTo>
                <a:cubicBezTo>
                  <a:pt x="22732" y="18229"/>
                  <a:pt x="22726" y="18263"/>
                  <a:pt x="22754" y="18226"/>
                </a:cubicBezTo>
                <a:cubicBezTo>
                  <a:pt x="22797" y="18144"/>
                  <a:pt x="22801" y="18089"/>
                  <a:pt x="22826" y="18031"/>
                </a:cubicBezTo>
                <a:cubicBezTo>
                  <a:pt x="22842" y="17985"/>
                  <a:pt x="22855" y="17918"/>
                  <a:pt x="22920" y="17833"/>
                </a:cubicBezTo>
                <a:cubicBezTo>
                  <a:pt x="22929" y="17821"/>
                  <a:pt x="22923" y="17855"/>
                  <a:pt x="22898" y="17912"/>
                </a:cubicBezTo>
                <a:cubicBezTo>
                  <a:pt x="22900" y="17934"/>
                  <a:pt x="22882" y="17958"/>
                  <a:pt x="22885" y="17980"/>
                </a:cubicBezTo>
                <a:cubicBezTo>
                  <a:pt x="22866" y="18004"/>
                  <a:pt x="22869" y="18025"/>
                  <a:pt x="22860" y="18037"/>
                </a:cubicBezTo>
                <a:cubicBezTo>
                  <a:pt x="22872" y="18047"/>
                  <a:pt x="22909" y="17998"/>
                  <a:pt x="22905" y="18053"/>
                </a:cubicBezTo>
                <a:cubicBezTo>
                  <a:pt x="22921" y="18007"/>
                  <a:pt x="22910" y="17845"/>
                  <a:pt x="23022" y="17699"/>
                </a:cubicBezTo>
                <a:cubicBezTo>
                  <a:pt x="23041" y="17675"/>
                  <a:pt x="23055" y="17706"/>
                  <a:pt x="23030" y="17764"/>
                </a:cubicBezTo>
                <a:cubicBezTo>
                  <a:pt x="23086" y="17691"/>
                  <a:pt x="23060" y="17574"/>
                  <a:pt x="23153" y="17453"/>
                </a:cubicBezTo>
                <a:cubicBezTo>
                  <a:pt x="23209" y="17380"/>
                  <a:pt x="23152" y="17529"/>
                  <a:pt x="23217" y="17444"/>
                </a:cubicBezTo>
                <a:cubicBezTo>
                  <a:pt x="23224" y="17411"/>
                  <a:pt x="23214" y="17423"/>
                  <a:pt x="23205" y="17435"/>
                </a:cubicBezTo>
                <a:cubicBezTo>
                  <a:pt x="23193" y="17426"/>
                  <a:pt x="23255" y="17319"/>
                  <a:pt x="23212" y="17325"/>
                </a:cubicBezTo>
                <a:cubicBezTo>
                  <a:pt x="23231" y="17301"/>
                  <a:pt x="23299" y="17161"/>
                  <a:pt x="23257" y="17166"/>
                </a:cubicBezTo>
                <a:cubicBezTo>
                  <a:pt x="23294" y="17118"/>
                  <a:pt x="23297" y="17063"/>
                  <a:pt x="23335" y="17014"/>
                </a:cubicBezTo>
                <a:cubicBezTo>
                  <a:pt x="23359" y="17033"/>
                  <a:pt x="23314" y="17191"/>
                  <a:pt x="23345" y="17176"/>
                </a:cubicBezTo>
                <a:cubicBezTo>
                  <a:pt x="23358" y="17109"/>
                  <a:pt x="23380" y="17030"/>
                  <a:pt x="23402" y="16951"/>
                </a:cubicBezTo>
                <a:cubicBezTo>
                  <a:pt x="23440" y="16902"/>
                  <a:pt x="23427" y="16969"/>
                  <a:pt x="23470" y="16887"/>
                </a:cubicBezTo>
                <a:cubicBezTo>
                  <a:pt x="23518" y="16750"/>
                  <a:pt x="23577" y="16622"/>
                  <a:pt x="23627" y="16506"/>
                </a:cubicBezTo>
                <a:cubicBezTo>
                  <a:pt x="23664" y="16457"/>
                  <a:pt x="23605" y="16585"/>
                  <a:pt x="23611" y="16628"/>
                </a:cubicBezTo>
                <a:cubicBezTo>
                  <a:pt x="23698" y="16464"/>
                  <a:pt x="23634" y="16396"/>
                  <a:pt x="23734" y="16241"/>
                </a:cubicBezTo>
                <a:cubicBezTo>
                  <a:pt x="23749" y="16195"/>
                  <a:pt x="23741" y="16131"/>
                  <a:pt x="23769" y="16094"/>
                </a:cubicBezTo>
                <a:cubicBezTo>
                  <a:pt x="23760" y="16030"/>
                  <a:pt x="23734" y="16164"/>
                  <a:pt x="23713" y="16167"/>
                </a:cubicBezTo>
                <a:cubicBezTo>
                  <a:pt x="23710" y="16146"/>
                  <a:pt x="23707" y="16125"/>
                  <a:pt x="23714" y="16091"/>
                </a:cubicBezTo>
                <a:cubicBezTo>
                  <a:pt x="23751" y="16042"/>
                  <a:pt x="23773" y="15963"/>
                  <a:pt x="23798" y="15905"/>
                </a:cubicBezTo>
                <a:cubicBezTo>
                  <a:pt x="23805" y="15872"/>
                  <a:pt x="23811" y="15838"/>
                  <a:pt x="23830" y="15814"/>
                </a:cubicBezTo>
                <a:cubicBezTo>
                  <a:pt x="23846" y="15768"/>
                  <a:pt x="23852" y="15734"/>
                  <a:pt x="23871" y="15710"/>
                </a:cubicBezTo>
                <a:cubicBezTo>
                  <a:pt x="23883" y="15719"/>
                  <a:pt x="23888" y="15762"/>
                  <a:pt x="23863" y="15820"/>
                </a:cubicBezTo>
                <a:cubicBezTo>
                  <a:pt x="23848" y="15866"/>
                  <a:pt x="23823" y="15924"/>
                  <a:pt x="23795" y="15960"/>
                </a:cubicBezTo>
                <a:cubicBezTo>
                  <a:pt x="23791" y="16015"/>
                  <a:pt x="23778" y="16082"/>
                  <a:pt x="23765" y="16149"/>
                </a:cubicBezTo>
                <a:cubicBezTo>
                  <a:pt x="23787" y="16070"/>
                  <a:pt x="23887" y="15915"/>
                  <a:pt x="23882" y="15796"/>
                </a:cubicBezTo>
                <a:cubicBezTo>
                  <a:pt x="23926" y="15714"/>
                  <a:pt x="23909" y="15836"/>
                  <a:pt x="23953" y="15754"/>
                </a:cubicBezTo>
                <a:cubicBezTo>
                  <a:pt x="23944" y="15689"/>
                  <a:pt x="23954" y="15601"/>
                  <a:pt x="23983" y="15488"/>
                </a:cubicBezTo>
                <a:cubicBezTo>
                  <a:pt x="23999" y="15442"/>
                  <a:pt x="24014" y="15396"/>
                  <a:pt x="24027" y="15329"/>
                </a:cubicBezTo>
                <a:cubicBezTo>
                  <a:pt x="24034" y="15296"/>
                  <a:pt x="24052" y="15271"/>
                  <a:pt x="24050" y="15250"/>
                </a:cubicBezTo>
                <a:cubicBezTo>
                  <a:pt x="24056" y="15216"/>
                  <a:pt x="24062" y="15183"/>
                  <a:pt x="24072" y="15171"/>
                </a:cubicBezTo>
                <a:cubicBezTo>
                  <a:pt x="24109" y="15122"/>
                  <a:pt x="24059" y="15238"/>
                  <a:pt x="24074" y="15268"/>
                </a:cubicBezTo>
                <a:cubicBezTo>
                  <a:pt x="24093" y="15168"/>
                  <a:pt x="24111" y="15220"/>
                  <a:pt x="24145" y="15150"/>
                </a:cubicBezTo>
                <a:cubicBezTo>
                  <a:pt x="24150" y="15018"/>
                  <a:pt x="24200" y="14903"/>
                  <a:pt x="24204" y="14771"/>
                </a:cubicBezTo>
                <a:cubicBezTo>
                  <a:pt x="24248" y="14689"/>
                  <a:pt x="24254" y="14655"/>
                  <a:pt x="24246" y="14591"/>
                </a:cubicBezTo>
                <a:cubicBezTo>
                  <a:pt x="24249" y="14536"/>
                  <a:pt x="24241" y="14472"/>
                  <a:pt x="24245" y="14340"/>
                </a:cubicBezTo>
                <a:cubicBezTo>
                  <a:pt x="24226" y="14441"/>
                  <a:pt x="24228" y="14539"/>
                  <a:pt x="24197" y="14631"/>
                </a:cubicBezTo>
                <a:cubicBezTo>
                  <a:pt x="24193" y="14686"/>
                  <a:pt x="24202" y="14673"/>
                  <a:pt x="24221" y="14649"/>
                </a:cubicBezTo>
                <a:cubicBezTo>
                  <a:pt x="24208" y="14716"/>
                  <a:pt x="24204" y="14771"/>
                  <a:pt x="24179" y="14829"/>
                </a:cubicBezTo>
                <a:cubicBezTo>
                  <a:pt x="24142" y="14878"/>
                  <a:pt x="24180" y="14753"/>
                  <a:pt x="24177" y="14731"/>
                </a:cubicBezTo>
                <a:cubicBezTo>
                  <a:pt x="24159" y="14756"/>
                  <a:pt x="24043" y="14956"/>
                  <a:pt x="24060" y="15085"/>
                </a:cubicBezTo>
                <a:cubicBezTo>
                  <a:pt x="24033" y="15121"/>
                  <a:pt x="23998" y="15191"/>
                  <a:pt x="23988" y="15280"/>
                </a:cubicBezTo>
                <a:cubicBezTo>
                  <a:pt x="23957" y="15371"/>
                  <a:pt x="23925" y="15463"/>
                  <a:pt x="23915" y="15551"/>
                </a:cubicBezTo>
                <a:cubicBezTo>
                  <a:pt x="23878" y="15600"/>
                  <a:pt x="23872" y="15557"/>
                  <a:pt x="23874" y="15655"/>
                </a:cubicBezTo>
                <a:cubicBezTo>
                  <a:pt x="23849" y="15713"/>
                  <a:pt x="23824" y="15771"/>
                  <a:pt x="23799" y="15829"/>
                </a:cubicBezTo>
                <a:cubicBezTo>
                  <a:pt x="23771" y="15865"/>
                  <a:pt x="23746" y="15923"/>
                  <a:pt x="23721" y="15981"/>
                </a:cubicBezTo>
                <a:cubicBezTo>
                  <a:pt x="23683" y="16106"/>
                  <a:pt x="23642" y="16210"/>
                  <a:pt x="23614" y="16322"/>
                </a:cubicBezTo>
                <a:cubicBezTo>
                  <a:pt x="23580" y="16316"/>
                  <a:pt x="23504" y="16566"/>
                  <a:pt x="23502" y="16468"/>
                </a:cubicBezTo>
                <a:cubicBezTo>
                  <a:pt x="23499" y="16523"/>
                  <a:pt x="23464" y="16593"/>
                  <a:pt x="23433" y="16685"/>
                </a:cubicBezTo>
                <a:cubicBezTo>
                  <a:pt x="23461" y="16648"/>
                  <a:pt x="23467" y="16615"/>
                  <a:pt x="23507" y="16588"/>
                </a:cubicBezTo>
                <a:cubicBezTo>
                  <a:pt x="23491" y="16633"/>
                  <a:pt x="23476" y="16679"/>
                  <a:pt x="23460" y="16725"/>
                </a:cubicBezTo>
                <a:cubicBezTo>
                  <a:pt x="23438" y="16728"/>
                  <a:pt x="23438" y="16728"/>
                  <a:pt x="23433" y="16685"/>
                </a:cubicBezTo>
                <a:cubicBezTo>
                  <a:pt x="23396" y="16733"/>
                  <a:pt x="23392" y="16788"/>
                  <a:pt x="23355" y="16837"/>
                </a:cubicBezTo>
                <a:cubicBezTo>
                  <a:pt x="23339" y="16883"/>
                  <a:pt x="23358" y="16858"/>
                  <a:pt x="23351" y="16892"/>
                </a:cubicBezTo>
                <a:cubicBezTo>
                  <a:pt x="23314" y="16941"/>
                  <a:pt x="23286" y="16977"/>
                  <a:pt x="23273" y="17044"/>
                </a:cubicBezTo>
                <a:cubicBezTo>
                  <a:pt x="23255" y="17069"/>
                  <a:pt x="23227" y="17105"/>
                  <a:pt x="23220" y="17139"/>
                </a:cubicBezTo>
                <a:cubicBezTo>
                  <a:pt x="23183" y="17187"/>
                  <a:pt x="23237" y="17016"/>
                  <a:pt x="23184" y="17111"/>
                </a:cubicBezTo>
                <a:cubicBezTo>
                  <a:pt x="23192" y="17175"/>
                  <a:pt x="23142" y="17291"/>
                  <a:pt x="23080" y="17397"/>
                </a:cubicBezTo>
                <a:cubicBezTo>
                  <a:pt x="23030" y="17513"/>
                  <a:pt x="22965" y="17598"/>
                  <a:pt x="22937" y="17635"/>
                </a:cubicBezTo>
                <a:cubicBezTo>
                  <a:pt x="22881" y="17708"/>
                  <a:pt x="22931" y="17668"/>
                  <a:pt x="22906" y="17726"/>
                </a:cubicBezTo>
                <a:cubicBezTo>
                  <a:pt x="22899" y="17760"/>
                  <a:pt x="22890" y="17772"/>
                  <a:pt x="22871" y="17796"/>
                </a:cubicBezTo>
                <a:cubicBezTo>
                  <a:pt x="22825" y="17857"/>
                  <a:pt x="22850" y="17799"/>
                  <a:pt x="22794" y="17872"/>
                </a:cubicBezTo>
                <a:cubicBezTo>
                  <a:pt x="22785" y="17884"/>
                  <a:pt x="22778" y="17918"/>
                  <a:pt x="22769" y="17930"/>
                </a:cubicBezTo>
                <a:cubicBezTo>
                  <a:pt x="22763" y="17963"/>
                  <a:pt x="22753" y="17975"/>
                  <a:pt x="22735" y="18000"/>
                </a:cubicBezTo>
                <a:cubicBezTo>
                  <a:pt x="22719" y="18046"/>
                  <a:pt x="22682" y="18094"/>
                  <a:pt x="22657" y="18152"/>
                </a:cubicBezTo>
                <a:cubicBezTo>
                  <a:pt x="22582" y="18249"/>
                  <a:pt x="22520" y="18356"/>
                  <a:pt x="22455" y="18441"/>
                </a:cubicBezTo>
                <a:cubicBezTo>
                  <a:pt x="22442" y="18508"/>
                  <a:pt x="22405" y="18557"/>
                  <a:pt x="22389" y="18602"/>
                </a:cubicBezTo>
                <a:cubicBezTo>
                  <a:pt x="22466" y="18526"/>
                  <a:pt x="22421" y="18511"/>
                  <a:pt x="22486" y="18426"/>
                </a:cubicBezTo>
                <a:cubicBezTo>
                  <a:pt x="22482" y="18481"/>
                  <a:pt x="22491" y="18469"/>
                  <a:pt x="22541" y="18429"/>
                </a:cubicBezTo>
                <a:cubicBezTo>
                  <a:pt x="22496" y="18588"/>
                  <a:pt x="22401" y="18688"/>
                  <a:pt x="22358" y="18694"/>
                </a:cubicBezTo>
                <a:cubicBezTo>
                  <a:pt x="22371" y="18627"/>
                  <a:pt x="22444" y="18606"/>
                  <a:pt x="22457" y="18539"/>
                </a:cubicBezTo>
                <a:cubicBezTo>
                  <a:pt x="22404" y="18633"/>
                  <a:pt x="22352" y="18651"/>
                  <a:pt x="22374" y="18572"/>
                </a:cubicBezTo>
                <a:cubicBezTo>
                  <a:pt x="22303" y="18690"/>
                  <a:pt x="22207" y="18790"/>
                  <a:pt x="22126" y="18921"/>
                </a:cubicBezTo>
                <a:cubicBezTo>
                  <a:pt x="22118" y="18857"/>
                  <a:pt x="22121" y="18878"/>
                  <a:pt x="22046" y="18976"/>
                </a:cubicBezTo>
                <a:cubicBezTo>
                  <a:pt x="22081" y="18906"/>
                  <a:pt x="22127" y="18845"/>
                  <a:pt x="22186" y="18793"/>
                </a:cubicBezTo>
                <a:cubicBezTo>
                  <a:pt x="22201" y="18748"/>
                  <a:pt x="22136" y="18833"/>
                  <a:pt x="22161" y="18775"/>
                </a:cubicBezTo>
                <a:cubicBezTo>
                  <a:pt x="22127" y="18845"/>
                  <a:pt x="22068" y="18896"/>
                  <a:pt x="22013" y="18969"/>
                </a:cubicBezTo>
                <a:cubicBezTo>
                  <a:pt x="22000" y="19036"/>
                  <a:pt x="22056" y="18963"/>
                  <a:pt x="22105" y="18924"/>
                </a:cubicBezTo>
                <a:cubicBezTo>
                  <a:pt x="22033" y="19043"/>
                  <a:pt x="21947" y="19131"/>
                  <a:pt x="21888" y="19259"/>
                </a:cubicBezTo>
                <a:cubicBezTo>
                  <a:pt x="21902" y="19289"/>
                  <a:pt x="21942" y="19262"/>
                  <a:pt x="21927" y="19308"/>
                </a:cubicBezTo>
                <a:cubicBezTo>
                  <a:pt x="21855" y="19426"/>
                  <a:pt x="21912" y="19277"/>
                  <a:pt x="21825" y="19365"/>
                </a:cubicBezTo>
                <a:cubicBezTo>
                  <a:pt x="21804" y="19368"/>
                  <a:pt x="21853" y="19329"/>
                  <a:pt x="21860" y="19295"/>
                </a:cubicBezTo>
                <a:cubicBezTo>
                  <a:pt x="21829" y="19310"/>
                  <a:pt x="21801" y="19347"/>
                  <a:pt x="21773" y="19383"/>
                </a:cubicBezTo>
                <a:cubicBezTo>
                  <a:pt x="21733" y="19410"/>
                  <a:pt x="21696" y="19459"/>
                  <a:pt x="21659" y="19507"/>
                </a:cubicBezTo>
                <a:cubicBezTo>
                  <a:pt x="21582" y="19583"/>
                  <a:pt x="21517" y="19668"/>
                  <a:pt x="21446" y="19710"/>
                </a:cubicBezTo>
                <a:cubicBezTo>
                  <a:pt x="21430" y="19756"/>
                  <a:pt x="21402" y="19793"/>
                  <a:pt x="21365" y="19841"/>
                </a:cubicBezTo>
                <a:cubicBezTo>
                  <a:pt x="21337" y="19878"/>
                  <a:pt x="21309" y="19914"/>
                  <a:pt x="21282" y="19951"/>
                </a:cubicBezTo>
                <a:cubicBezTo>
                  <a:pt x="21223" y="20002"/>
                  <a:pt x="21167" y="20075"/>
                  <a:pt x="21099" y="20139"/>
                </a:cubicBezTo>
                <a:cubicBezTo>
                  <a:pt x="21038" y="20169"/>
                  <a:pt x="21162" y="20032"/>
                  <a:pt x="21156" y="19989"/>
                </a:cubicBezTo>
                <a:cubicBezTo>
                  <a:pt x="21036" y="20071"/>
                  <a:pt x="21069" y="20154"/>
                  <a:pt x="21011" y="20129"/>
                </a:cubicBezTo>
                <a:cubicBezTo>
                  <a:pt x="20995" y="20175"/>
                  <a:pt x="20998" y="20196"/>
                  <a:pt x="21050" y="20178"/>
                </a:cubicBezTo>
                <a:cubicBezTo>
                  <a:pt x="21022" y="20215"/>
                  <a:pt x="20994" y="20251"/>
                  <a:pt x="20976" y="20275"/>
                </a:cubicBezTo>
                <a:cubicBezTo>
                  <a:pt x="20936" y="20302"/>
                  <a:pt x="20908" y="20339"/>
                  <a:pt x="20889" y="20363"/>
                </a:cubicBezTo>
                <a:cubicBezTo>
                  <a:pt x="20831" y="20415"/>
                  <a:pt x="20772" y="20466"/>
                  <a:pt x="20704" y="20530"/>
                </a:cubicBezTo>
                <a:cubicBezTo>
                  <a:pt x="20698" y="20563"/>
                  <a:pt x="20670" y="20600"/>
                  <a:pt x="20633" y="20649"/>
                </a:cubicBezTo>
                <a:cubicBezTo>
                  <a:pt x="20614" y="20673"/>
                  <a:pt x="20583" y="20688"/>
                  <a:pt x="20565" y="20712"/>
                </a:cubicBezTo>
                <a:cubicBezTo>
                  <a:pt x="20546" y="20737"/>
                  <a:pt x="20516" y="20752"/>
                  <a:pt x="20497" y="20776"/>
                </a:cubicBezTo>
                <a:cubicBezTo>
                  <a:pt x="20476" y="20779"/>
                  <a:pt x="20503" y="20742"/>
                  <a:pt x="20522" y="20718"/>
                </a:cubicBezTo>
                <a:cubicBezTo>
                  <a:pt x="20541" y="20694"/>
                  <a:pt x="20571" y="20679"/>
                  <a:pt x="20611" y="20651"/>
                </a:cubicBezTo>
                <a:cubicBezTo>
                  <a:pt x="20630" y="20627"/>
                  <a:pt x="20618" y="20618"/>
                  <a:pt x="20618" y="20618"/>
                </a:cubicBezTo>
                <a:cubicBezTo>
                  <a:pt x="20627" y="20606"/>
                  <a:pt x="20624" y="20584"/>
                  <a:pt x="20633" y="20572"/>
                </a:cubicBezTo>
                <a:cubicBezTo>
                  <a:pt x="20575" y="20624"/>
                  <a:pt x="20531" y="20706"/>
                  <a:pt x="20448" y="20739"/>
                </a:cubicBezTo>
                <a:cubicBezTo>
                  <a:pt x="20467" y="20714"/>
                  <a:pt x="20486" y="20690"/>
                  <a:pt x="20495" y="20678"/>
                </a:cubicBezTo>
                <a:cubicBezTo>
                  <a:pt x="20526" y="20663"/>
                  <a:pt x="20544" y="20639"/>
                  <a:pt x="20553" y="20627"/>
                </a:cubicBezTo>
                <a:cubicBezTo>
                  <a:pt x="20560" y="20593"/>
                  <a:pt x="20541" y="20617"/>
                  <a:pt x="20501" y="20644"/>
                </a:cubicBezTo>
                <a:cubicBezTo>
                  <a:pt x="20473" y="20681"/>
                  <a:pt x="20433" y="20708"/>
                  <a:pt x="20415" y="20732"/>
                </a:cubicBezTo>
                <a:cubicBezTo>
                  <a:pt x="20493" y="20580"/>
                  <a:pt x="20276" y="20838"/>
                  <a:pt x="20175" y="20896"/>
                </a:cubicBezTo>
                <a:cubicBezTo>
                  <a:pt x="20199" y="20914"/>
                  <a:pt x="20196" y="20969"/>
                  <a:pt x="20128" y="21033"/>
                </a:cubicBezTo>
                <a:cubicBezTo>
                  <a:pt x="20150" y="20953"/>
                  <a:pt x="20063" y="21041"/>
                  <a:pt x="20039" y="21023"/>
                </a:cubicBezTo>
                <a:cubicBezTo>
                  <a:pt x="20030" y="21035"/>
                  <a:pt x="20011" y="21059"/>
                  <a:pt x="19990" y="21062"/>
                </a:cubicBezTo>
                <a:cubicBezTo>
                  <a:pt x="20045" y="21066"/>
                  <a:pt x="19916" y="21159"/>
                  <a:pt x="19921" y="21202"/>
                </a:cubicBezTo>
                <a:cubicBezTo>
                  <a:pt x="19872" y="21242"/>
                  <a:pt x="19709" y="21329"/>
                  <a:pt x="19616" y="21450"/>
                </a:cubicBezTo>
                <a:cubicBezTo>
                  <a:pt x="19555" y="21481"/>
                  <a:pt x="19601" y="21420"/>
                  <a:pt x="19598" y="21398"/>
                </a:cubicBezTo>
                <a:cubicBezTo>
                  <a:pt x="19488" y="21468"/>
                  <a:pt x="19398" y="21534"/>
                  <a:pt x="19325" y="21555"/>
                </a:cubicBezTo>
                <a:cubicBezTo>
                  <a:pt x="19306" y="21579"/>
                  <a:pt x="19288" y="21604"/>
                  <a:pt x="19260" y="21640"/>
                </a:cubicBezTo>
                <a:cubicBezTo>
                  <a:pt x="19355" y="21616"/>
                  <a:pt x="19355" y="21616"/>
                  <a:pt x="19355" y="21616"/>
                </a:cubicBezTo>
                <a:cubicBezTo>
                  <a:pt x="19408" y="21522"/>
                  <a:pt x="19493" y="21511"/>
                  <a:pt x="19552" y="21459"/>
                </a:cubicBezTo>
                <a:cubicBezTo>
                  <a:pt x="19487" y="21544"/>
                  <a:pt x="19383" y="21580"/>
                  <a:pt x="19305" y="21656"/>
                </a:cubicBezTo>
                <a:cubicBezTo>
                  <a:pt x="19290" y="21625"/>
                  <a:pt x="19241" y="21664"/>
                  <a:pt x="19171" y="21707"/>
                </a:cubicBezTo>
                <a:cubicBezTo>
                  <a:pt x="19131" y="21734"/>
                  <a:pt x="19091" y="21761"/>
                  <a:pt x="19051" y="21788"/>
                </a:cubicBezTo>
                <a:cubicBezTo>
                  <a:pt x="19011" y="21815"/>
                  <a:pt x="18971" y="21843"/>
                  <a:pt x="18928" y="21848"/>
                </a:cubicBezTo>
                <a:cubicBezTo>
                  <a:pt x="18989" y="21818"/>
                  <a:pt x="19038" y="21779"/>
                  <a:pt x="19100" y="21749"/>
                </a:cubicBezTo>
                <a:cubicBezTo>
                  <a:pt x="19085" y="21718"/>
                  <a:pt x="18946" y="21824"/>
                  <a:pt x="18888" y="21876"/>
                </a:cubicBezTo>
                <a:cubicBezTo>
                  <a:pt x="18878" y="21888"/>
                  <a:pt x="18891" y="21897"/>
                  <a:pt x="18875" y="21943"/>
                </a:cubicBezTo>
                <a:cubicBezTo>
                  <a:pt x="18776" y="22021"/>
                  <a:pt x="18798" y="21942"/>
                  <a:pt x="18758" y="21969"/>
                </a:cubicBezTo>
                <a:cubicBezTo>
                  <a:pt x="18740" y="21994"/>
                  <a:pt x="18709" y="22009"/>
                  <a:pt x="18688" y="22012"/>
                </a:cubicBezTo>
                <a:cubicBezTo>
                  <a:pt x="18691" y="22033"/>
                  <a:pt x="18672" y="22057"/>
                  <a:pt x="18641" y="22072"/>
                </a:cubicBezTo>
                <a:cubicBezTo>
                  <a:pt x="18601" y="22100"/>
                  <a:pt x="18561" y="22127"/>
                  <a:pt x="18497" y="22135"/>
                </a:cubicBezTo>
                <a:cubicBezTo>
                  <a:pt x="18573" y="22136"/>
                  <a:pt x="18478" y="22160"/>
                  <a:pt x="18404" y="22257"/>
                </a:cubicBezTo>
                <a:cubicBezTo>
                  <a:pt x="18278" y="22296"/>
                  <a:pt x="18531" y="22142"/>
                  <a:pt x="18374" y="22196"/>
                </a:cubicBezTo>
                <a:cubicBezTo>
                  <a:pt x="18361" y="22263"/>
                  <a:pt x="18288" y="22283"/>
                  <a:pt x="18253" y="22354"/>
                </a:cubicBezTo>
                <a:cubicBezTo>
                  <a:pt x="18137" y="22380"/>
                  <a:pt x="18349" y="22253"/>
                  <a:pt x="18306" y="22259"/>
                </a:cubicBezTo>
                <a:cubicBezTo>
                  <a:pt x="18214" y="22304"/>
                  <a:pt x="18196" y="22329"/>
                  <a:pt x="18149" y="22389"/>
                </a:cubicBezTo>
                <a:cubicBezTo>
                  <a:pt x="18054" y="22413"/>
                  <a:pt x="18208" y="22338"/>
                  <a:pt x="18174" y="22331"/>
                </a:cubicBezTo>
                <a:cubicBezTo>
                  <a:pt x="17987" y="22400"/>
                  <a:pt x="17953" y="22470"/>
                  <a:pt x="17793" y="22579"/>
                </a:cubicBezTo>
                <a:cubicBezTo>
                  <a:pt x="17729" y="22588"/>
                  <a:pt x="17747" y="22563"/>
                  <a:pt x="17674" y="22584"/>
                </a:cubicBezTo>
                <a:cubicBezTo>
                  <a:pt x="17596" y="22660"/>
                  <a:pt x="17501" y="22684"/>
                  <a:pt x="17421" y="22738"/>
                </a:cubicBezTo>
                <a:cubicBezTo>
                  <a:pt x="17388" y="22732"/>
                  <a:pt x="17428" y="22705"/>
                  <a:pt x="17404" y="22686"/>
                </a:cubicBezTo>
                <a:cubicBezTo>
                  <a:pt x="17434" y="22671"/>
                  <a:pt x="17465" y="22656"/>
                  <a:pt x="17484" y="22632"/>
                </a:cubicBezTo>
                <a:cubicBezTo>
                  <a:pt x="17557" y="22611"/>
                  <a:pt x="17499" y="22662"/>
                  <a:pt x="17489" y="22674"/>
                </a:cubicBezTo>
                <a:cubicBezTo>
                  <a:pt x="17621" y="22602"/>
                  <a:pt x="17637" y="22556"/>
                  <a:pt x="17781" y="22493"/>
                </a:cubicBezTo>
                <a:cubicBezTo>
                  <a:pt x="17699" y="22526"/>
                  <a:pt x="17604" y="22550"/>
                  <a:pt x="17514" y="22617"/>
                </a:cubicBezTo>
                <a:cubicBezTo>
                  <a:pt x="17441" y="22637"/>
                  <a:pt x="17637" y="22556"/>
                  <a:pt x="17552" y="22568"/>
                </a:cubicBezTo>
                <a:cubicBezTo>
                  <a:pt x="17656" y="22532"/>
                  <a:pt x="17736" y="22478"/>
                  <a:pt x="17828" y="22433"/>
                </a:cubicBezTo>
                <a:cubicBezTo>
                  <a:pt x="17837" y="22420"/>
                  <a:pt x="17806" y="22435"/>
                  <a:pt x="17825" y="22411"/>
                </a:cubicBezTo>
                <a:cubicBezTo>
                  <a:pt x="17884" y="22360"/>
                  <a:pt x="17859" y="22418"/>
                  <a:pt x="17932" y="22397"/>
                </a:cubicBezTo>
                <a:cubicBezTo>
                  <a:pt x="17960" y="22360"/>
                  <a:pt x="17991" y="22345"/>
                  <a:pt x="18021" y="22330"/>
                </a:cubicBezTo>
                <a:cubicBezTo>
                  <a:pt x="18010" y="22245"/>
                  <a:pt x="18215" y="22228"/>
                  <a:pt x="18299" y="22118"/>
                </a:cubicBezTo>
                <a:cubicBezTo>
                  <a:pt x="18372" y="22098"/>
                  <a:pt x="18295" y="22173"/>
                  <a:pt x="18396" y="22116"/>
                </a:cubicBezTo>
                <a:cubicBezTo>
                  <a:pt x="18443" y="22055"/>
                  <a:pt x="18348" y="22079"/>
                  <a:pt x="18394" y="22018"/>
                </a:cubicBezTo>
                <a:cubicBezTo>
                  <a:pt x="18342" y="22036"/>
                  <a:pt x="18305" y="22085"/>
                  <a:pt x="18241" y="22094"/>
                </a:cubicBezTo>
                <a:cubicBezTo>
                  <a:pt x="18222" y="22118"/>
                  <a:pt x="18274" y="22100"/>
                  <a:pt x="18296" y="22097"/>
                </a:cubicBezTo>
                <a:cubicBezTo>
                  <a:pt x="18228" y="22161"/>
                  <a:pt x="18166" y="22191"/>
                  <a:pt x="18105" y="22221"/>
                </a:cubicBezTo>
                <a:cubicBezTo>
                  <a:pt x="18081" y="22202"/>
                  <a:pt x="18164" y="22169"/>
                  <a:pt x="18170" y="22136"/>
                </a:cubicBezTo>
                <a:cubicBezTo>
                  <a:pt x="18229" y="22084"/>
                  <a:pt x="18312" y="22051"/>
                  <a:pt x="18379" y="21988"/>
                </a:cubicBezTo>
                <a:cubicBezTo>
                  <a:pt x="18462" y="21955"/>
                  <a:pt x="18385" y="22031"/>
                  <a:pt x="18474" y="21964"/>
                </a:cubicBezTo>
                <a:cubicBezTo>
                  <a:pt x="18552" y="21812"/>
                  <a:pt x="18982" y="21601"/>
                  <a:pt x="19198" y="21420"/>
                </a:cubicBezTo>
                <a:cubicBezTo>
                  <a:pt x="19231" y="21426"/>
                  <a:pt x="19154" y="21502"/>
                  <a:pt x="19197" y="21496"/>
                </a:cubicBezTo>
                <a:cubicBezTo>
                  <a:pt x="18979" y="21656"/>
                  <a:pt x="18742" y="21764"/>
                  <a:pt x="18524" y="21925"/>
                </a:cubicBezTo>
                <a:cubicBezTo>
                  <a:pt x="18508" y="21970"/>
                  <a:pt x="18619" y="21901"/>
                  <a:pt x="18634" y="21855"/>
                </a:cubicBezTo>
                <a:cubicBezTo>
                  <a:pt x="18708" y="21834"/>
                  <a:pt x="18776" y="21771"/>
                  <a:pt x="18711" y="21856"/>
                </a:cubicBezTo>
                <a:cubicBezTo>
                  <a:pt x="18769" y="21804"/>
                  <a:pt x="18819" y="21765"/>
                  <a:pt x="18889" y="21723"/>
                </a:cubicBezTo>
                <a:cubicBezTo>
                  <a:pt x="18911" y="21720"/>
                  <a:pt x="18855" y="21793"/>
                  <a:pt x="18947" y="21748"/>
                </a:cubicBezTo>
                <a:cubicBezTo>
                  <a:pt x="18991" y="21666"/>
                  <a:pt x="19012" y="21663"/>
                  <a:pt x="19092" y="21608"/>
                </a:cubicBezTo>
                <a:cubicBezTo>
                  <a:pt x="19175" y="21575"/>
                  <a:pt x="19098" y="21651"/>
                  <a:pt x="19168" y="21609"/>
                </a:cubicBezTo>
                <a:cubicBezTo>
                  <a:pt x="19310" y="21524"/>
                  <a:pt x="19455" y="21385"/>
                  <a:pt x="19520" y="21300"/>
                </a:cubicBezTo>
                <a:cubicBezTo>
                  <a:pt x="19511" y="21312"/>
                  <a:pt x="19563" y="21294"/>
                  <a:pt x="19544" y="21318"/>
                </a:cubicBezTo>
                <a:cubicBezTo>
                  <a:pt x="19507" y="21367"/>
                  <a:pt x="19529" y="21288"/>
                  <a:pt x="19486" y="21370"/>
                </a:cubicBezTo>
                <a:cubicBezTo>
                  <a:pt x="19587" y="21313"/>
                  <a:pt x="19692" y="21200"/>
                  <a:pt x="19803" y="21131"/>
                </a:cubicBezTo>
                <a:cubicBezTo>
                  <a:pt x="19831" y="21095"/>
                  <a:pt x="19868" y="21046"/>
                  <a:pt x="19893" y="20988"/>
                </a:cubicBezTo>
                <a:cubicBezTo>
                  <a:pt x="19936" y="20982"/>
                  <a:pt x="19948" y="20992"/>
                  <a:pt x="20019" y="20949"/>
                </a:cubicBezTo>
                <a:cubicBezTo>
                  <a:pt x="20071" y="20855"/>
                  <a:pt x="19954" y="20958"/>
                  <a:pt x="19921" y="20952"/>
                </a:cubicBezTo>
                <a:cubicBezTo>
                  <a:pt x="19977" y="20879"/>
                  <a:pt x="20065" y="20889"/>
                  <a:pt x="20118" y="20794"/>
                </a:cubicBezTo>
                <a:cubicBezTo>
                  <a:pt x="20198" y="20740"/>
                  <a:pt x="20077" y="20898"/>
                  <a:pt x="20188" y="20828"/>
                </a:cubicBezTo>
                <a:cubicBezTo>
                  <a:pt x="20197" y="20816"/>
                  <a:pt x="20166" y="20831"/>
                  <a:pt x="20154" y="20822"/>
                </a:cubicBezTo>
                <a:cubicBezTo>
                  <a:pt x="20269" y="20698"/>
                  <a:pt x="20407" y="20592"/>
                  <a:pt x="20534" y="20477"/>
                </a:cubicBezTo>
                <a:cubicBezTo>
                  <a:pt x="20577" y="20394"/>
                  <a:pt x="20467" y="20464"/>
                  <a:pt x="20411" y="20537"/>
                </a:cubicBezTo>
                <a:cubicBezTo>
                  <a:pt x="20467" y="20464"/>
                  <a:pt x="20474" y="20354"/>
                  <a:pt x="20557" y="20321"/>
                </a:cubicBezTo>
                <a:cubicBezTo>
                  <a:pt x="20599" y="20315"/>
                  <a:pt x="20501" y="20394"/>
                  <a:pt x="20522" y="20391"/>
                </a:cubicBezTo>
                <a:cubicBezTo>
                  <a:pt x="20574" y="20373"/>
                  <a:pt x="20578" y="20318"/>
                  <a:pt x="20630" y="20300"/>
                </a:cubicBezTo>
                <a:cubicBezTo>
                  <a:pt x="20646" y="20254"/>
                  <a:pt x="20606" y="20281"/>
                  <a:pt x="20680" y="20184"/>
                </a:cubicBezTo>
                <a:cubicBezTo>
                  <a:pt x="20720" y="20157"/>
                  <a:pt x="20732" y="20166"/>
                  <a:pt x="20707" y="20224"/>
                </a:cubicBezTo>
                <a:cubicBezTo>
                  <a:pt x="20806" y="20146"/>
                  <a:pt x="20745" y="20099"/>
                  <a:pt x="20835" y="20033"/>
                </a:cubicBezTo>
                <a:cubicBezTo>
                  <a:pt x="20877" y="20027"/>
                  <a:pt x="20785" y="20148"/>
                  <a:pt x="20865" y="20094"/>
                </a:cubicBezTo>
                <a:cubicBezTo>
                  <a:pt x="20899" y="20024"/>
                  <a:pt x="20877" y="20027"/>
                  <a:pt x="20915" y="19978"/>
                </a:cubicBezTo>
                <a:cubicBezTo>
                  <a:pt x="20933" y="19954"/>
                  <a:pt x="20940" y="19920"/>
                  <a:pt x="20970" y="19905"/>
                </a:cubicBezTo>
                <a:cubicBezTo>
                  <a:pt x="20982" y="19915"/>
                  <a:pt x="20899" y="20024"/>
                  <a:pt x="20942" y="20018"/>
                </a:cubicBezTo>
                <a:cubicBezTo>
                  <a:pt x="21007" y="19933"/>
                  <a:pt x="21000" y="19967"/>
                  <a:pt x="21102" y="19909"/>
                </a:cubicBezTo>
                <a:cubicBezTo>
                  <a:pt x="21256" y="19758"/>
                  <a:pt x="21371" y="19557"/>
                  <a:pt x="21464" y="19436"/>
                </a:cubicBezTo>
                <a:cubicBezTo>
                  <a:pt x="21451" y="19503"/>
                  <a:pt x="21498" y="19442"/>
                  <a:pt x="21593" y="19342"/>
                </a:cubicBezTo>
                <a:cubicBezTo>
                  <a:pt x="21631" y="19293"/>
                  <a:pt x="21677" y="19232"/>
                  <a:pt x="21714" y="19184"/>
                </a:cubicBezTo>
                <a:cubicBezTo>
                  <a:pt x="21751" y="19135"/>
                  <a:pt x="21788" y="19087"/>
                  <a:pt x="21816" y="19050"/>
                </a:cubicBezTo>
                <a:cubicBezTo>
                  <a:pt x="21831" y="19081"/>
                  <a:pt x="21686" y="19220"/>
                  <a:pt x="21655" y="19312"/>
                </a:cubicBezTo>
                <a:cubicBezTo>
                  <a:pt x="21791" y="19184"/>
                  <a:pt x="21844" y="19014"/>
                  <a:pt x="21943" y="18935"/>
                </a:cubicBezTo>
                <a:cubicBezTo>
                  <a:pt x="21949" y="18901"/>
                  <a:pt x="21921" y="18938"/>
                  <a:pt x="21891" y="18953"/>
                </a:cubicBezTo>
                <a:cubicBezTo>
                  <a:pt x="21913" y="18874"/>
                  <a:pt x="21965" y="18856"/>
                  <a:pt x="21978" y="18789"/>
                </a:cubicBezTo>
                <a:cubicBezTo>
                  <a:pt x="22129" y="18692"/>
                  <a:pt x="22195" y="18454"/>
                  <a:pt x="22297" y="18397"/>
                </a:cubicBezTo>
                <a:cubicBezTo>
                  <a:pt x="22312" y="18351"/>
                  <a:pt x="22340" y="18315"/>
                  <a:pt x="22356" y="18269"/>
                </a:cubicBezTo>
                <a:cubicBezTo>
                  <a:pt x="22384" y="18232"/>
                  <a:pt x="22390" y="18199"/>
                  <a:pt x="22418" y="18162"/>
                </a:cubicBezTo>
                <a:cubicBezTo>
                  <a:pt x="22453" y="18092"/>
                  <a:pt x="22499" y="18032"/>
                  <a:pt x="22521" y="17952"/>
                </a:cubicBezTo>
                <a:cubicBezTo>
                  <a:pt x="22475" y="18013"/>
                  <a:pt x="22500" y="17955"/>
                  <a:pt x="22453" y="18016"/>
                </a:cubicBezTo>
                <a:cubicBezTo>
                  <a:pt x="22551" y="17763"/>
                  <a:pt x="22636" y="17751"/>
                  <a:pt x="22682" y="17767"/>
                </a:cubicBezTo>
                <a:cubicBezTo>
                  <a:pt x="22695" y="17700"/>
                  <a:pt x="22643" y="17718"/>
                  <a:pt x="22637" y="17675"/>
                </a:cubicBezTo>
                <a:cubicBezTo>
                  <a:pt x="22702" y="17590"/>
                  <a:pt x="22734" y="17498"/>
                  <a:pt x="22790" y="17426"/>
                </a:cubicBezTo>
                <a:cubicBezTo>
                  <a:pt x="22830" y="17398"/>
                  <a:pt x="22761" y="17538"/>
                  <a:pt x="22745" y="17584"/>
                </a:cubicBezTo>
                <a:cubicBezTo>
                  <a:pt x="22724" y="17587"/>
                  <a:pt x="22925" y="17298"/>
                  <a:pt x="22938" y="17231"/>
                </a:cubicBezTo>
                <a:cubicBezTo>
                  <a:pt x="22975" y="17182"/>
                  <a:pt x="23000" y="17201"/>
                  <a:pt x="22972" y="17237"/>
                </a:cubicBezTo>
                <a:cubicBezTo>
                  <a:pt x="22996" y="17256"/>
                  <a:pt x="22994" y="17158"/>
                  <a:pt x="23022" y="17122"/>
                </a:cubicBezTo>
                <a:cubicBezTo>
                  <a:pt x="23028" y="17088"/>
                  <a:pt x="23000" y="17125"/>
                  <a:pt x="22982" y="17149"/>
                </a:cubicBezTo>
                <a:cubicBezTo>
                  <a:pt x="23013" y="17057"/>
                  <a:pt x="23088" y="16960"/>
                  <a:pt x="23150" y="16854"/>
                </a:cubicBezTo>
                <a:cubicBezTo>
                  <a:pt x="23212" y="16747"/>
                  <a:pt x="23271" y="16619"/>
                  <a:pt x="23297" y="16485"/>
                </a:cubicBezTo>
                <a:cubicBezTo>
                  <a:pt x="23316" y="16461"/>
                  <a:pt x="23344" y="16424"/>
                  <a:pt x="23362" y="16400"/>
                </a:cubicBezTo>
                <a:cubicBezTo>
                  <a:pt x="23378" y="16354"/>
                  <a:pt x="23406" y="16318"/>
                  <a:pt x="23410" y="16263"/>
                </a:cubicBezTo>
                <a:cubicBezTo>
                  <a:pt x="23530" y="16105"/>
                  <a:pt x="23536" y="15897"/>
                  <a:pt x="23666" y="15727"/>
                </a:cubicBezTo>
                <a:cubicBezTo>
                  <a:pt x="23673" y="15617"/>
                  <a:pt x="23705" y="15525"/>
                  <a:pt x="23736" y="15434"/>
                </a:cubicBezTo>
                <a:cubicBezTo>
                  <a:pt x="23761" y="15376"/>
                  <a:pt x="23777" y="15330"/>
                  <a:pt x="23793" y="15285"/>
                </a:cubicBezTo>
                <a:cubicBezTo>
                  <a:pt x="23820" y="15248"/>
                  <a:pt x="23845" y="15190"/>
                  <a:pt x="23861" y="15144"/>
                </a:cubicBezTo>
                <a:cubicBezTo>
                  <a:pt x="23848" y="15212"/>
                  <a:pt x="23854" y="15254"/>
                  <a:pt x="23857" y="15276"/>
                </a:cubicBezTo>
                <a:cubicBezTo>
                  <a:pt x="23850" y="15309"/>
                  <a:pt x="23853" y="15331"/>
                  <a:pt x="23850" y="15386"/>
                </a:cubicBezTo>
                <a:cubicBezTo>
                  <a:pt x="23865" y="15340"/>
                  <a:pt x="23878" y="15273"/>
                  <a:pt x="23882" y="15218"/>
                </a:cubicBezTo>
                <a:cubicBezTo>
                  <a:pt x="23898" y="15172"/>
                  <a:pt x="23911" y="15105"/>
                  <a:pt x="23905" y="15062"/>
                </a:cubicBezTo>
                <a:cubicBezTo>
                  <a:pt x="23924" y="14962"/>
                  <a:pt x="23956" y="14870"/>
                  <a:pt x="23984" y="14834"/>
                </a:cubicBezTo>
                <a:cubicBezTo>
                  <a:pt x="23938" y="14818"/>
                  <a:pt x="23949" y="14653"/>
                  <a:pt x="23875" y="14674"/>
                </a:cubicBezTo>
                <a:cubicBezTo>
                  <a:pt x="23891" y="14628"/>
                  <a:pt x="23916" y="14570"/>
                  <a:pt x="23932" y="14524"/>
                </a:cubicBezTo>
                <a:cubicBezTo>
                  <a:pt x="23935" y="14469"/>
                  <a:pt x="23961" y="14412"/>
                  <a:pt x="23976" y="14366"/>
                </a:cubicBezTo>
                <a:cubicBezTo>
                  <a:pt x="23943" y="14359"/>
                  <a:pt x="23923" y="14460"/>
                  <a:pt x="23892" y="14552"/>
                </a:cubicBezTo>
                <a:cubicBezTo>
                  <a:pt x="23888" y="14607"/>
                  <a:pt x="23872" y="14652"/>
                  <a:pt x="23854" y="14677"/>
                </a:cubicBezTo>
                <a:cubicBezTo>
                  <a:pt x="23838" y="14722"/>
                  <a:pt x="23829" y="14735"/>
                  <a:pt x="23807" y="14737"/>
                </a:cubicBezTo>
                <a:cubicBezTo>
                  <a:pt x="23799" y="14673"/>
                  <a:pt x="23839" y="14646"/>
                  <a:pt x="23867" y="14610"/>
                </a:cubicBezTo>
                <a:cubicBezTo>
                  <a:pt x="23830" y="14582"/>
                  <a:pt x="23896" y="14420"/>
                  <a:pt x="23873" y="14325"/>
                </a:cubicBezTo>
                <a:cubicBezTo>
                  <a:pt x="23897" y="14344"/>
                  <a:pt x="23921" y="14362"/>
                  <a:pt x="23950" y="14249"/>
                </a:cubicBezTo>
                <a:cubicBezTo>
                  <a:pt x="23929" y="14252"/>
                  <a:pt x="23929" y="14176"/>
                  <a:pt x="23927" y="14078"/>
                </a:cubicBezTo>
                <a:cubicBezTo>
                  <a:pt x="23974" y="14017"/>
                  <a:pt x="24012" y="13892"/>
                  <a:pt x="23978" y="13886"/>
                </a:cubicBezTo>
                <a:cubicBezTo>
                  <a:pt x="24010" y="13794"/>
                  <a:pt x="24028" y="13847"/>
                  <a:pt x="24038" y="13758"/>
                </a:cubicBezTo>
                <a:cubicBezTo>
                  <a:pt x="24065" y="13722"/>
                  <a:pt x="24050" y="13767"/>
                  <a:pt x="24058" y="13832"/>
                </a:cubicBezTo>
                <a:cubicBezTo>
                  <a:pt x="24078" y="13731"/>
                  <a:pt x="24097" y="13630"/>
                  <a:pt x="24095" y="13532"/>
                </a:cubicBezTo>
                <a:cubicBezTo>
                  <a:pt x="24129" y="13462"/>
                  <a:pt x="24118" y="13627"/>
                  <a:pt x="24153" y="13557"/>
                </a:cubicBezTo>
                <a:cubicBezTo>
                  <a:pt x="24147" y="13514"/>
                  <a:pt x="24108" y="13465"/>
                  <a:pt x="24152" y="13383"/>
                </a:cubicBezTo>
                <a:cubicBezTo>
                  <a:pt x="24127" y="13364"/>
                  <a:pt x="24119" y="13300"/>
                  <a:pt x="24099" y="13401"/>
                </a:cubicBezTo>
                <a:cubicBezTo>
                  <a:pt x="24092" y="13260"/>
                  <a:pt x="24095" y="13282"/>
                  <a:pt x="24065" y="13220"/>
                </a:cubicBezTo>
                <a:cubicBezTo>
                  <a:pt x="24059" y="13177"/>
                  <a:pt x="24108" y="13138"/>
                  <a:pt x="24090" y="13086"/>
                </a:cubicBezTo>
                <a:cubicBezTo>
                  <a:pt x="24076" y="12979"/>
                  <a:pt x="24065" y="13144"/>
                  <a:pt x="24047" y="13168"/>
                </a:cubicBezTo>
                <a:cubicBezTo>
                  <a:pt x="24050" y="13113"/>
                  <a:pt x="24076" y="13055"/>
                  <a:pt x="24067" y="12991"/>
                </a:cubicBezTo>
                <a:cubicBezTo>
                  <a:pt x="24083" y="12945"/>
                  <a:pt x="24090" y="13086"/>
                  <a:pt x="24113" y="13007"/>
                </a:cubicBezTo>
                <a:cubicBezTo>
                  <a:pt x="24086" y="12967"/>
                  <a:pt x="24124" y="12842"/>
                  <a:pt x="24129" y="12884"/>
                </a:cubicBezTo>
                <a:cubicBezTo>
                  <a:pt x="24088" y="12737"/>
                  <a:pt x="24124" y="12514"/>
                  <a:pt x="24184" y="12310"/>
                </a:cubicBezTo>
                <a:cubicBezTo>
                  <a:pt x="24163" y="12313"/>
                  <a:pt x="24154" y="12249"/>
                  <a:pt x="24142" y="12239"/>
                </a:cubicBezTo>
                <a:cubicBezTo>
                  <a:pt x="24123" y="12340"/>
                  <a:pt x="24126" y="12285"/>
                  <a:pt x="24095" y="12377"/>
                </a:cubicBezTo>
                <a:cubicBezTo>
                  <a:pt x="24103" y="12441"/>
                  <a:pt x="24107" y="12386"/>
                  <a:pt x="24135" y="12349"/>
                </a:cubicBezTo>
                <a:cubicBezTo>
                  <a:pt x="24139" y="12545"/>
                  <a:pt x="24088" y="12737"/>
                  <a:pt x="24046" y="12917"/>
                </a:cubicBezTo>
                <a:cubicBezTo>
                  <a:pt x="24045" y="12743"/>
                  <a:pt x="24102" y="12594"/>
                  <a:pt x="24082" y="12444"/>
                </a:cubicBezTo>
                <a:cubicBezTo>
                  <a:pt x="24081" y="12520"/>
                  <a:pt x="24059" y="12600"/>
                  <a:pt x="24049" y="12688"/>
                </a:cubicBezTo>
                <a:cubicBezTo>
                  <a:pt x="24035" y="12581"/>
                  <a:pt x="24069" y="12511"/>
                  <a:pt x="24033" y="12407"/>
                </a:cubicBezTo>
                <a:cubicBezTo>
                  <a:pt x="24049" y="12361"/>
                  <a:pt x="24060" y="12447"/>
                  <a:pt x="24083" y="12367"/>
                </a:cubicBezTo>
                <a:cubicBezTo>
                  <a:pt x="24077" y="12325"/>
                  <a:pt x="24083" y="12291"/>
                  <a:pt x="24069" y="12260"/>
                </a:cubicBezTo>
                <a:cubicBezTo>
                  <a:pt x="24081" y="12193"/>
                  <a:pt x="24087" y="12236"/>
                  <a:pt x="24093" y="12279"/>
                </a:cubicBezTo>
                <a:cubicBezTo>
                  <a:pt x="24109" y="12233"/>
                  <a:pt x="24091" y="12181"/>
                  <a:pt x="24119" y="12145"/>
                </a:cubicBezTo>
                <a:cubicBezTo>
                  <a:pt x="24082" y="12117"/>
                  <a:pt x="24096" y="11973"/>
                  <a:pt x="24060" y="11945"/>
                </a:cubicBezTo>
                <a:cubicBezTo>
                  <a:pt x="24088" y="11832"/>
                  <a:pt x="24105" y="11961"/>
                  <a:pt x="24115" y="11872"/>
                </a:cubicBezTo>
                <a:cubicBezTo>
                  <a:pt x="24119" y="11817"/>
                  <a:pt x="24120" y="11741"/>
                  <a:pt x="24123" y="11686"/>
                </a:cubicBezTo>
                <a:cubicBezTo>
                  <a:pt x="24124" y="11610"/>
                  <a:pt x="24128" y="11555"/>
                  <a:pt x="24149" y="11552"/>
                </a:cubicBezTo>
                <a:cubicBezTo>
                  <a:pt x="24108" y="11405"/>
                  <a:pt x="24154" y="11420"/>
                  <a:pt x="24125" y="11282"/>
                </a:cubicBezTo>
                <a:cubicBezTo>
                  <a:pt x="24150" y="11225"/>
                  <a:pt x="24133" y="11347"/>
                  <a:pt x="24157" y="11365"/>
                </a:cubicBezTo>
                <a:cubicBezTo>
                  <a:pt x="24174" y="11243"/>
                  <a:pt x="24145" y="11105"/>
                  <a:pt x="24149" y="10974"/>
                </a:cubicBezTo>
                <a:cubicBezTo>
                  <a:pt x="24122" y="10934"/>
                  <a:pt x="24119" y="10913"/>
                  <a:pt x="24086" y="10906"/>
                </a:cubicBezTo>
                <a:cubicBezTo>
                  <a:pt x="24087" y="10830"/>
                  <a:pt x="24057" y="10692"/>
                  <a:pt x="24024" y="10686"/>
                </a:cubicBezTo>
                <a:cubicBezTo>
                  <a:pt x="24031" y="10576"/>
                  <a:pt x="24063" y="10735"/>
                  <a:pt x="24061" y="10637"/>
                </a:cubicBezTo>
                <a:cubicBezTo>
                  <a:pt x="24055" y="10594"/>
                  <a:pt x="24053" y="10573"/>
                  <a:pt x="24047" y="10530"/>
                </a:cubicBezTo>
                <a:cubicBezTo>
                  <a:pt x="24032" y="10499"/>
                  <a:pt x="24038" y="10466"/>
                  <a:pt x="24045" y="10432"/>
                </a:cubicBezTo>
                <a:cubicBezTo>
                  <a:pt x="24012" y="10349"/>
                  <a:pt x="24008" y="10404"/>
                  <a:pt x="23997" y="10318"/>
                </a:cubicBezTo>
                <a:cubicBezTo>
                  <a:pt x="23998" y="10242"/>
                  <a:pt x="24054" y="10420"/>
                  <a:pt x="24063" y="10408"/>
                </a:cubicBezTo>
                <a:cubicBezTo>
                  <a:pt x="24093" y="10469"/>
                  <a:pt x="24044" y="10508"/>
                  <a:pt x="24083" y="10558"/>
                </a:cubicBezTo>
                <a:cubicBezTo>
                  <a:pt x="24114" y="10543"/>
                  <a:pt x="24079" y="10362"/>
                  <a:pt x="24056" y="10267"/>
                </a:cubicBezTo>
                <a:cubicBezTo>
                  <a:pt x="24044" y="10181"/>
                  <a:pt x="24074" y="10243"/>
                  <a:pt x="24066" y="10178"/>
                </a:cubicBezTo>
                <a:cubicBezTo>
                  <a:pt x="24048" y="10126"/>
                  <a:pt x="24025" y="10031"/>
                  <a:pt x="24004" y="9958"/>
                </a:cubicBezTo>
                <a:cubicBezTo>
                  <a:pt x="23993" y="9872"/>
                  <a:pt x="23984" y="9808"/>
                  <a:pt x="23993" y="9796"/>
                </a:cubicBezTo>
                <a:cubicBezTo>
                  <a:pt x="23988" y="9753"/>
                  <a:pt x="23966" y="9756"/>
                  <a:pt x="23957" y="9768"/>
                </a:cubicBezTo>
                <a:cubicBezTo>
                  <a:pt x="23946" y="9682"/>
                  <a:pt x="23925" y="9609"/>
                  <a:pt x="23935" y="9520"/>
                </a:cubicBezTo>
                <a:cubicBezTo>
                  <a:pt x="23896" y="9471"/>
                  <a:pt x="23900" y="9416"/>
                  <a:pt x="23870" y="9354"/>
                </a:cubicBezTo>
                <a:cubicBezTo>
                  <a:pt x="23905" y="9459"/>
                  <a:pt x="23865" y="9562"/>
                  <a:pt x="23922" y="9664"/>
                </a:cubicBezTo>
                <a:cubicBezTo>
                  <a:pt x="23909" y="9731"/>
                  <a:pt x="23873" y="9627"/>
                  <a:pt x="23884" y="9789"/>
                </a:cubicBezTo>
                <a:cubicBezTo>
                  <a:pt x="23824" y="9666"/>
                  <a:pt x="23852" y="9629"/>
                  <a:pt x="23858" y="9596"/>
                </a:cubicBezTo>
                <a:cubicBezTo>
                  <a:pt x="23813" y="9504"/>
                  <a:pt x="23848" y="9684"/>
                  <a:pt x="23814" y="9678"/>
                </a:cubicBezTo>
                <a:cubicBezTo>
                  <a:pt x="23854" y="9727"/>
                  <a:pt x="23859" y="9770"/>
                  <a:pt x="23844" y="9816"/>
                </a:cubicBezTo>
                <a:cubicBezTo>
                  <a:pt x="23873" y="9877"/>
                  <a:pt x="23870" y="9932"/>
                  <a:pt x="23891" y="9929"/>
                </a:cubicBezTo>
                <a:cubicBezTo>
                  <a:pt x="23892" y="9853"/>
                  <a:pt x="23874" y="9801"/>
                  <a:pt x="23908" y="9807"/>
                </a:cubicBezTo>
                <a:cubicBezTo>
                  <a:pt x="23938" y="9869"/>
                  <a:pt x="23901" y="9917"/>
                  <a:pt x="23930" y="9979"/>
                </a:cubicBezTo>
                <a:cubicBezTo>
                  <a:pt x="23924" y="10012"/>
                  <a:pt x="23888" y="9908"/>
                  <a:pt x="23896" y="10049"/>
                </a:cubicBezTo>
                <a:cubicBezTo>
                  <a:pt x="23933" y="10000"/>
                  <a:pt x="23920" y="10144"/>
                  <a:pt x="23931" y="10229"/>
                </a:cubicBezTo>
                <a:cubicBezTo>
                  <a:pt x="23922" y="10241"/>
                  <a:pt x="23885" y="10214"/>
                  <a:pt x="23889" y="10159"/>
                </a:cubicBezTo>
                <a:cubicBezTo>
                  <a:pt x="23897" y="10223"/>
                  <a:pt x="23871" y="10357"/>
                  <a:pt x="23898" y="10474"/>
                </a:cubicBezTo>
                <a:cubicBezTo>
                  <a:pt x="23876" y="10553"/>
                  <a:pt x="23917" y="10700"/>
                  <a:pt x="23870" y="10761"/>
                </a:cubicBezTo>
                <a:cubicBezTo>
                  <a:pt x="23897" y="10877"/>
                  <a:pt x="23927" y="10862"/>
                  <a:pt x="23932" y="10981"/>
                </a:cubicBezTo>
                <a:cubicBezTo>
                  <a:pt x="23926" y="11015"/>
                  <a:pt x="23905" y="10941"/>
                  <a:pt x="23890" y="10911"/>
                </a:cubicBezTo>
                <a:cubicBezTo>
                  <a:pt x="23874" y="10956"/>
                  <a:pt x="23871" y="11011"/>
                  <a:pt x="23889" y="11064"/>
                </a:cubicBezTo>
                <a:cubicBezTo>
                  <a:pt x="23885" y="11119"/>
                  <a:pt x="23891" y="11161"/>
                  <a:pt x="23887" y="11216"/>
                </a:cubicBezTo>
                <a:cubicBezTo>
                  <a:pt x="23902" y="11247"/>
                  <a:pt x="23899" y="11226"/>
                  <a:pt x="23903" y="11171"/>
                </a:cubicBezTo>
                <a:cubicBezTo>
                  <a:pt x="23933" y="11232"/>
                  <a:pt x="23913" y="11333"/>
                  <a:pt x="23956" y="11327"/>
                </a:cubicBezTo>
                <a:cubicBezTo>
                  <a:pt x="23947" y="11339"/>
                  <a:pt x="23916" y="11354"/>
                  <a:pt x="23925" y="11418"/>
                </a:cubicBezTo>
                <a:cubicBezTo>
                  <a:pt x="23909" y="11464"/>
                  <a:pt x="23912" y="11409"/>
                  <a:pt x="23892" y="11336"/>
                </a:cubicBezTo>
                <a:cubicBezTo>
                  <a:pt x="23875" y="11458"/>
                  <a:pt x="23914" y="11583"/>
                  <a:pt x="23864" y="11699"/>
                </a:cubicBezTo>
                <a:cubicBezTo>
                  <a:pt x="23936" y="11755"/>
                  <a:pt x="23841" y="11855"/>
                  <a:pt x="23900" y="11978"/>
                </a:cubicBezTo>
                <a:cubicBezTo>
                  <a:pt x="23852" y="11941"/>
                  <a:pt x="23890" y="12066"/>
                  <a:pt x="23860" y="12081"/>
                </a:cubicBezTo>
                <a:cubicBezTo>
                  <a:pt x="23848" y="11996"/>
                  <a:pt x="23837" y="11910"/>
                  <a:pt x="23871" y="11840"/>
                </a:cubicBezTo>
                <a:cubicBezTo>
                  <a:pt x="23817" y="11760"/>
                  <a:pt x="23844" y="11549"/>
                  <a:pt x="23879" y="11403"/>
                </a:cubicBezTo>
                <a:cubicBezTo>
                  <a:pt x="23857" y="11406"/>
                  <a:pt x="23833" y="11387"/>
                  <a:pt x="23810" y="11292"/>
                </a:cubicBezTo>
                <a:cubicBezTo>
                  <a:pt x="23845" y="11396"/>
                  <a:pt x="23834" y="11561"/>
                  <a:pt x="23824" y="11726"/>
                </a:cubicBezTo>
                <a:cubicBezTo>
                  <a:pt x="23810" y="11870"/>
                  <a:pt x="23799" y="12035"/>
                  <a:pt x="23868" y="12146"/>
                </a:cubicBezTo>
                <a:cubicBezTo>
                  <a:pt x="23854" y="12289"/>
                  <a:pt x="23862" y="12430"/>
                  <a:pt x="23827" y="12576"/>
                </a:cubicBezTo>
                <a:cubicBezTo>
                  <a:pt x="23842" y="12607"/>
                  <a:pt x="23851" y="12595"/>
                  <a:pt x="23864" y="12528"/>
                </a:cubicBezTo>
                <a:cubicBezTo>
                  <a:pt x="23870" y="12570"/>
                  <a:pt x="23866" y="12625"/>
                  <a:pt x="23884" y="12678"/>
                </a:cubicBezTo>
                <a:cubicBezTo>
                  <a:pt x="23890" y="12720"/>
                  <a:pt x="23883" y="12754"/>
                  <a:pt x="23867" y="12800"/>
                </a:cubicBezTo>
                <a:cubicBezTo>
                  <a:pt x="23847" y="12726"/>
                  <a:pt x="23872" y="12668"/>
                  <a:pt x="23851" y="12595"/>
                </a:cubicBezTo>
                <a:cubicBezTo>
                  <a:pt x="23826" y="12653"/>
                  <a:pt x="23825" y="12729"/>
                  <a:pt x="23800" y="12787"/>
                </a:cubicBezTo>
                <a:cubicBezTo>
                  <a:pt x="23815" y="12818"/>
                  <a:pt x="23821" y="12861"/>
                  <a:pt x="23824" y="12882"/>
                </a:cubicBezTo>
                <a:cubicBezTo>
                  <a:pt x="23817" y="12916"/>
                  <a:pt x="23823" y="12958"/>
                  <a:pt x="23816" y="12992"/>
                </a:cubicBezTo>
                <a:cubicBezTo>
                  <a:pt x="23789" y="13028"/>
                  <a:pt x="23783" y="12986"/>
                  <a:pt x="23774" y="12921"/>
                </a:cubicBezTo>
                <a:cubicBezTo>
                  <a:pt x="23751" y="13077"/>
                  <a:pt x="23819" y="13013"/>
                  <a:pt x="23778" y="13193"/>
                </a:cubicBezTo>
                <a:cubicBezTo>
                  <a:pt x="23781" y="13215"/>
                  <a:pt x="23802" y="13212"/>
                  <a:pt x="23808" y="13178"/>
                </a:cubicBezTo>
                <a:cubicBezTo>
                  <a:pt x="23826" y="13230"/>
                  <a:pt x="23832" y="13273"/>
                  <a:pt x="23816" y="13319"/>
                </a:cubicBezTo>
                <a:cubicBezTo>
                  <a:pt x="23798" y="13267"/>
                  <a:pt x="23773" y="13325"/>
                  <a:pt x="23742" y="13416"/>
                </a:cubicBezTo>
                <a:cubicBezTo>
                  <a:pt x="23720" y="13496"/>
                  <a:pt x="23691" y="13608"/>
                  <a:pt x="23666" y="13666"/>
                </a:cubicBezTo>
                <a:cubicBezTo>
                  <a:pt x="23679" y="13599"/>
                  <a:pt x="23707" y="13486"/>
                  <a:pt x="23705" y="13388"/>
                </a:cubicBezTo>
                <a:cubicBezTo>
                  <a:pt x="23716" y="13300"/>
                  <a:pt x="23726" y="13211"/>
                  <a:pt x="23704" y="13214"/>
                </a:cubicBezTo>
                <a:cubicBezTo>
                  <a:pt x="23709" y="13083"/>
                  <a:pt x="23747" y="12958"/>
                  <a:pt x="23751" y="12826"/>
                </a:cubicBezTo>
                <a:cubicBezTo>
                  <a:pt x="23739" y="12817"/>
                  <a:pt x="23732" y="12851"/>
                  <a:pt x="23729" y="12906"/>
                </a:cubicBezTo>
                <a:cubicBezTo>
                  <a:pt x="23713" y="12951"/>
                  <a:pt x="23722" y="13016"/>
                  <a:pt x="23703" y="13040"/>
                </a:cubicBezTo>
                <a:cubicBezTo>
                  <a:pt x="23710" y="12930"/>
                  <a:pt x="23710" y="12930"/>
                  <a:pt x="23690" y="12856"/>
                </a:cubicBezTo>
                <a:cubicBezTo>
                  <a:pt x="23748" y="12805"/>
                  <a:pt x="23694" y="12725"/>
                  <a:pt x="23755" y="12695"/>
                </a:cubicBezTo>
                <a:cubicBezTo>
                  <a:pt x="23738" y="12566"/>
                  <a:pt x="23713" y="12624"/>
                  <a:pt x="23695" y="12649"/>
                </a:cubicBezTo>
                <a:cubicBezTo>
                  <a:pt x="23683" y="12563"/>
                  <a:pt x="23717" y="12569"/>
                  <a:pt x="23733" y="12524"/>
                </a:cubicBezTo>
                <a:cubicBezTo>
                  <a:pt x="23715" y="12471"/>
                  <a:pt x="23731" y="12426"/>
                  <a:pt x="23713" y="12374"/>
                </a:cubicBezTo>
                <a:cubicBezTo>
                  <a:pt x="23723" y="12285"/>
                  <a:pt x="23732" y="12349"/>
                  <a:pt x="23744" y="12282"/>
                </a:cubicBezTo>
                <a:cubicBezTo>
                  <a:pt x="23721" y="12187"/>
                  <a:pt x="23748" y="12227"/>
                  <a:pt x="23758" y="12139"/>
                </a:cubicBezTo>
                <a:cubicBezTo>
                  <a:pt x="23732" y="12022"/>
                  <a:pt x="23751" y="11921"/>
                  <a:pt x="23737" y="11814"/>
                </a:cubicBezTo>
                <a:cubicBezTo>
                  <a:pt x="23747" y="11726"/>
                  <a:pt x="23761" y="11833"/>
                  <a:pt x="23768" y="11799"/>
                </a:cubicBezTo>
                <a:cubicBezTo>
                  <a:pt x="23782" y="11906"/>
                  <a:pt x="23765" y="12105"/>
                  <a:pt x="23807" y="12099"/>
                </a:cubicBezTo>
                <a:cubicBezTo>
                  <a:pt x="23820" y="12032"/>
                  <a:pt x="23790" y="11971"/>
                  <a:pt x="23782" y="11906"/>
                </a:cubicBezTo>
                <a:cubicBezTo>
                  <a:pt x="23794" y="11916"/>
                  <a:pt x="23803" y="11904"/>
                  <a:pt x="23810" y="11870"/>
                </a:cubicBezTo>
                <a:cubicBezTo>
                  <a:pt x="23774" y="11766"/>
                  <a:pt x="23784" y="11754"/>
                  <a:pt x="23794" y="11665"/>
                </a:cubicBezTo>
                <a:cubicBezTo>
                  <a:pt x="23777" y="11536"/>
                  <a:pt x="23751" y="11671"/>
                  <a:pt x="23725" y="11554"/>
                </a:cubicBezTo>
                <a:cubicBezTo>
                  <a:pt x="23722" y="11533"/>
                  <a:pt x="23719" y="11512"/>
                  <a:pt x="23716" y="11490"/>
                </a:cubicBezTo>
                <a:cubicBezTo>
                  <a:pt x="23726" y="11402"/>
                  <a:pt x="23747" y="11475"/>
                  <a:pt x="23759" y="11484"/>
                </a:cubicBezTo>
                <a:cubicBezTo>
                  <a:pt x="23796" y="11436"/>
                  <a:pt x="23766" y="11374"/>
                  <a:pt x="23779" y="11307"/>
                </a:cubicBezTo>
                <a:cubicBezTo>
                  <a:pt x="23773" y="11264"/>
                  <a:pt x="23764" y="11277"/>
                  <a:pt x="23758" y="11310"/>
                </a:cubicBezTo>
                <a:cubicBezTo>
                  <a:pt x="23729" y="11172"/>
                  <a:pt x="23788" y="11044"/>
                  <a:pt x="23716" y="10912"/>
                </a:cubicBezTo>
                <a:cubicBezTo>
                  <a:pt x="23711" y="10793"/>
                  <a:pt x="23697" y="10686"/>
                  <a:pt x="23683" y="10579"/>
                </a:cubicBezTo>
                <a:cubicBezTo>
                  <a:pt x="23681" y="10481"/>
                  <a:pt x="23669" y="10395"/>
                  <a:pt x="23677" y="10285"/>
                </a:cubicBezTo>
                <a:cubicBezTo>
                  <a:pt x="23635" y="10215"/>
                  <a:pt x="23648" y="10148"/>
                  <a:pt x="23627" y="10074"/>
                </a:cubicBezTo>
                <a:cubicBezTo>
                  <a:pt x="23591" y="10046"/>
                  <a:pt x="23593" y="10068"/>
                  <a:pt x="23564" y="10006"/>
                </a:cubicBezTo>
                <a:cubicBezTo>
                  <a:pt x="23544" y="10107"/>
                  <a:pt x="23566" y="10104"/>
                  <a:pt x="23531" y="10174"/>
                </a:cubicBezTo>
                <a:cubicBezTo>
                  <a:pt x="23570" y="10223"/>
                  <a:pt x="23565" y="10180"/>
                  <a:pt x="23598" y="10263"/>
                </a:cubicBezTo>
                <a:cubicBezTo>
                  <a:pt x="23621" y="10358"/>
                  <a:pt x="23623" y="10456"/>
                  <a:pt x="23668" y="10548"/>
                </a:cubicBezTo>
                <a:cubicBezTo>
                  <a:pt x="23643" y="10606"/>
                  <a:pt x="23602" y="10459"/>
                  <a:pt x="23577" y="10440"/>
                </a:cubicBezTo>
                <a:cubicBezTo>
                  <a:pt x="23574" y="10495"/>
                  <a:pt x="23606" y="10655"/>
                  <a:pt x="23581" y="10636"/>
                </a:cubicBezTo>
                <a:cubicBezTo>
                  <a:pt x="23580" y="10789"/>
                  <a:pt x="23642" y="10933"/>
                  <a:pt x="23607" y="11080"/>
                </a:cubicBezTo>
                <a:cubicBezTo>
                  <a:pt x="23575" y="10997"/>
                  <a:pt x="23573" y="10899"/>
                  <a:pt x="23549" y="10804"/>
                </a:cubicBezTo>
                <a:cubicBezTo>
                  <a:pt x="23558" y="10868"/>
                  <a:pt x="23566" y="10933"/>
                  <a:pt x="23541" y="10990"/>
                </a:cubicBezTo>
                <a:cubicBezTo>
                  <a:pt x="23565" y="11009"/>
                  <a:pt x="23568" y="11030"/>
                  <a:pt x="23552" y="11076"/>
                </a:cubicBezTo>
                <a:cubicBezTo>
                  <a:pt x="23558" y="11119"/>
                  <a:pt x="23573" y="11150"/>
                  <a:pt x="23579" y="11192"/>
                </a:cubicBezTo>
                <a:cubicBezTo>
                  <a:pt x="23575" y="11247"/>
                  <a:pt x="23581" y="11290"/>
                  <a:pt x="23574" y="11324"/>
                </a:cubicBezTo>
                <a:cubicBezTo>
                  <a:pt x="23564" y="11412"/>
                  <a:pt x="23563" y="11489"/>
                  <a:pt x="23575" y="11575"/>
                </a:cubicBezTo>
                <a:cubicBezTo>
                  <a:pt x="23565" y="11663"/>
                  <a:pt x="23550" y="11556"/>
                  <a:pt x="23535" y="11525"/>
                </a:cubicBezTo>
                <a:cubicBezTo>
                  <a:pt x="23510" y="11583"/>
                  <a:pt x="23540" y="11645"/>
                  <a:pt x="23537" y="11700"/>
                </a:cubicBezTo>
                <a:cubicBezTo>
                  <a:pt x="23543" y="11666"/>
                  <a:pt x="23577" y="11672"/>
                  <a:pt x="23593" y="11550"/>
                </a:cubicBezTo>
                <a:cubicBezTo>
                  <a:pt x="23605" y="11560"/>
                  <a:pt x="23617" y="11569"/>
                  <a:pt x="23630" y="11578"/>
                </a:cubicBezTo>
                <a:cubicBezTo>
                  <a:pt x="23626" y="11633"/>
                  <a:pt x="23622" y="11688"/>
                  <a:pt x="23628" y="11731"/>
                </a:cubicBezTo>
                <a:cubicBezTo>
                  <a:pt x="23609" y="11755"/>
                  <a:pt x="23601" y="11691"/>
                  <a:pt x="23591" y="11780"/>
                </a:cubicBezTo>
                <a:cubicBezTo>
                  <a:pt x="23597" y="11822"/>
                  <a:pt x="23618" y="11819"/>
                  <a:pt x="23621" y="11841"/>
                </a:cubicBezTo>
                <a:cubicBezTo>
                  <a:pt x="23614" y="11874"/>
                  <a:pt x="23608" y="11908"/>
                  <a:pt x="23623" y="11939"/>
                </a:cubicBezTo>
                <a:cubicBezTo>
                  <a:pt x="23595" y="11975"/>
                  <a:pt x="23605" y="11887"/>
                  <a:pt x="23584" y="11890"/>
                </a:cubicBezTo>
                <a:cubicBezTo>
                  <a:pt x="23563" y="11816"/>
                  <a:pt x="23609" y="11755"/>
                  <a:pt x="23567" y="11685"/>
                </a:cubicBezTo>
                <a:cubicBezTo>
                  <a:pt x="23570" y="12360"/>
                  <a:pt x="23529" y="13042"/>
                  <a:pt x="23375" y="13695"/>
                </a:cubicBezTo>
                <a:cubicBezTo>
                  <a:pt x="23427" y="13753"/>
                  <a:pt x="23366" y="13957"/>
                  <a:pt x="23326" y="13985"/>
                </a:cubicBezTo>
                <a:cubicBezTo>
                  <a:pt x="23344" y="14037"/>
                  <a:pt x="23381" y="13988"/>
                  <a:pt x="23399" y="14040"/>
                </a:cubicBezTo>
                <a:cubicBezTo>
                  <a:pt x="23383" y="14162"/>
                  <a:pt x="23346" y="14135"/>
                  <a:pt x="23342" y="14266"/>
                </a:cubicBezTo>
                <a:cubicBezTo>
                  <a:pt x="23323" y="14290"/>
                  <a:pt x="23327" y="14235"/>
                  <a:pt x="23324" y="14214"/>
                </a:cubicBezTo>
                <a:cubicBezTo>
                  <a:pt x="23295" y="14327"/>
                  <a:pt x="23310" y="14434"/>
                  <a:pt x="23269" y="14537"/>
                </a:cubicBezTo>
                <a:cubicBezTo>
                  <a:pt x="23228" y="14390"/>
                  <a:pt x="23169" y="14769"/>
                  <a:pt x="23069" y="14924"/>
                </a:cubicBezTo>
                <a:cubicBezTo>
                  <a:pt x="23071" y="15022"/>
                  <a:pt x="23103" y="14930"/>
                  <a:pt x="23121" y="14906"/>
                </a:cubicBezTo>
                <a:cubicBezTo>
                  <a:pt x="23077" y="15065"/>
                  <a:pt x="23090" y="14998"/>
                  <a:pt x="23033" y="15147"/>
                </a:cubicBezTo>
                <a:cubicBezTo>
                  <a:pt x="23036" y="15168"/>
                  <a:pt x="23070" y="15098"/>
                  <a:pt x="23064" y="15132"/>
                </a:cubicBezTo>
                <a:cubicBezTo>
                  <a:pt x="23058" y="15165"/>
                  <a:pt x="23042" y="15211"/>
                  <a:pt x="23014" y="15248"/>
                </a:cubicBezTo>
                <a:cubicBezTo>
                  <a:pt x="23026" y="15257"/>
                  <a:pt x="23041" y="15288"/>
                  <a:pt x="23028" y="15355"/>
                </a:cubicBezTo>
                <a:cubicBezTo>
                  <a:pt x="23018" y="15443"/>
                  <a:pt x="22979" y="15394"/>
                  <a:pt x="22984" y="15513"/>
                </a:cubicBezTo>
                <a:cubicBezTo>
                  <a:pt x="22965" y="15538"/>
                  <a:pt x="22950" y="15507"/>
                  <a:pt x="22954" y="15452"/>
                </a:cubicBezTo>
                <a:cubicBezTo>
                  <a:pt x="22947" y="15486"/>
                  <a:pt x="22929" y="15510"/>
                  <a:pt x="22932" y="15531"/>
                </a:cubicBezTo>
                <a:cubicBezTo>
                  <a:pt x="22913" y="15556"/>
                  <a:pt x="22916" y="15577"/>
                  <a:pt x="22906" y="15589"/>
                </a:cubicBezTo>
                <a:cubicBezTo>
                  <a:pt x="22879" y="15626"/>
                  <a:pt x="22872" y="15659"/>
                  <a:pt x="22854" y="15684"/>
                </a:cubicBezTo>
                <a:cubicBezTo>
                  <a:pt x="22829" y="15741"/>
                  <a:pt x="22816" y="15809"/>
                  <a:pt x="22759" y="15958"/>
                </a:cubicBezTo>
                <a:cubicBezTo>
                  <a:pt x="22750" y="15970"/>
                  <a:pt x="22738" y="15961"/>
                  <a:pt x="22744" y="15927"/>
                </a:cubicBezTo>
                <a:cubicBezTo>
                  <a:pt x="22740" y="15982"/>
                  <a:pt x="22725" y="16028"/>
                  <a:pt x="22709" y="16074"/>
                </a:cubicBezTo>
                <a:cubicBezTo>
                  <a:pt x="22693" y="16119"/>
                  <a:pt x="22677" y="16165"/>
                  <a:pt x="22652" y="16223"/>
                </a:cubicBezTo>
                <a:cubicBezTo>
                  <a:pt x="22609" y="16305"/>
                  <a:pt x="22577" y="16397"/>
                  <a:pt x="22558" y="16497"/>
                </a:cubicBezTo>
                <a:cubicBezTo>
                  <a:pt x="22536" y="16500"/>
                  <a:pt x="22527" y="16512"/>
                  <a:pt x="22524" y="16491"/>
                </a:cubicBezTo>
                <a:cubicBezTo>
                  <a:pt x="22490" y="16561"/>
                  <a:pt x="22480" y="16650"/>
                  <a:pt x="22467" y="16717"/>
                </a:cubicBezTo>
                <a:cubicBezTo>
                  <a:pt x="22433" y="16787"/>
                  <a:pt x="22421" y="16777"/>
                  <a:pt x="22433" y="16710"/>
                </a:cubicBezTo>
                <a:cubicBezTo>
                  <a:pt x="22383" y="16826"/>
                  <a:pt x="22321" y="16933"/>
                  <a:pt x="22271" y="17048"/>
                </a:cubicBezTo>
                <a:cubicBezTo>
                  <a:pt x="22200" y="17167"/>
                  <a:pt x="22137" y="17274"/>
                  <a:pt x="22112" y="17408"/>
                </a:cubicBezTo>
                <a:cubicBezTo>
                  <a:pt x="22056" y="17481"/>
                  <a:pt x="22097" y="17377"/>
                  <a:pt x="22050" y="17438"/>
                </a:cubicBezTo>
                <a:cubicBezTo>
                  <a:pt x="22044" y="17395"/>
                  <a:pt x="22084" y="17368"/>
                  <a:pt x="22088" y="17313"/>
                </a:cubicBezTo>
                <a:cubicBezTo>
                  <a:pt x="22016" y="17508"/>
                  <a:pt x="21916" y="17739"/>
                  <a:pt x="21758" y="17946"/>
                </a:cubicBezTo>
                <a:cubicBezTo>
                  <a:pt x="21763" y="17989"/>
                  <a:pt x="21860" y="17812"/>
                  <a:pt x="21822" y="17937"/>
                </a:cubicBezTo>
                <a:cubicBezTo>
                  <a:pt x="21735" y="18025"/>
                  <a:pt x="21668" y="18089"/>
                  <a:pt x="21624" y="18171"/>
                </a:cubicBezTo>
                <a:cubicBezTo>
                  <a:pt x="21623" y="18248"/>
                  <a:pt x="21680" y="18098"/>
                  <a:pt x="21729" y="18059"/>
                </a:cubicBezTo>
                <a:cubicBezTo>
                  <a:pt x="21707" y="18138"/>
                  <a:pt x="21648" y="18190"/>
                  <a:pt x="21605" y="18272"/>
                </a:cubicBezTo>
                <a:cubicBezTo>
                  <a:pt x="21592" y="18263"/>
                  <a:pt x="21587" y="18220"/>
                  <a:pt x="21593" y="18186"/>
                </a:cubicBezTo>
                <a:cubicBezTo>
                  <a:pt x="21540" y="18281"/>
                  <a:pt x="21487" y="18375"/>
                  <a:pt x="21444" y="18457"/>
                </a:cubicBezTo>
                <a:cubicBezTo>
                  <a:pt x="21400" y="18539"/>
                  <a:pt x="21347" y="18634"/>
                  <a:pt x="21261" y="18722"/>
                </a:cubicBezTo>
                <a:cubicBezTo>
                  <a:pt x="21251" y="18734"/>
                  <a:pt x="21267" y="18688"/>
                  <a:pt x="21249" y="18712"/>
                </a:cubicBezTo>
                <a:cubicBezTo>
                  <a:pt x="21218" y="18727"/>
                  <a:pt x="21190" y="18764"/>
                  <a:pt x="21159" y="18779"/>
                </a:cubicBezTo>
                <a:cubicBezTo>
                  <a:pt x="21137" y="18858"/>
                  <a:pt x="21165" y="18822"/>
                  <a:pt x="21112" y="18916"/>
                </a:cubicBezTo>
                <a:cubicBezTo>
                  <a:pt x="21100" y="18907"/>
                  <a:pt x="21091" y="18919"/>
                  <a:pt x="21041" y="18958"/>
                </a:cubicBezTo>
                <a:cubicBezTo>
                  <a:pt x="20976" y="19043"/>
                  <a:pt x="20911" y="19128"/>
                  <a:pt x="20846" y="19213"/>
                </a:cubicBezTo>
                <a:cubicBezTo>
                  <a:pt x="20806" y="19241"/>
                  <a:pt x="20868" y="19134"/>
                  <a:pt x="20890" y="19131"/>
                </a:cubicBezTo>
                <a:cubicBezTo>
                  <a:pt x="20807" y="19164"/>
                  <a:pt x="20732" y="19338"/>
                  <a:pt x="20710" y="19417"/>
                </a:cubicBezTo>
                <a:cubicBezTo>
                  <a:pt x="20633" y="19493"/>
                  <a:pt x="20685" y="19399"/>
                  <a:pt x="20710" y="19341"/>
                </a:cubicBezTo>
                <a:cubicBezTo>
                  <a:pt x="20605" y="19453"/>
                  <a:pt x="20549" y="19602"/>
                  <a:pt x="20432" y="19705"/>
                </a:cubicBezTo>
                <a:cubicBezTo>
                  <a:pt x="20392" y="19733"/>
                  <a:pt x="20454" y="19626"/>
                  <a:pt x="20487" y="19632"/>
                </a:cubicBezTo>
                <a:cubicBezTo>
                  <a:pt x="20454" y="19626"/>
                  <a:pt x="20386" y="19690"/>
                  <a:pt x="20318" y="19753"/>
                </a:cubicBezTo>
                <a:cubicBezTo>
                  <a:pt x="20337" y="19729"/>
                  <a:pt x="20393" y="19656"/>
                  <a:pt x="20334" y="19708"/>
                </a:cubicBezTo>
                <a:cubicBezTo>
                  <a:pt x="20350" y="19662"/>
                  <a:pt x="20393" y="19656"/>
                  <a:pt x="20408" y="19610"/>
                </a:cubicBezTo>
                <a:cubicBezTo>
                  <a:pt x="20347" y="19640"/>
                  <a:pt x="20313" y="19711"/>
                  <a:pt x="20251" y="19741"/>
                </a:cubicBezTo>
                <a:cubicBezTo>
                  <a:pt x="20285" y="19747"/>
                  <a:pt x="20260" y="19805"/>
                  <a:pt x="20201" y="19856"/>
                </a:cubicBezTo>
                <a:cubicBezTo>
                  <a:pt x="20192" y="19869"/>
                  <a:pt x="20229" y="19820"/>
                  <a:pt x="20250" y="19817"/>
                </a:cubicBezTo>
                <a:cubicBezTo>
                  <a:pt x="20195" y="19890"/>
                  <a:pt x="20148" y="19951"/>
                  <a:pt x="20117" y="20042"/>
                </a:cubicBezTo>
                <a:cubicBezTo>
                  <a:pt x="20027" y="20109"/>
                  <a:pt x="20120" y="19987"/>
                  <a:pt x="20050" y="20029"/>
                </a:cubicBezTo>
                <a:cubicBezTo>
                  <a:pt x="20031" y="20054"/>
                  <a:pt x="20003" y="20090"/>
                  <a:pt x="19987" y="20136"/>
                </a:cubicBezTo>
                <a:cubicBezTo>
                  <a:pt x="19969" y="20160"/>
                  <a:pt x="19950" y="20184"/>
                  <a:pt x="19962" y="20194"/>
                </a:cubicBezTo>
                <a:cubicBezTo>
                  <a:pt x="19814" y="20312"/>
                  <a:pt x="19657" y="20442"/>
                  <a:pt x="19571" y="20530"/>
                </a:cubicBezTo>
                <a:cubicBezTo>
                  <a:pt x="19583" y="20539"/>
                  <a:pt x="19604" y="20536"/>
                  <a:pt x="19549" y="20609"/>
                </a:cubicBezTo>
                <a:cubicBezTo>
                  <a:pt x="19475" y="20630"/>
                  <a:pt x="19559" y="20521"/>
                  <a:pt x="19411" y="20639"/>
                </a:cubicBezTo>
                <a:cubicBezTo>
                  <a:pt x="19457" y="20578"/>
                  <a:pt x="19509" y="20560"/>
                  <a:pt x="19537" y="20524"/>
                </a:cubicBezTo>
                <a:cubicBezTo>
                  <a:pt x="19522" y="20493"/>
                  <a:pt x="19401" y="20651"/>
                  <a:pt x="19331" y="20693"/>
                </a:cubicBezTo>
                <a:cubicBezTo>
                  <a:pt x="19321" y="20705"/>
                  <a:pt x="19352" y="20690"/>
                  <a:pt x="19324" y="20727"/>
                </a:cubicBezTo>
                <a:cubicBezTo>
                  <a:pt x="19275" y="20766"/>
                  <a:pt x="19235" y="20793"/>
                  <a:pt x="19183" y="20811"/>
                </a:cubicBezTo>
                <a:cubicBezTo>
                  <a:pt x="19115" y="20875"/>
                  <a:pt x="19176" y="20845"/>
                  <a:pt x="19121" y="20918"/>
                </a:cubicBezTo>
                <a:cubicBezTo>
                  <a:pt x="19071" y="20957"/>
                  <a:pt x="18992" y="20935"/>
                  <a:pt x="18921" y="21054"/>
                </a:cubicBezTo>
                <a:cubicBezTo>
                  <a:pt x="18869" y="21071"/>
                  <a:pt x="18918" y="21032"/>
                  <a:pt x="18835" y="21065"/>
                </a:cubicBezTo>
                <a:cubicBezTo>
                  <a:pt x="18872" y="21016"/>
                  <a:pt x="18924" y="20999"/>
                  <a:pt x="18964" y="20971"/>
                </a:cubicBezTo>
                <a:cubicBezTo>
                  <a:pt x="18881" y="21004"/>
                  <a:pt x="18811" y="21047"/>
                  <a:pt x="18731" y="21101"/>
                </a:cubicBezTo>
                <a:cubicBezTo>
                  <a:pt x="18691" y="21128"/>
                  <a:pt x="18654" y="21177"/>
                  <a:pt x="18602" y="21195"/>
                </a:cubicBezTo>
                <a:cubicBezTo>
                  <a:pt x="18562" y="21222"/>
                  <a:pt x="18522" y="21249"/>
                  <a:pt x="18472" y="21288"/>
                </a:cubicBezTo>
                <a:cubicBezTo>
                  <a:pt x="18392" y="21343"/>
                  <a:pt x="18303" y="21409"/>
                  <a:pt x="18214" y="21476"/>
                </a:cubicBezTo>
                <a:cubicBezTo>
                  <a:pt x="18174" y="21503"/>
                  <a:pt x="18124" y="21542"/>
                  <a:pt x="18084" y="21570"/>
                </a:cubicBezTo>
                <a:cubicBezTo>
                  <a:pt x="18044" y="21597"/>
                  <a:pt x="17992" y="21615"/>
                  <a:pt x="17952" y="21642"/>
                </a:cubicBezTo>
                <a:cubicBezTo>
                  <a:pt x="17949" y="21620"/>
                  <a:pt x="17968" y="21596"/>
                  <a:pt x="18005" y="21547"/>
                </a:cubicBezTo>
                <a:cubicBezTo>
                  <a:pt x="17944" y="21578"/>
                  <a:pt x="17876" y="21641"/>
                  <a:pt x="17802" y="21662"/>
                </a:cubicBezTo>
                <a:cubicBezTo>
                  <a:pt x="17765" y="21711"/>
                  <a:pt x="17787" y="21708"/>
                  <a:pt x="17799" y="21717"/>
                </a:cubicBezTo>
                <a:cubicBezTo>
                  <a:pt x="17768" y="21732"/>
                  <a:pt x="17719" y="21771"/>
                  <a:pt x="17667" y="21789"/>
                </a:cubicBezTo>
                <a:cubicBezTo>
                  <a:pt x="17605" y="21819"/>
                  <a:pt x="17544" y="21849"/>
                  <a:pt x="17492" y="21867"/>
                </a:cubicBezTo>
                <a:cubicBezTo>
                  <a:pt x="17369" y="21928"/>
                  <a:pt x="17258" y="21997"/>
                  <a:pt x="17193" y="22082"/>
                </a:cubicBezTo>
                <a:cubicBezTo>
                  <a:pt x="17129" y="22091"/>
                  <a:pt x="17252" y="22031"/>
                  <a:pt x="17227" y="22012"/>
                </a:cubicBezTo>
                <a:cubicBezTo>
                  <a:pt x="17197" y="22027"/>
                  <a:pt x="17178" y="22051"/>
                  <a:pt x="17157" y="22054"/>
                </a:cubicBezTo>
                <a:cubicBezTo>
                  <a:pt x="17135" y="22057"/>
                  <a:pt x="17117" y="22081"/>
                  <a:pt x="17095" y="22084"/>
                </a:cubicBezTo>
                <a:cubicBezTo>
                  <a:pt x="17065" y="22099"/>
                  <a:pt x="17034" y="22114"/>
                  <a:pt x="16982" y="22132"/>
                </a:cubicBezTo>
                <a:cubicBezTo>
                  <a:pt x="16972" y="22144"/>
                  <a:pt x="16994" y="22142"/>
                  <a:pt x="16975" y="22166"/>
                </a:cubicBezTo>
                <a:cubicBezTo>
                  <a:pt x="16855" y="22247"/>
                  <a:pt x="16620" y="22279"/>
                  <a:pt x="16564" y="22352"/>
                </a:cubicBezTo>
                <a:cubicBezTo>
                  <a:pt x="16521" y="22358"/>
                  <a:pt x="16540" y="22334"/>
                  <a:pt x="16454" y="22345"/>
                </a:cubicBezTo>
                <a:cubicBezTo>
                  <a:pt x="16405" y="22384"/>
                  <a:pt x="16355" y="22424"/>
                  <a:pt x="16291" y="22432"/>
                </a:cubicBezTo>
                <a:cubicBezTo>
                  <a:pt x="16273" y="22457"/>
                  <a:pt x="16242" y="22472"/>
                  <a:pt x="16211" y="22487"/>
                </a:cubicBezTo>
                <a:cubicBezTo>
                  <a:pt x="16181" y="22502"/>
                  <a:pt x="16159" y="22505"/>
                  <a:pt x="16150" y="22517"/>
                </a:cubicBezTo>
                <a:cubicBezTo>
                  <a:pt x="16128" y="22520"/>
                  <a:pt x="16098" y="22535"/>
                  <a:pt x="16076" y="22538"/>
                </a:cubicBezTo>
                <a:cubicBezTo>
                  <a:pt x="15981" y="22561"/>
                  <a:pt x="15877" y="22597"/>
                  <a:pt x="15806" y="22639"/>
                </a:cubicBezTo>
                <a:cubicBezTo>
                  <a:pt x="15816" y="22627"/>
                  <a:pt x="15730" y="22639"/>
                  <a:pt x="15761" y="22624"/>
                </a:cubicBezTo>
                <a:cubicBezTo>
                  <a:pt x="15709" y="22642"/>
                  <a:pt x="15669" y="22669"/>
                  <a:pt x="15616" y="22687"/>
                </a:cubicBezTo>
                <a:cubicBezTo>
                  <a:pt x="15564" y="22705"/>
                  <a:pt x="15512" y="22723"/>
                  <a:pt x="15467" y="22707"/>
                </a:cubicBezTo>
                <a:cubicBezTo>
                  <a:pt x="15427" y="22734"/>
                  <a:pt x="15387" y="22761"/>
                  <a:pt x="15344" y="22767"/>
                </a:cubicBezTo>
                <a:cubicBezTo>
                  <a:pt x="15344" y="22767"/>
                  <a:pt x="15332" y="22758"/>
                  <a:pt x="15298" y="22751"/>
                </a:cubicBezTo>
                <a:cubicBezTo>
                  <a:pt x="15292" y="22785"/>
                  <a:pt x="15175" y="22812"/>
                  <a:pt x="15215" y="22784"/>
                </a:cubicBezTo>
                <a:cubicBezTo>
                  <a:pt x="15185" y="22799"/>
                  <a:pt x="15154" y="22815"/>
                  <a:pt x="15102" y="22832"/>
                </a:cubicBezTo>
                <a:cubicBezTo>
                  <a:pt x="15050" y="22850"/>
                  <a:pt x="14995" y="22847"/>
                  <a:pt x="14943" y="22865"/>
                </a:cubicBezTo>
                <a:cubicBezTo>
                  <a:pt x="14967" y="22883"/>
                  <a:pt x="14915" y="22901"/>
                  <a:pt x="14841" y="22922"/>
                </a:cubicBezTo>
                <a:cubicBezTo>
                  <a:pt x="14820" y="22925"/>
                  <a:pt x="14860" y="22898"/>
                  <a:pt x="14869" y="22886"/>
                </a:cubicBezTo>
                <a:cubicBezTo>
                  <a:pt x="14783" y="22897"/>
                  <a:pt x="14679" y="22933"/>
                  <a:pt x="14572" y="22947"/>
                </a:cubicBezTo>
                <a:cubicBezTo>
                  <a:pt x="14643" y="22905"/>
                  <a:pt x="14679" y="22933"/>
                  <a:pt x="14716" y="22884"/>
                </a:cubicBezTo>
                <a:cubicBezTo>
                  <a:pt x="14652" y="22893"/>
                  <a:pt x="14588" y="22902"/>
                  <a:pt x="14536" y="22920"/>
                </a:cubicBezTo>
                <a:cubicBezTo>
                  <a:pt x="14502" y="22913"/>
                  <a:pt x="14554" y="22895"/>
                  <a:pt x="14585" y="22880"/>
                </a:cubicBezTo>
                <a:cubicBezTo>
                  <a:pt x="14658" y="22859"/>
                  <a:pt x="14738" y="22881"/>
                  <a:pt x="14818" y="22827"/>
                </a:cubicBezTo>
                <a:cubicBezTo>
                  <a:pt x="14723" y="22851"/>
                  <a:pt x="14760" y="22802"/>
                  <a:pt x="14665" y="22826"/>
                </a:cubicBezTo>
                <a:cubicBezTo>
                  <a:pt x="14641" y="22807"/>
                  <a:pt x="14714" y="22787"/>
                  <a:pt x="14788" y="22766"/>
                </a:cubicBezTo>
                <a:cubicBezTo>
                  <a:pt x="14821" y="22772"/>
                  <a:pt x="14769" y="22790"/>
                  <a:pt x="14772" y="22811"/>
                </a:cubicBezTo>
                <a:cubicBezTo>
                  <a:pt x="14848" y="22812"/>
                  <a:pt x="14876" y="22776"/>
                  <a:pt x="14904" y="22739"/>
                </a:cubicBezTo>
                <a:cubicBezTo>
                  <a:pt x="14938" y="22746"/>
                  <a:pt x="14968" y="22730"/>
                  <a:pt x="14999" y="22715"/>
                </a:cubicBezTo>
                <a:cubicBezTo>
                  <a:pt x="15020" y="22713"/>
                  <a:pt x="15042" y="22710"/>
                  <a:pt x="15063" y="22707"/>
                </a:cubicBezTo>
                <a:cubicBezTo>
                  <a:pt x="15063" y="22707"/>
                  <a:pt x="15085" y="22704"/>
                  <a:pt x="15106" y="22701"/>
                </a:cubicBezTo>
                <a:cubicBezTo>
                  <a:pt x="15075" y="22716"/>
                  <a:pt x="15045" y="22731"/>
                  <a:pt x="15023" y="22734"/>
                </a:cubicBezTo>
                <a:cubicBezTo>
                  <a:pt x="15002" y="22737"/>
                  <a:pt x="14993" y="22749"/>
                  <a:pt x="14983" y="22761"/>
                </a:cubicBezTo>
                <a:cubicBezTo>
                  <a:pt x="14962" y="22764"/>
                  <a:pt x="14943" y="22788"/>
                  <a:pt x="14879" y="22797"/>
                </a:cubicBezTo>
                <a:cubicBezTo>
                  <a:pt x="14851" y="22833"/>
                  <a:pt x="15017" y="22768"/>
                  <a:pt x="14894" y="22828"/>
                </a:cubicBezTo>
                <a:cubicBezTo>
                  <a:pt x="14823" y="22870"/>
                  <a:pt x="14900" y="22794"/>
                  <a:pt x="14830" y="22836"/>
                </a:cubicBezTo>
                <a:cubicBezTo>
                  <a:pt x="14738" y="22881"/>
                  <a:pt x="14820" y="22849"/>
                  <a:pt x="14875" y="22852"/>
                </a:cubicBezTo>
                <a:cubicBezTo>
                  <a:pt x="14845" y="22867"/>
                  <a:pt x="14823" y="22870"/>
                  <a:pt x="14793" y="22885"/>
                </a:cubicBezTo>
                <a:cubicBezTo>
                  <a:pt x="14835" y="22879"/>
                  <a:pt x="14930" y="22856"/>
                  <a:pt x="15025" y="22832"/>
                </a:cubicBezTo>
                <a:cubicBezTo>
                  <a:pt x="15077" y="22814"/>
                  <a:pt x="15117" y="22787"/>
                  <a:pt x="15160" y="22781"/>
                </a:cubicBezTo>
                <a:cubicBezTo>
                  <a:pt x="15212" y="22763"/>
                  <a:pt x="15255" y="22757"/>
                  <a:pt x="15298" y="22751"/>
                </a:cubicBezTo>
                <a:cubicBezTo>
                  <a:pt x="15250" y="22714"/>
                  <a:pt x="15369" y="22709"/>
                  <a:pt x="15366" y="22688"/>
                </a:cubicBezTo>
                <a:cubicBezTo>
                  <a:pt x="15283" y="22721"/>
                  <a:pt x="15188" y="22744"/>
                  <a:pt x="15096" y="22790"/>
                </a:cubicBezTo>
                <a:cubicBezTo>
                  <a:pt x="15033" y="22722"/>
                  <a:pt x="15372" y="22654"/>
                  <a:pt x="15462" y="22588"/>
                </a:cubicBezTo>
                <a:cubicBezTo>
                  <a:pt x="15614" y="22589"/>
                  <a:pt x="15482" y="22661"/>
                  <a:pt x="15580" y="22659"/>
                </a:cubicBezTo>
                <a:cubicBezTo>
                  <a:pt x="15574" y="22616"/>
                  <a:pt x="15718" y="22630"/>
                  <a:pt x="15764" y="22569"/>
                </a:cubicBezTo>
                <a:cubicBezTo>
                  <a:pt x="15703" y="22599"/>
                  <a:pt x="15534" y="22643"/>
                  <a:pt x="15581" y="22583"/>
                </a:cubicBezTo>
                <a:cubicBezTo>
                  <a:pt x="15712" y="22587"/>
                  <a:pt x="15682" y="22525"/>
                  <a:pt x="15842" y="22493"/>
                </a:cubicBezTo>
                <a:cubicBezTo>
                  <a:pt x="15918" y="22494"/>
                  <a:pt x="15826" y="22539"/>
                  <a:pt x="15911" y="22527"/>
                </a:cubicBezTo>
                <a:cubicBezTo>
                  <a:pt x="16013" y="22470"/>
                  <a:pt x="16013" y="22470"/>
                  <a:pt x="16013" y="22470"/>
                </a:cubicBezTo>
                <a:cubicBezTo>
                  <a:pt x="15970" y="22476"/>
                  <a:pt x="15936" y="22469"/>
                  <a:pt x="15958" y="22466"/>
                </a:cubicBezTo>
                <a:cubicBezTo>
                  <a:pt x="15998" y="22439"/>
                  <a:pt x="16050" y="22421"/>
                  <a:pt x="16090" y="22394"/>
                </a:cubicBezTo>
                <a:cubicBezTo>
                  <a:pt x="16142" y="22376"/>
                  <a:pt x="16182" y="22349"/>
                  <a:pt x="16222" y="22322"/>
                </a:cubicBezTo>
                <a:cubicBezTo>
                  <a:pt x="16305" y="22289"/>
                  <a:pt x="16409" y="22253"/>
                  <a:pt x="16489" y="22199"/>
                </a:cubicBezTo>
                <a:cubicBezTo>
                  <a:pt x="16425" y="22207"/>
                  <a:pt x="16376" y="22247"/>
                  <a:pt x="16311" y="22255"/>
                </a:cubicBezTo>
                <a:cubicBezTo>
                  <a:pt x="16413" y="22198"/>
                  <a:pt x="16606" y="22096"/>
                  <a:pt x="16664" y="22121"/>
                </a:cubicBezTo>
                <a:cubicBezTo>
                  <a:pt x="16633" y="22136"/>
                  <a:pt x="16603" y="22151"/>
                  <a:pt x="16581" y="22154"/>
                </a:cubicBezTo>
                <a:cubicBezTo>
                  <a:pt x="16563" y="22178"/>
                  <a:pt x="16532" y="22193"/>
                  <a:pt x="16513" y="22217"/>
                </a:cubicBezTo>
                <a:cubicBezTo>
                  <a:pt x="16495" y="22241"/>
                  <a:pt x="16608" y="22193"/>
                  <a:pt x="16581" y="22230"/>
                </a:cubicBezTo>
                <a:cubicBezTo>
                  <a:pt x="16691" y="22161"/>
                  <a:pt x="16787" y="22060"/>
                  <a:pt x="16888" y="22080"/>
                </a:cubicBezTo>
                <a:cubicBezTo>
                  <a:pt x="16925" y="22031"/>
                  <a:pt x="16968" y="22025"/>
                  <a:pt x="17010" y="22019"/>
                </a:cubicBezTo>
                <a:cubicBezTo>
                  <a:pt x="17008" y="21998"/>
                  <a:pt x="17048" y="21971"/>
                  <a:pt x="17026" y="21974"/>
                </a:cubicBezTo>
                <a:cubicBezTo>
                  <a:pt x="17100" y="21953"/>
                  <a:pt x="17180" y="21899"/>
                  <a:pt x="17260" y="21844"/>
                </a:cubicBezTo>
                <a:cubicBezTo>
                  <a:pt x="17352" y="21799"/>
                  <a:pt x="17423" y="21757"/>
                  <a:pt x="17477" y="21760"/>
                </a:cubicBezTo>
                <a:cubicBezTo>
                  <a:pt x="17508" y="21745"/>
                  <a:pt x="17548" y="21718"/>
                  <a:pt x="17588" y="21691"/>
                </a:cubicBezTo>
                <a:cubicBezTo>
                  <a:pt x="17696" y="21600"/>
                  <a:pt x="17696" y="21600"/>
                  <a:pt x="17696" y="21600"/>
                </a:cubicBezTo>
                <a:cubicBezTo>
                  <a:pt x="17699" y="21621"/>
                  <a:pt x="17702" y="21643"/>
                  <a:pt x="17692" y="21655"/>
                </a:cubicBezTo>
                <a:cubicBezTo>
                  <a:pt x="17763" y="21613"/>
                  <a:pt x="17730" y="21606"/>
                  <a:pt x="17767" y="21558"/>
                </a:cubicBezTo>
                <a:cubicBezTo>
                  <a:pt x="17852" y="21546"/>
                  <a:pt x="17815" y="21595"/>
                  <a:pt x="17787" y="21631"/>
                </a:cubicBezTo>
                <a:cubicBezTo>
                  <a:pt x="17879" y="21586"/>
                  <a:pt x="17978" y="21508"/>
                  <a:pt x="18024" y="21523"/>
                </a:cubicBezTo>
                <a:cubicBezTo>
                  <a:pt x="18030" y="21490"/>
                  <a:pt x="17957" y="21510"/>
                  <a:pt x="18034" y="21435"/>
                </a:cubicBezTo>
                <a:cubicBezTo>
                  <a:pt x="17911" y="21495"/>
                  <a:pt x="18012" y="21514"/>
                  <a:pt x="17855" y="21568"/>
                </a:cubicBezTo>
                <a:cubicBezTo>
                  <a:pt x="17822" y="21561"/>
                  <a:pt x="17850" y="21525"/>
                  <a:pt x="17908" y="21473"/>
                </a:cubicBezTo>
                <a:cubicBezTo>
                  <a:pt x="17979" y="21431"/>
                  <a:pt x="18052" y="21410"/>
                  <a:pt x="18123" y="21368"/>
                </a:cubicBezTo>
                <a:cubicBezTo>
                  <a:pt x="18185" y="21338"/>
                  <a:pt x="18267" y="21305"/>
                  <a:pt x="18326" y="21254"/>
                </a:cubicBezTo>
                <a:cubicBezTo>
                  <a:pt x="18390" y="21245"/>
                  <a:pt x="18279" y="21314"/>
                  <a:pt x="18230" y="21354"/>
                </a:cubicBezTo>
                <a:cubicBezTo>
                  <a:pt x="18304" y="21333"/>
                  <a:pt x="18350" y="21272"/>
                  <a:pt x="18409" y="21221"/>
                </a:cubicBezTo>
                <a:cubicBezTo>
                  <a:pt x="18397" y="21211"/>
                  <a:pt x="18387" y="21223"/>
                  <a:pt x="18366" y="21226"/>
                </a:cubicBezTo>
                <a:cubicBezTo>
                  <a:pt x="18403" y="21178"/>
                  <a:pt x="18427" y="21196"/>
                  <a:pt x="18425" y="21175"/>
                </a:cubicBezTo>
                <a:cubicBezTo>
                  <a:pt x="18486" y="21145"/>
                  <a:pt x="18523" y="21096"/>
                  <a:pt x="18572" y="21057"/>
                </a:cubicBezTo>
                <a:cubicBezTo>
                  <a:pt x="18612" y="21030"/>
                  <a:pt x="18662" y="20990"/>
                  <a:pt x="18726" y="20982"/>
                </a:cubicBezTo>
                <a:cubicBezTo>
                  <a:pt x="18720" y="20939"/>
                  <a:pt x="18859" y="20833"/>
                  <a:pt x="18883" y="20851"/>
                </a:cubicBezTo>
                <a:cubicBezTo>
                  <a:pt x="18899" y="20806"/>
                  <a:pt x="18957" y="20754"/>
                  <a:pt x="19007" y="20715"/>
                </a:cubicBezTo>
                <a:cubicBezTo>
                  <a:pt x="19053" y="20654"/>
                  <a:pt x="19124" y="20612"/>
                  <a:pt x="19173" y="20573"/>
                </a:cubicBezTo>
                <a:cubicBezTo>
                  <a:pt x="19213" y="20545"/>
                  <a:pt x="19192" y="20548"/>
                  <a:pt x="19198" y="20515"/>
                </a:cubicBezTo>
                <a:cubicBezTo>
                  <a:pt x="19290" y="20470"/>
                  <a:pt x="19377" y="20382"/>
                  <a:pt x="19404" y="20422"/>
                </a:cubicBezTo>
                <a:cubicBezTo>
                  <a:pt x="19429" y="20364"/>
                  <a:pt x="19457" y="20327"/>
                  <a:pt x="19494" y="20279"/>
                </a:cubicBezTo>
                <a:cubicBezTo>
                  <a:pt x="19593" y="20200"/>
                  <a:pt x="19481" y="20346"/>
                  <a:pt x="19552" y="20304"/>
                </a:cubicBezTo>
                <a:cubicBezTo>
                  <a:pt x="19595" y="20221"/>
                  <a:pt x="19675" y="20167"/>
                  <a:pt x="19755" y="20113"/>
                </a:cubicBezTo>
                <a:cubicBezTo>
                  <a:pt x="19740" y="20082"/>
                  <a:pt x="19796" y="20009"/>
                  <a:pt x="19803" y="19975"/>
                </a:cubicBezTo>
                <a:cubicBezTo>
                  <a:pt x="19855" y="19957"/>
                  <a:pt x="19753" y="20091"/>
                  <a:pt x="19845" y="20046"/>
                </a:cubicBezTo>
                <a:cubicBezTo>
                  <a:pt x="19815" y="19985"/>
                  <a:pt x="19997" y="19797"/>
                  <a:pt x="20108" y="19727"/>
                </a:cubicBezTo>
                <a:cubicBezTo>
                  <a:pt x="20136" y="19691"/>
                  <a:pt x="20142" y="19657"/>
                  <a:pt x="20161" y="19633"/>
                </a:cubicBezTo>
                <a:cubicBezTo>
                  <a:pt x="20179" y="19609"/>
                  <a:pt x="20176" y="19587"/>
                  <a:pt x="20226" y="19548"/>
                </a:cubicBezTo>
                <a:cubicBezTo>
                  <a:pt x="20228" y="19569"/>
                  <a:pt x="20206" y="19649"/>
                  <a:pt x="20281" y="19551"/>
                </a:cubicBezTo>
                <a:cubicBezTo>
                  <a:pt x="20302" y="19548"/>
                  <a:pt x="20277" y="19606"/>
                  <a:pt x="20252" y="19664"/>
                </a:cubicBezTo>
                <a:cubicBezTo>
                  <a:pt x="20252" y="19664"/>
                  <a:pt x="20261" y="19652"/>
                  <a:pt x="20270" y="19640"/>
                </a:cubicBezTo>
                <a:cubicBezTo>
                  <a:pt x="20280" y="19628"/>
                  <a:pt x="20301" y="19625"/>
                  <a:pt x="20310" y="19613"/>
                </a:cubicBezTo>
                <a:cubicBezTo>
                  <a:pt x="20336" y="19555"/>
                  <a:pt x="20296" y="19582"/>
                  <a:pt x="20330" y="19512"/>
                </a:cubicBezTo>
                <a:cubicBezTo>
                  <a:pt x="20383" y="19418"/>
                  <a:pt x="20422" y="19467"/>
                  <a:pt x="20499" y="19391"/>
                </a:cubicBezTo>
                <a:cubicBezTo>
                  <a:pt x="20533" y="19321"/>
                  <a:pt x="20616" y="19288"/>
                  <a:pt x="20651" y="19218"/>
                </a:cubicBezTo>
                <a:cubicBezTo>
                  <a:pt x="20568" y="19251"/>
                  <a:pt x="20533" y="19321"/>
                  <a:pt x="20478" y="19394"/>
                </a:cubicBezTo>
                <a:cubicBezTo>
                  <a:pt x="20466" y="19385"/>
                  <a:pt x="20426" y="19412"/>
                  <a:pt x="20386" y="19439"/>
                </a:cubicBezTo>
                <a:cubicBezTo>
                  <a:pt x="20454" y="19375"/>
                  <a:pt x="20420" y="19369"/>
                  <a:pt x="20509" y="19302"/>
                </a:cubicBezTo>
                <a:cubicBezTo>
                  <a:pt x="20565" y="19230"/>
                  <a:pt x="20457" y="19320"/>
                  <a:pt x="20513" y="19247"/>
                </a:cubicBezTo>
                <a:cubicBezTo>
                  <a:pt x="20531" y="19223"/>
                  <a:pt x="20553" y="19220"/>
                  <a:pt x="20581" y="19184"/>
                </a:cubicBezTo>
                <a:cubicBezTo>
                  <a:pt x="20611" y="19169"/>
                  <a:pt x="20630" y="19144"/>
                  <a:pt x="20658" y="19108"/>
                </a:cubicBezTo>
                <a:cubicBezTo>
                  <a:pt x="20704" y="19047"/>
                  <a:pt x="20760" y="18974"/>
                  <a:pt x="20819" y="18923"/>
                </a:cubicBezTo>
                <a:cubicBezTo>
                  <a:pt x="20816" y="18901"/>
                  <a:pt x="20720" y="19002"/>
                  <a:pt x="20704" y="19047"/>
                </a:cubicBezTo>
                <a:cubicBezTo>
                  <a:pt x="20637" y="19034"/>
                  <a:pt x="20780" y="18874"/>
                  <a:pt x="20847" y="18810"/>
                </a:cubicBezTo>
                <a:cubicBezTo>
                  <a:pt x="20909" y="18780"/>
                  <a:pt x="20754" y="18931"/>
                  <a:pt x="20804" y="18892"/>
                </a:cubicBezTo>
                <a:cubicBezTo>
                  <a:pt x="20905" y="18835"/>
                  <a:pt x="20847" y="18810"/>
                  <a:pt x="20915" y="18746"/>
                </a:cubicBezTo>
                <a:cubicBezTo>
                  <a:pt x="20889" y="18881"/>
                  <a:pt x="21098" y="18482"/>
                  <a:pt x="21230" y="18410"/>
                </a:cubicBezTo>
                <a:cubicBezTo>
                  <a:pt x="21243" y="18342"/>
                  <a:pt x="21312" y="18202"/>
                  <a:pt x="21353" y="18099"/>
                </a:cubicBezTo>
                <a:cubicBezTo>
                  <a:pt x="21380" y="18139"/>
                  <a:pt x="21545" y="17822"/>
                  <a:pt x="21549" y="17767"/>
                </a:cubicBezTo>
                <a:cubicBezTo>
                  <a:pt x="21567" y="17743"/>
                  <a:pt x="21586" y="17718"/>
                  <a:pt x="21579" y="17752"/>
                </a:cubicBezTo>
                <a:cubicBezTo>
                  <a:pt x="21583" y="17697"/>
                  <a:pt x="21642" y="17646"/>
                  <a:pt x="21673" y="17554"/>
                </a:cubicBezTo>
                <a:cubicBezTo>
                  <a:pt x="21704" y="17539"/>
                  <a:pt x="21732" y="17503"/>
                  <a:pt x="21747" y="17457"/>
                </a:cubicBezTo>
                <a:cubicBezTo>
                  <a:pt x="21763" y="17411"/>
                  <a:pt x="21767" y="17356"/>
                  <a:pt x="21801" y="17286"/>
                </a:cubicBezTo>
                <a:cubicBezTo>
                  <a:pt x="21832" y="17271"/>
                  <a:pt x="21816" y="17317"/>
                  <a:pt x="21863" y="17256"/>
                </a:cubicBezTo>
                <a:cubicBezTo>
                  <a:pt x="21913" y="17140"/>
                  <a:pt x="21953" y="17037"/>
                  <a:pt x="21997" y="16954"/>
                </a:cubicBezTo>
                <a:cubicBezTo>
                  <a:pt x="22050" y="16860"/>
                  <a:pt x="22094" y="16778"/>
                  <a:pt x="22141" y="16641"/>
                </a:cubicBezTo>
                <a:cubicBezTo>
                  <a:pt x="22172" y="16626"/>
                  <a:pt x="22156" y="16671"/>
                  <a:pt x="22190" y="16601"/>
                </a:cubicBezTo>
                <a:cubicBezTo>
                  <a:pt x="22154" y="16574"/>
                  <a:pt x="22237" y="16464"/>
                  <a:pt x="22296" y="16413"/>
                </a:cubicBezTo>
                <a:cubicBezTo>
                  <a:pt x="22244" y="16431"/>
                  <a:pt x="22270" y="16296"/>
                  <a:pt x="22323" y="16202"/>
                </a:cubicBezTo>
                <a:cubicBezTo>
                  <a:pt x="22363" y="16175"/>
                  <a:pt x="22273" y="16318"/>
                  <a:pt x="22315" y="16312"/>
                </a:cubicBezTo>
                <a:cubicBezTo>
                  <a:pt x="22334" y="16288"/>
                  <a:pt x="22350" y="16242"/>
                  <a:pt x="22368" y="16218"/>
                </a:cubicBezTo>
                <a:cubicBezTo>
                  <a:pt x="22363" y="16175"/>
                  <a:pt x="22326" y="16223"/>
                  <a:pt x="22369" y="16141"/>
                </a:cubicBezTo>
                <a:cubicBezTo>
                  <a:pt x="22378" y="16129"/>
                  <a:pt x="22356" y="16208"/>
                  <a:pt x="22384" y="16172"/>
                </a:cubicBezTo>
                <a:cubicBezTo>
                  <a:pt x="22446" y="16065"/>
                  <a:pt x="22450" y="16010"/>
                  <a:pt x="22429" y="16013"/>
                </a:cubicBezTo>
                <a:cubicBezTo>
                  <a:pt x="22448" y="15913"/>
                  <a:pt x="22453" y="16032"/>
                  <a:pt x="22494" y="15928"/>
                </a:cubicBezTo>
                <a:cubicBezTo>
                  <a:pt x="22460" y="15922"/>
                  <a:pt x="22482" y="15843"/>
                  <a:pt x="22502" y="15742"/>
                </a:cubicBezTo>
                <a:cubicBezTo>
                  <a:pt x="22544" y="15736"/>
                  <a:pt x="22527" y="15684"/>
                  <a:pt x="22573" y="15623"/>
                </a:cubicBezTo>
                <a:cubicBezTo>
                  <a:pt x="22549" y="15605"/>
                  <a:pt x="22590" y="15501"/>
                  <a:pt x="22627" y="15452"/>
                </a:cubicBezTo>
                <a:cubicBezTo>
                  <a:pt x="22639" y="15462"/>
                  <a:pt x="22611" y="15498"/>
                  <a:pt x="22642" y="15483"/>
                </a:cubicBezTo>
                <a:cubicBezTo>
                  <a:pt x="22615" y="15443"/>
                  <a:pt x="22749" y="15142"/>
                  <a:pt x="22676" y="15162"/>
                </a:cubicBezTo>
                <a:cubicBezTo>
                  <a:pt x="22722" y="15102"/>
                  <a:pt x="22687" y="14997"/>
                  <a:pt x="22733" y="14937"/>
                </a:cubicBezTo>
                <a:cubicBezTo>
                  <a:pt x="22770" y="14888"/>
                  <a:pt x="22732" y="15013"/>
                  <a:pt x="22741" y="15077"/>
                </a:cubicBezTo>
                <a:cubicBezTo>
                  <a:pt x="22775" y="15007"/>
                  <a:pt x="22776" y="14931"/>
                  <a:pt x="22810" y="14861"/>
                </a:cubicBezTo>
                <a:cubicBezTo>
                  <a:pt x="22747" y="14793"/>
                  <a:pt x="22853" y="14528"/>
                  <a:pt x="22854" y="14452"/>
                </a:cubicBezTo>
                <a:cubicBezTo>
                  <a:pt x="22866" y="14461"/>
                  <a:pt x="22847" y="14562"/>
                  <a:pt x="22853" y="14604"/>
                </a:cubicBezTo>
                <a:cubicBezTo>
                  <a:pt x="22837" y="14650"/>
                  <a:pt x="22834" y="14629"/>
                  <a:pt x="22840" y="14595"/>
                </a:cubicBezTo>
                <a:cubicBezTo>
                  <a:pt x="22797" y="14677"/>
                  <a:pt x="22840" y="14672"/>
                  <a:pt x="22820" y="14772"/>
                </a:cubicBezTo>
                <a:cubicBezTo>
                  <a:pt x="22855" y="14626"/>
                  <a:pt x="22853" y="14604"/>
                  <a:pt x="22936" y="14495"/>
                </a:cubicBezTo>
                <a:cubicBezTo>
                  <a:pt x="22937" y="14419"/>
                  <a:pt x="22906" y="14510"/>
                  <a:pt x="22900" y="14467"/>
                </a:cubicBezTo>
                <a:cubicBezTo>
                  <a:pt x="22918" y="14443"/>
                  <a:pt x="22922" y="14388"/>
                  <a:pt x="22947" y="14330"/>
                </a:cubicBezTo>
                <a:cubicBezTo>
                  <a:pt x="22960" y="14263"/>
                  <a:pt x="22970" y="14174"/>
                  <a:pt x="22992" y="14095"/>
                </a:cubicBezTo>
                <a:cubicBezTo>
                  <a:pt x="22993" y="14019"/>
                  <a:pt x="23015" y="13939"/>
                  <a:pt x="23016" y="13863"/>
                </a:cubicBezTo>
                <a:cubicBezTo>
                  <a:pt x="23029" y="13796"/>
                  <a:pt x="23042" y="13729"/>
                  <a:pt x="23058" y="13683"/>
                </a:cubicBezTo>
                <a:cubicBezTo>
                  <a:pt x="23055" y="13661"/>
                  <a:pt x="23057" y="13509"/>
                  <a:pt x="23031" y="13566"/>
                </a:cubicBezTo>
                <a:cubicBezTo>
                  <a:pt x="23005" y="13450"/>
                  <a:pt x="23082" y="13374"/>
                  <a:pt x="23025" y="13349"/>
                </a:cubicBezTo>
                <a:cubicBezTo>
                  <a:pt x="23050" y="13291"/>
                  <a:pt x="23070" y="13365"/>
                  <a:pt x="23080" y="13353"/>
                </a:cubicBezTo>
                <a:cubicBezTo>
                  <a:pt x="23085" y="13396"/>
                  <a:pt x="23057" y="13432"/>
                  <a:pt x="23051" y="13466"/>
                </a:cubicBezTo>
                <a:cubicBezTo>
                  <a:pt x="23059" y="13530"/>
                  <a:pt x="23088" y="13417"/>
                  <a:pt x="23074" y="13561"/>
                </a:cubicBezTo>
                <a:cubicBezTo>
                  <a:pt x="23099" y="13503"/>
                  <a:pt x="23084" y="13472"/>
                  <a:pt x="23091" y="13439"/>
                </a:cubicBezTo>
                <a:cubicBezTo>
                  <a:pt x="23085" y="13396"/>
                  <a:pt x="23092" y="13362"/>
                  <a:pt x="23083" y="13298"/>
                </a:cubicBezTo>
                <a:cubicBezTo>
                  <a:pt x="23083" y="13298"/>
                  <a:pt x="23092" y="13286"/>
                  <a:pt x="23111" y="13261"/>
                </a:cubicBezTo>
                <a:cubicBezTo>
                  <a:pt x="23090" y="13188"/>
                  <a:pt x="23095" y="13307"/>
                  <a:pt x="23068" y="13267"/>
                </a:cubicBezTo>
                <a:cubicBezTo>
                  <a:pt x="23060" y="13203"/>
                  <a:pt x="23085" y="13145"/>
                  <a:pt x="23064" y="13071"/>
                </a:cubicBezTo>
                <a:cubicBezTo>
                  <a:pt x="23054" y="13160"/>
                  <a:pt x="23032" y="13239"/>
                  <a:pt x="23019" y="13306"/>
                </a:cubicBezTo>
                <a:cubicBezTo>
                  <a:pt x="23009" y="13395"/>
                  <a:pt x="22987" y="13474"/>
                  <a:pt x="22986" y="13551"/>
                </a:cubicBezTo>
                <a:cubicBezTo>
                  <a:pt x="22941" y="13709"/>
                  <a:pt x="22930" y="13874"/>
                  <a:pt x="22895" y="14021"/>
                </a:cubicBezTo>
                <a:cubicBezTo>
                  <a:pt x="22864" y="14112"/>
                  <a:pt x="22878" y="13969"/>
                  <a:pt x="22855" y="14048"/>
                </a:cubicBezTo>
                <a:cubicBezTo>
                  <a:pt x="22833" y="14127"/>
                  <a:pt x="22852" y="14103"/>
                  <a:pt x="22860" y="14167"/>
                </a:cubicBezTo>
                <a:cubicBezTo>
                  <a:pt x="22826" y="14237"/>
                  <a:pt x="22818" y="14097"/>
                  <a:pt x="22819" y="14020"/>
                </a:cubicBezTo>
                <a:cubicBezTo>
                  <a:pt x="22813" y="13977"/>
                  <a:pt x="22829" y="13932"/>
                  <a:pt x="22845" y="13886"/>
                </a:cubicBezTo>
                <a:cubicBezTo>
                  <a:pt x="22861" y="13840"/>
                  <a:pt x="22876" y="13794"/>
                  <a:pt x="22880" y="13739"/>
                </a:cubicBezTo>
                <a:cubicBezTo>
                  <a:pt x="22911" y="13648"/>
                  <a:pt x="22931" y="13547"/>
                  <a:pt x="22926" y="13428"/>
                </a:cubicBezTo>
                <a:cubicBezTo>
                  <a:pt x="22932" y="13394"/>
                  <a:pt x="22939" y="13361"/>
                  <a:pt x="22957" y="13337"/>
                </a:cubicBezTo>
                <a:cubicBezTo>
                  <a:pt x="22955" y="13315"/>
                  <a:pt x="22961" y="13282"/>
                  <a:pt x="22968" y="13248"/>
                </a:cubicBezTo>
                <a:cubicBezTo>
                  <a:pt x="22930" y="13297"/>
                  <a:pt x="22940" y="13284"/>
                  <a:pt x="22956" y="13162"/>
                </a:cubicBezTo>
                <a:cubicBezTo>
                  <a:pt x="22957" y="13086"/>
                  <a:pt x="22944" y="13153"/>
                  <a:pt x="22926" y="13101"/>
                </a:cubicBezTo>
                <a:cubicBezTo>
                  <a:pt x="22995" y="12961"/>
                  <a:pt x="22956" y="12912"/>
                  <a:pt x="22972" y="12789"/>
                </a:cubicBezTo>
                <a:cubicBezTo>
                  <a:pt x="22985" y="12722"/>
                  <a:pt x="22994" y="12787"/>
                  <a:pt x="23016" y="12707"/>
                </a:cubicBezTo>
                <a:cubicBezTo>
                  <a:pt x="22982" y="12701"/>
                  <a:pt x="22974" y="12637"/>
                  <a:pt x="22984" y="12548"/>
                </a:cubicBezTo>
                <a:cubicBezTo>
                  <a:pt x="23000" y="12502"/>
                  <a:pt x="23010" y="12664"/>
                  <a:pt x="23030" y="12564"/>
                </a:cubicBezTo>
                <a:cubicBezTo>
                  <a:pt x="23015" y="12533"/>
                  <a:pt x="23021" y="12499"/>
                  <a:pt x="23031" y="12487"/>
                </a:cubicBezTo>
                <a:cubicBezTo>
                  <a:pt x="23018" y="12478"/>
                  <a:pt x="23003" y="12447"/>
                  <a:pt x="22998" y="12404"/>
                </a:cubicBezTo>
                <a:cubicBezTo>
                  <a:pt x="23004" y="12371"/>
                  <a:pt x="23020" y="12325"/>
                  <a:pt x="23014" y="12282"/>
                </a:cubicBezTo>
                <a:cubicBezTo>
                  <a:pt x="23021" y="12249"/>
                  <a:pt x="23018" y="12227"/>
                  <a:pt x="23024" y="12194"/>
                </a:cubicBezTo>
                <a:cubicBezTo>
                  <a:pt x="23037" y="12127"/>
                  <a:pt x="23041" y="12072"/>
                  <a:pt x="23054" y="12004"/>
                </a:cubicBezTo>
                <a:cubicBezTo>
                  <a:pt x="23005" y="11967"/>
                  <a:pt x="23068" y="11861"/>
                  <a:pt x="23044" y="11766"/>
                </a:cubicBezTo>
                <a:cubicBezTo>
                  <a:pt x="23060" y="11720"/>
                  <a:pt x="23043" y="11842"/>
                  <a:pt x="23070" y="11882"/>
                </a:cubicBezTo>
                <a:cubicBezTo>
                  <a:pt x="23065" y="11839"/>
                  <a:pt x="23071" y="11806"/>
                  <a:pt x="23066" y="11763"/>
                </a:cubicBezTo>
                <a:cubicBezTo>
                  <a:pt x="23060" y="11720"/>
                  <a:pt x="23066" y="11687"/>
                  <a:pt x="23073" y="11653"/>
                </a:cubicBezTo>
                <a:cubicBezTo>
                  <a:pt x="23067" y="11610"/>
                  <a:pt x="23028" y="11561"/>
                  <a:pt x="23044" y="11515"/>
                </a:cubicBezTo>
                <a:cubicBezTo>
                  <a:pt x="23004" y="11542"/>
                  <a:pt x="23010" y="11509"/>
                  <a:pt x="22975" y="11405"/>
                </a:cubicBezTo>
                <a:cubicBezTo>
                  <a:pt x="22985" y="11567"/>
                  <a:pt x="22951" y="11637"/>
                  <a:pt x="22989" y="11762"/>
                </a:cubicBezTo>
                <a:cubicBezTo>
                  <a:pt x="22955" y="11832"/>
                  <a:pt x="22971" y="11710"/>
                  <a:pt x="22937" y="11780"/>
                </a:cubicBezTo>
                <a:cubicBezTo>
                  <a:pt x="22970" y="11863"/>
                  <a:pt x="22982" y="11872"/>
                  <a:pt x="23001" y="11848"/>
                </a:cubicBezTo>
                <a:cubicBezTo>
                  <a:pt x="23006" y="11891"/>
                  <a:pt x="23003" y="11946"/>
                  <a:pt x="23020" y="11998"/>
                </a:cubicBezTo>
                <a:cubicBezTo>
                  <a:pt x="22978" y="12004"/>
                  <a:pt x="22995" y="12132"/>
                  <a:pt x="23003" y="12197"/>
                </a:cubicBezTo>
                <a:cubicBezTo>
                  <a:pt x="22978" y="12255"/>
                  <a:pt x="22980" y="12102"/>
                  <a:pt x="22946" y="12095"/>
                </a:cubicBezTo>
                <a:cubicBezTo>
                  <a:pt x="22945" y="12172"/>
                  <a:pt x="22957" y="12181"/>
                  <a:pt x="22972" y="12212"/>
                </a:cubicBezTo>
                <a:cubicBezTo>
                  <a:pt x="22975" y="12233"/>
                  <a:pt x="22966" y="12245"/>
                  <a:pt x="22959" y="12279"/>
                </a:cubicBezTo>
                <a:cubicBezTo>
                  <a:pt x="22944" y="12325"/>
                  <a:pt x="22937" y="12358"/>
                  <a:pt x="22934" y="12413"/>
                </a:cubicBezTo>
                <a:cubicBezTo>
                  <a:pt x="22946" y="12422"/>
                  <a:pt x="22966" y="12496"/>
                  <a:pt x="22975" y="12560"/>
                </a:cubicBezTo>
                <a:cubicBezTo>
                  <a:pt x="22944" y="12575"/>
                  <a:pt x="22929" y="12545"/>
                  <a:pt x="22907" y="12624"/>
                </a:cubicBezTo>
                <a:cubicBezTo>
                  <a:pt x="22925" y="12676"/>
                  <a:pt x="22900" y="12734"/>
                  <a:pt x="22896" y="12789"/>
                </a:cubicBezTo>
                <a:cubicBezTo>
                  <a:pt x="22881" y="12758"/>
                  <a:pt x="22865" y="12804"/>
                  <a:pt x="22853" y="12795"/>
                </a:cubicBezTo>
                <a:cubicBezTo>
                  <a:pt x="22846" y="12905"/>
                  <a:pt x="22839" y="13015"/>
                  <a:pt x="22831" y="13125"/>
                </a:cubicBezTo>
                <a:cubicBezTo>
                  <a:pt x="22812" y="13225"/>
                  <a:pt x="22795" y="13347"/>
                  <a:pt x="22776" y="13448"/>
                </a:cubicBezTo>
                <a:cubicBezTo>
                  <a:pt x="22793" y="13577"/>
                  <a:pt x="22722" y="13695"/>
                  <a:pt x="22739" y="13824"/>
                </a:cubicBezTo>
                <a:cubicBezTo>
                  <a:pt x="22686" y="13918"/>
                  <a:pt x="22669" y="14040"/>
                  <a:pt x="22643" y="14175"/>
                </a:cubicBezTo>
                <a:cubicBezTo>
                  <a:pt x="22640" y="14230"/>
                  <a:pt x="22636" y="14285"/>
                  <a:pt x="22623" y="14352"/>
                </a:cubicBezTo>
                <a:cubicBezTo>
                  <a:pt x="22607" y="14398"/>
                  <a:pt x="22592" y="14443"/>
                  <a:pt x="22552" y="14470"/>
                </a:cubicBezTo>
                <a:cubicBezTo>
                  <a:pt x="22569" y="14523"/>
                  <a:pt x="22551" y="14547"/>
                  <a:pt x="22556" y="14590"/>
                </a:cubicBezTo>
                <a:cubicBezTo>
                  <a:pt x="22519" y="14638"/>
                  <a:pt x="22504" y="14684"/>
                  <a:pt x="22478" y="14742"/>
                </a:cubicBezTo>
                <a:cubicBezTo>
                  <a:pt x="22489" y="14653"/>
                  <a:pt x="22526" y="14605"/>
                  <a:pt x="22496" y="14543"/>
                </a:cubicBezTo>
                <a:cubicBezTo>
                  <a:pt x="22514" y="14596"/>
                  <a:pt x="22524" y="14507"/>
                  <a:pt x="22537" y="14440"/>
                </a:cubicBezTo>
                <a:cubicBezTo>
                  <a:pt x="22528" y="14376"/>
                  <a:pt x="22518" y="14464"/>
                  <a:pt x="22502" y="14510"/>
                </a:cubicBezTo>
                <a:cubicBezTo>
                  <a:pt x="22506" y="14455"/>
                  <a:pt x="22500" y="14412"/>
                  <a:pt x="22516" y="14366"/>
                </a:cubicBezTo>
                <a:cubicBezTo>
                  <a:pt x="22532" y="14321"/>
                  <a:pt x="22547" y="14275"/>
                  <a:pt x="22551" y="14220"/>
                </a:cubicBezTo>
                <a:cubicBezTo>
                  <a:pt x="22570" y="14196"/>
                  <a:pt x="22553" y="14318"/>
                  <a:pt x="22547" y="14351"/>
                </a:cubicBezTo>
                <a:cubicBezTo>
                  <a:pt x="22577" y="14336"/>
                  <a:pt x="22592" y="14116"/>
                  <a:pt x="22611" y="14015"/>
                </a:cubicBezTo>
                <a:cubicBezTo>
                  <a:pt x="22583" y="14052"/>
                  <a:pt x="22601" y="14104"/>
                  <a:pt x="22564" y="14153"/>
                </a:cubicBezTo>
                <a:cubicBezTo>
                  <a:pt x="22596" y="14061"/>
                  <a:pt x="22596" y="13985"/>
                  <a:pt x="22600" y="13930"/>
                </a:cubicBezTo>
                <a:cubicBezTo>
                  <a:pt x="22606" y="13896"/>
                  <a:pt x="22604" y="13875"/>
                  <a:pt x="22598" y="13832"/>
                </a:cubicBezTo>
                <a:cubicBezTo>
                  <a:pt x="22604" y="13798"/>
                  <a:pt x="22611" y="13765"/>
                  <a:pt x="22614" y="13710"/>
                </a:cubicBezTo>
                <a:cubicBezTo>
                  <a:pt x="22630" y="13664"/>
                  <a:pt x="22622" y="13850"/>
                  <a:pt x="22654" y="13759"/>
                </a:cubicBezTo>
                <a:cubicBezTo>
                  <a:pt x="22648" y="13716"/>
                  <a:pt x="22645" y="13695"/>
                  <a:pt x="22642" y="13673"/>
                </a:cubicBezTo>
                <a:cubicBezTo>
                  <a:pt x="22674" y="13582"/>
                  <a:pt x="22672" y="13484"/>
                  <a:pt x="22682" y="13395"/>
                </a:cubicBezTo>
                <a:cubicBezTo>
                  <a:pt x="22688" y="13362"/>
                  <a:pt x="22698" y="13350"/>
                  <a:pt x="22695" y="13328"/>
                </a:cubicBezTo>
                <a:cubicBezTo>
                  <a:pt x="22692" y="13307"/>
                  <a:pt x="22689" y="13285"/>
                  <a:pt x="22686" y="13264"/>
                </a:cubicBezTo>
                <a:cubicBezTo>
                  <a:pt x="22693" y="13230"/>
                  <a:pt x="22687" y="13188"/>
                  <a:pt x="22694" y="13154"/>
                </a:cubicBezTo>
                <a:cubicBezTo>
                  <a:pt x="22711" y="13283"/>
                  <a:pt x="22728" y="13084"/>
                  <a:pt x="22735" y="12974"/>
                </a:cubicBezTo>
                <a:cubicBezTo>
                  <a:pt x="22723" y="12965"/>
                  <a:pt x="22705" y="12913"/>
                  <a:pt x="22704" y="12989"/>
                </a:cubicBezTo>
                <a:cubicBezTo>
                  <a:pt x="22663" y="12842"/>
                  <a:pt x="22749" y="12830"/>
                  <a:pt x="22711" y="12705"/>
                </a:cubicBezTo>
                <a:cubicBezTo>
                  <a:pt x="22736" y="12647"/>
                  <a:pt x="22751" y="12678"/>
                  <a:pt x="22775" y="12696"/>
                </a:cubicBezTo>
                <a:cubicBezTo>
                  <a:pt x="22778" y="12641"/>
                  <a:pt x="22755" y="12546"/>
                  <a:pt x="22734" y="12549"/>
                </a:cubicBezTo>
                <a:cubicBezTo>
                  <a:pt x="22722" y="12463"/>
                  <a:pt x="22788" y="12302"/>
                  <a:pt x="22742" y="12286"/>
                </a:cubicBezTo>
                <a:cubicBezTo>
                  <a:pt x="22737" y="12243"/>
                  <a:pt x="22763" y="12109"/>
                  <a:pt x="22778" y="12140"/>
                </a:cubicBezTo>
                <a:cubicBezTo>
                  <a:pt x="22763" y="12109"/>
                  <a:pt x="22751" y="12023"/>
                  <a:pt x="22740" y="11938"/>
                </a:cubicBezTo>
                <a:cubicBezTo>
                  <a:pt x="22734" y="11895"/>
                  <a:pt x="22750" y="11849"/>
                  <a:pt x="22754" y="11794"/>
                </a:cubicBezTo>
                <a:cubicBezTo>
                  <a:pt x="22748" y="11751"/>
                  <a:pt x="22752" y="11696"/>
                  <a:pt x="22746" y="11653"/>
                </a:cubicBezTo>
                <a:cubicBezTo>
                  <a:pt x="22772" y="11770"/>
                  <a:pt x="22769" y="11748"/>
                  <a:pt x="22805" y="11853"/>
                </a:cubicBezTo>
                <a:cubicBezTo>
                  <a:pt x="22827" y="11773"/>
                  <a:pt x="22819" y="11709"/>
                  <a:pt x="22832" y="11642"/>
                </a:cubicBezTo>
                <a:cubicBezTo>
                  <a:pt x="22823" y="11578"/>
                  <a:pt x="22785" y="11703"/>
                  <a:pt x="22807" y="11623"/>
                </a:cubicBezTo>
                <a:cubicBezTo>
                  <a:pt x="22768" y="11574"/>
                  <a:pt x="22809" y="11721"/>
                  <a:pt x="22812" y="11743"/>
                </a:cubicBezTo>
                <a:cubicBezTo>
                  <a:pt x="22769" y="11748"/>
                  <a:pt x="22738" y="11513"/>
                  <a:pt x="22770" y="11421"/>
                </a:cubicBezTo>
                <a:cubicBezTo>
                  <a:pt x="22764" y="11378"/>
                  <a:pt x="22758" y="11336"/>
                  <a:pt x="22756" y="11314"/>
                </a:cubicBezTo>
                <a:cubicBezTo>
                  <a:pt x="22750" y="11271"/>
                  <a:pt x="22735" y="11241"/>
                  <a:pt x="22720" y="11210"/>
                </a:cubicBezTo>
                <a:cubicBezTo>
                  <a:pt x="22699" y="11136"/>
                  <a:pt x="22691" y="11072"/>
                  <a:pt x="22704" y="11005"/>
                </a:cubicBezTo>
                <a:cubicBezTo>
                  <a:pt x="22689" y="10974"/>
                  <a:pt x="22674" y="10944"/>
                  <a:pt x="22671" y="10922"/>
                </a:cubicBezTo>
                <a:cubicBezTo>
                  <a:pt x="22672" y="10846"/>
                  <a:pt x="22693" y="10919"/>
                  <a:pt x="22705" y="10929"/>
                </a:cubicBezTo>
                <a:cubicBezTo>
                  <a:pt x="22699" y="10886"/>
                  <a:pt x="22693" y="10843"/>
                  <a:pt x="22688" y="10800"/>
                </a:cubicBezTo>
                <a:cubicBezTo>
                  <a:pt x="22676" y="10791"/>
                  <a:pt x="22661" y="10760"/>
                  <a:pt x="22658" y="10739"/>
                </a:cubicBezTo>
                <a:cubicBezTo>
                  <a:pt x="22655" y="10717"/>
                  <a:pt x="22664" y="10705"/>
                  <a:pt x="22661" y="10684"/>
                </a:cubicBezTo>
                <a:cubicBezTo>
                  <a:pt x="22677" y="10638"/>
                  <a:pt x="22694" y="10767"/>
                  <a:pt x="22706" y="10776"/>
                </a:cubicBezTo>
                <a:cubicBezTo>
                  <a:pt x="22701" y="10733"/>
                  <a:pt x="22692" y="10669"/>
                  <a:pt x="22674" y="10617"/>
                </a:cubicBezTo>
                <a:cubicBezTo>
                  <a:pt x="22656" y="10564"/>
                  <a:pt x="22660" y="10509"/>
                  <a:pt x="22642" y="10457"/>
                </a:cubicBezTo>
                <a:cubicBezTo>
                  <a:pt x="22619" y="10362"/>
                  <a:pt x="22617" y="10265"/>
                  <a:pt x="22630" y="10197"/>
                </a:cubicBezTo>
                <a:cubicBezTo>
                  <a:pt x="22621" y="10133"/>
                  <a:pt x="22601" y="10060"/>
                  <a:pt x="22571" y="9998"/>
                </a:cubicBezTo>
                <a:cubicBezTo>
                  <a:pt x="22567" y="10053"/>
                  <a:pt x="22558" y="10065"/>
                  <a:pt x="22540" y="10013"/>
                </a:cubicBezTo>
                <a:cubicBezTo>
                  <a:pt x="22547" y="9980"/>
                  <a:pt x="22526" y="9906"/>
                  <a:pt x="22515" y="9820"/>
                </a:cubicBezTo>
                <a:cubicBezTo>
                  <a:pt x="22509" y="9778"/>
                  <a:pt x="22503" y="9735"/>
                  <a:pt x="22488" y="9704"/>
                </a:cubicBezTo>
                <a:cubicBezTo>
                  <a:pt x="22470" y="9652"/>
                  <a:pt x="22477" y="9618"/>
                  <a:pt x="22471" y="9576"/>
                </a:cubicBezTo>
                <a:cubicBezTo>
                  <a:pt x="22498" y="9615"/>
                  <a:pt x="22538" y="9665"/>
                  <a:pt x="22522" y="9710"/>
                </a:cubicBezTo>
                <a:cubicBezTo>
                  <a:pt x="22538" y="9665"/>
                  <a:pt x="22479" y="9466"/>
                  <a:pt x="22464" y="9358"/>
                </a:cubicBezTo>
                <a:cubicBezTo>
                  <a:pt x="22407" y="9257"/>
                  <a:pt x="22473" y="9423"/>
                  <a:pt x="22454" y="9447"/>
                </a:cubicBezTo>
                <a:cubicBezTo>
                  <a:pt x="22415" y="9398"/>
                  <a:pt x="22416" y="9321"/>
                  <a:pt x="22386" y="9260"/>
                </a:cubicBezTo>
                <a:cubicBezTo>
                  <a:pt x="22377" y="9272"/>
                  <a:pt x="22367" y="9284"/>
                  <a:pt x="22340" y="9244"/>
                </a:cubicBezTo>
                <a:cubicBezTo>
                  <a:pt x="22337" y="9299"/>
                  <a:pt x="22361" y="9318"/>
                  <a:pt x="22340" y="9321"/>
                </a:cubicBezTo>
                <a:cubicBezTo>
                  <a:pt x="22337" y="9299"/>
                  <a:pt x="22322" y="9269"/>
                  <a:pt x="22298" y="9250"/>
                </a:cubicBezTo>
                <a:cubicBezTo>
                  <a:pt x="22326" y="9137"/>
                  <a:pt x="22302" y="9119"/>
                  <a:pt x="22285" y="8990"/>
                </a:cubicBezTo>
                <a:cubicBezTo>
                  <a:pt x="22336" y="9049"/>
                  <a:pt x="22314" y="9128"/>
                  <a:pt x="22365" y="9186"/>
                </a:cubicBezTo>
                <a:cubicBezTo>
                  <a:pt x="22369" y="9131"/>
                  <a:pt x="22342" y="9091"/>
                  <a:pt x="22346" y="9036"/>
                </a:cubicBezTo>
                <a:cubicBezTo>
                  <a:pt x="22342" y="9091"/>
                  <a:pt x="22264" y="8917"/>
                  <a:pt x="22244" y="8843"/>
                </a:cubicBezTo>
                <a:cubicBezTo>
                  <a:pt x="22250" y="8809"/>
                  <a:pt x="22256" y="8852"/>
                  <a:pt x="22280" y="8871"/>
                </a:cubicBezTo>
                <a:cubicBezTo>
                  <a:pt x="22293" y="8804"/>
                  <a:pt x="22245" y="8767"/>
                  <a:pt x="22257" y="8699"/>
                </a:cubicBezTo>
                <a:cubicBezTo>
                  <a:pt x="22233" y="8681"/>
                  <a:pt x="22245" y="8767"/>
                  <a:pt x="22232" y="8757"/>
                </a:cubicBezTo>
                <a:cubicBezTo>
                  <a:pt x="22202" y="8696"/>
                  <a:pt x="22182" y="8622"/>
                  <a:pt x="22161" y="8549"/>
                </a:cubicBezTo>
                <a:cubicBezTo>
                  <a:pt x="22131" y="8488"/>
                  <a:pt x="22111" y="8414"/>
                  <a:pt x="22081" y="8353"/>
                </a:cubicBezTo>
                <a:cubicBezTo>
                  <a:pt x="22059" y="8355"/>
                  <a:pt x="22126" y="8445"/>
                  <a:pt x="22122" y="8500"/>
                </a:cubicBezTo>
                <a:cubicBezTo>
                  <a:pt x="22125" y="8521"/>
                  <a:pt x="22113" y="8512"/>
                  <a:pt x="22116" y="8533"/>
                </a:cubicBezTo>
                <a:cubicBezTo>
                  <a:pt x="22101" y="8426"/>
                  <a:pt x="22056" y="8410"/>
                  <a:pt x="22008" y="8297"/>
                </a:cubicBezTo>
                <a:cubicBezTo>
                  <a:pt x="21977" y="8312"/>
                  <a:pt x="22022" y="8404"/>
                  <a:pt x="22059" y="8432"/>
                </a:cubicBezTo>
                <a:cubicBezTo>
                  <a:pt x="22082" y="8527"/>
                  <a:pt x="21995" y="8364"/>
                  <a:pt x="22043" y="8478"/>
                </a:cubicBezTo>
                <a:cubicBezTo>
                  <a:pt x="22004" y="8428"/>
                  <a:pt x="21944" y="8306"/>
                  <a:pt x="21946" y="8403"/>
                </a:cubicBezTo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grpSp>
        <p:nvGrpSpPr>
          <p:cNvPr id="7" name="îSľíḑè">
            <a:extLst>
              <a:ext uri="{FF2B5EF4-FFF2-40B4-BE49-F238E27FC236}">
                <a16:creationId xmlns:a16="http://schemas.microsoft.com/office/drawing/2014/main" id="{CC5435FF-A877-4196-82A8-CCE2F7459D63}"/>
              </a:ext>
            </a:extLst>
          </p:cNvPr>
          <p:cNvGrpSpPr/>
          <p:nvPr/>
        </p:nvGrpSpPr>
        <p:grpSpPr>
          <a:xfrm>
            <a:off x="5267325" y="2291035"/>
            <a:ext cx="6253163" cy="563787"/>
            <a:chOff x="5267325" y="2505202"/>
            <a:chExt cx="6253163" cy="563787"/>
          </a:xfrm>
        </p:grpSpPr>
        <p:sp>
          <p:nvSpPr>
            <p:cNvPr id="27" name="iṧḻîḑê">
              <a:extLst>
                <a:ext uri="{FF2B5EF4-FFF2-40B4-BE49-F238E27FC236}">
                  <a16:creationId xmlns:a16="http://schemas.microsoft.com/office/drawing/2014/main" id="{3ACB4CB3-7125-4671-9E92-45D00F365B29}"/>
                </a:ext>
              </a:extLst>
            </p:cNvPr>
            <p:cNvSpPr txBox="1"/>
            <p:nvPr/>
          </p:nvSpPr>
          <p:spPr>
            <a:xfrm>
              <a:off x="5415139" y="2505202"/>
              <a:ext cx="6105349" cy="5257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/>
            <a:p>
              <a:pPr algn="ctr">
                <a:buSzPct val="25000"/>
              </a:pPr>
              <a:r>
                <a:rPr lang="en-US" altLang="zh-TW" sz="2800" b="1" dirty="0"/>
                <a:t>Our method to embedding words</a:t>
              </a:r>
              <a:endParaRPr lang="en-US" sz="2800" b="1" dirty="0"/>
            </a:p>
          </p:txBody>
        </p:sp>
        <p:cxnSp>
          <p:nvCxnSpPr>
            <p:cNvPr id="26" name="直接连接符 24">
              <a:extLst>
                <a:ext uri="{FF2B5EF4-FFF2-40B4-BE49-F238E27FC236}">
                  <a16:creationId xmlns:a16="http://schemas.microsoft.com/office/drawing/2014/main" id="{84155580-B436-4658-A5B3-3F09DADDD873}"/>
                </a:ext>
              </a:extLst>
            </p:cNvPr>
            <p:cNvCxnSpPr/>
            <p:nvPr/>
          </p:nvCxnSpPr>
          <p:spPr>
            <a:xfrm>
              <a:off x="5267325" y="3068989"/>
              <a:ext cx="625316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" name="直接连接符 55">
            <a:extLst>
              <a:ext uri="{FF2B5EF4-FFF2-40B4-BE49-F238E27FC236}">
                <a16:creationId xmlns:a16="http://schemas.microsoft.com/office/drawing/2014/main" id="{2AEB3DB0-4CE8-4A07-8AA8-2809B693AA11}"/>
              </a:ext>
            </a:extLst>
          </p:cNvPr>
          <p:cNvCxnSpPr/>
          <p:nvPr/>
        </p:nvCxnSpPr>
        <p:spPr>
          <a:xfrm>
            <a:off x="6782520" y="4231273"/>
            <a:ext cx="473638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îšḷide">
            <a:extLst>
              <a:ext uri="{FF2B5EF4-FFF2-40B4-BE49-F238E27FC236}">
                <a16:creationId xmlns:a16="http://schemas.microsoft.com/office/drawing/2014/main" id="{0337EC8E-3308-4FB9-B007-EA50EC6C5602}"/>
              </a:ext>
            </a:extLst>
          </p:cNvPr>
          <p:cNvGrpSpPr/>
          <p:nvPr/>
        </p:nvGrpSpPr>
        <p:grpSpPr>
          <a:xfrm>
            <a:off x="6117371" y="3469166"/>
            <a:ext cx="5033229" cy="523058"/>
            <a:chOff x="6120102" y="3469166"/>
            <a:chExt cx="5033229" cy="523058"/>
          </a:xfrm>
        </p:grpSpPr>
        <p:sp>
          <p:nvSpPr>
            <p:cNvPr id="23" name="í$lîḋè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6690785" y="3529722"/>
              <a:ext cx="4462546" cy="3924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2000" b="1" dirty="0"/>
                <a:t>(100d) </a:t>
              </a:r>
              <a:r>
                <a:rPr lang="en-US" altLang="zh-CN" sz="2000" b="1" dirty="0" err="1"/>
                <a:t>GloVe</a:t>
              </a:r>
              <a:r>
                <a:rPr lang="en-US" altLang="zh-CN" sz="2000" b="1" dirty="0"/>
                <a:t> for twitter+emoji2vec</a:t>
              </a:r>
            </a:p>
          </p:txBody>
        </p:sp>
        <p:sp>
          <p:nvSpPr>
            <p:cNvPr id="22" name="îsḷîḓê">
              <a:extLst>
                <a:ext uri="{FF2B5EF4-FFF2-40B4-BE49-F238E27FC236}">
                  <a16:creationId xmlns:a16="http://schemas.microsoft.com/office/drawing/2014/main" id="{805DF064-48B6-4C5C-B7B9-B0E4D15E2CB1}"/>
                </a:ext>
              </a:extLst>
            </p:cNvPr>
            <p:cNvSpPr/>
            <p:nvPr/>
          </p:nvSpPr>
          <p:spPr>
            <a:xfrm>
              <a:off x="6120102" y="3469166"/>
              <a:ext cx="523058" cy="523058"/>
            </a:xfrm>
            <a:prstGeom prst="ellipse">
              <a:avLst/>
            </a:prstGeom>
            <a:noFill/>
            <a:ln w="22225">
              <a:solidFill>
                <a:schemeClr val="bg1">
                  <a:lumMod val="75000"/>
                </a:schemeClr>
              </a:solidFill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altLang="zh-CN" b="1" i="1" dirty="0"/>
                <a:t>0</a:t>
              </a:r>
              <a:r>
                <a:rPr lang="en-US" altLang="zh-CN" sz="100" b="1" i="1" dirty="0"/>
                <a:t> </a:t>
              </a:r>
              <a:r>
                <a:rPr lang="en-US" altLang="zh-CN" b="1" i="1" dirty="0"/>
                <a:t>1</a:t>
              </a:r>
              <a:endParaRPr lang="zh-CN" altLang="en-US" b="1" i="1" dirty="0"/>
            </a:p>
          </p:txBody>
        </p:sp>
      </p:grpSp>
      <p:grpSp>
        <p:nvGrpSpPr>
          <p:cNvPr id="10" name="iṧļîďè">
            <a:extLst>
              <a:ext uri="{FF2B5EF4-FFF2-40B4-BE49-F238E27FC236}">
                <a16:creationId xmlns:a16="http://schemas.microsoft.com/office/drawing/2014/main" id="{187D545C-E4AC-4FC3-9C33-C6261CBE288D}"/>
              </a:ext>
            </a:extLst>
          </p:cNvPr>
          <p:cNvGrpSpPr/>
          <p:nvPr/>
        </p:nvGrpSpPr>
        <p:grpSpPr>
          <a:xfrm>
            <a:off x="6117371" y="4470322"/>
            <a:ext cx="4553071" cy="523058"/>
            <a:chOff x="6120102" y="4470321"/>
            <a:chExt cx="4553071" cy="523058"/>
          </a:xfrm>
        </p:grpSpPr>
        <p:sp>
          <p:nvSpPr>
            <p:cNvPr id="19" name="íśļidé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6690785" y="4539090"/>
              <a:ext cx="3982388" cy="3924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2000" b="1" dirty="0"/>
                <a:t>Embedding matrix</a:t>
              </a:r>
            </a:p>
          </p:txBody>
        </p:sp>
        <p:sp>
          <p:nvSpPr>
            <p:cNvPr id="18" name="íṥļiḓè">
              <a:extLst>
                <a:ext uri="{FF2B5EF4-FFF2-40B4-BE49-F238E27FC236}">
                  <a16:creationId xmlns:a16="http://schemas.microsoft.com/office/drawing/2014/main" id="{745DA6FC-EC95-4F2A-AE5E-A6BC23986613}"/>
                </a:ext>
              </a:extLst>
            </p:cNvPr>
            <p:cNvSpPr/>
            <p:nvPr/>
          </p:nvSpPr>
          <p:spPr>
            <a:xfrm>
              <a:off x="6120102" y="4470321"/>
              <a:ext cx="523058" cy="523058"/>
            </a:xfrm>
            <a:prstGeom prst="ellipse">
              <a:avLst/>
            </a:prstGeom>
            <a:noFill/>
            <a:ln w="22225">
              <a:solidFill>
                <a:schemeClr val="accent1"/>
              </a:solidFill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altLang="zh-CN" b="1" i="1"/>
                <a:t>0</a:t>
              </a:r>
              <a:r>
                <a:rPr lang="en-US" altLang="zh-CN" sz="100" b="1" i="1"/>
                <a:t> </a:t>
              </a:r>
              <a:r>
                <a:rPr lang="en-US" altLang="zh-CN" b="1" i="1"/>
                <a:t>2</a:t>
              </a:r>
              <a:endParaRPr lang="zh-CN" altLang="en-US" b="1" i="1" dirty="0"/>
            </a:p>
          </p:txBody>
        </p:sp>
      </p:grpSp>
      <p:grpSp>
        <p:nvGrpSpPr>
          <p:cNvPr id="11" name="iŝlíḓê">
            <a:extLst>
              <a:ext uri="{FF2B5EF4-FFF2-40B4-BE49-F238E27FC236}">
                <a16:creationId xmlns:a16="http://schemas.microsoft.com/office/drawing/2014/main" id="{6FD919E7-715B-475F-8310-EBCA5C79901D}"/>
              </a:ext>
            </a:extLst>
          </p:cNvPr>
          <p:cNvGrpSpPr/>
          <p:nvPr/>
        </p:nvGrpSpPr>
        <p:grpSpPr>
          <a:xfrm>
            <a:off x="6117371" y="5471477"/>
            <a:ext cx="4553071" cy="523058"/>
            <a:chOff x="6120102" y="5471477"/>
            <a:chExt cx="4553071" cy="523058"/>
          </a:xfrm>
        </p:grpSpPr>
        <p:sp>
          <p:nvSpPr>
            <p:cNvPr id="13" name="ïš1íḍé">
              <a:extLst>
                <a:ext uri="{FF2B5EF4-FFF2-40B4-BE49-F238E27FC236}">
                  <a16:creationId xmlns:a16="http://schemas.microsoft.com/office/drawing/2014/main" id="{369DDCAB-C410-411B-86A2-91B7035D9016}"/>
                </a:ext>
              </a:extLst>
            </p:cNvPr>
            <p:cNvSpPr/>
            <p:nvPr/>
          </p:nvSpPr>
          <p:spPr>
            <a:xfrm>
              <a:off x="6120102" y="5471477"/>
              <a:ext cx="523058" cy="523058"/>
            </a:xfrm>
            <a:prstGeom prst="ellipse">
              <a:avLst/>
            </a:prstGeom>
            <a:noFill/>
            <a:ln w="22225">
              <a:solidFill>
                <a:schemeClr val="bg1">
                  <a:lumMod val="75000"/>
                </a:schemeClr>
              </a:solidFill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altLang="zh-CN" b="1" i="1"/>
                <a:t>0</a:t>
              </a:r>
              <a:r>
                <a:rPr lang="en-US" altLang="zh-CN" sz="100" b="1" i="1"/>
                <a:t> </a:t>
              </a:r>
              <a:r>
                <a:rPr lang="en-US" altLang="zh-CN" b="1" i="1"/>
                <a:t>3</a:t>
              </a:r>
              <a:endParaRPr lang="zh-CN" altLang="en-US" b="1" i="1" dirty="0"/>
            </a:p>
          </p:txBody>
        </p:sp>
        <p:sp>
          <p:nvSpPr>
            <p:cNvPr id="15" name="ïşḷiḋé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6690785" y="5495294"/>
              <a:ext cx="3982388" cy="3924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2000" b="1" dirty="0"/>
                <a:t>Padding</a:t>
              </a:r>
            </a:p>
          </p:txBody>
        </p:sp>
      </p:grpSp>
      <p:cxnSp>
        <p:nvCxnSpPr>
          <p:cNvPr id="12" name="直接连接符 80">
            <a:extLst>
              <a:ext uri="{FF2B5EF4-FFF2-40B4-BE49-F238E27FC236}">
                <a16:creationId xmlns:a16="http://schemas.microsoft.com/office/drawing/2014/main" id="{5E10D9B8-8059-4C07-8840-F958412F2C1D}"/>
              </a:ext>
            </a:extLst>
          </p:cNvPr>
          <p:cNvCxnSpPr/>
          <p:nvPr/>
        </p:nvCxnSpPr>
        <p:spPr>
          <a:xfrm>
            <a:off x="6782520" y="5232428"/>
            <a:ext cx="473638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7E3FDF48-BE59-48E1-A57D-49A7BFB48706}"/>
              </a:ext>
            </a:extLst>
          </p:cNvPr>
          <p:cNvSpPr>
            <a:spLocks/>
          </p:cNvSpPr>
          <p:nvPr/>
        </p:nvSpPr>
        <p:spPr>
          <a:xfrm>
            <a:off x="669925" y="-635668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altLang="zh-TW" sz="3200" b="1" dirty="0">
                <a:solidFill>
                  <a:schemeClr val="accent2"/>
                </a:solidFill>
                <a:latin typeface="Bahnschrift SemiCondensed" panose="020B0502040204020203" pitchFamily="34" charset="0"/>
              </a:rPr>
              <a:t>Word Cloud of each Categories</a:t>
            </a:r>
            <a:endParaRPr lang="en-US" altLang="zh-TW" sz="3200" dirty="0">
              <a:solidFill>
                <a:schemeClr val="accent2"/>
              </a:solidFill>
              <a:latin typeface="Tw Cen MT" panose="020B0602020104020603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5B4F979-D8EA-4F9C-82C3-8133C4EF3DE9}"/>
              </a:ext>
            </a:extLst>
          </p:cNvPr>
          <p:cNvSpPr>
            <a:spLocks/>
          </p:cNvSpPr>
          <p:nvPr/>
        </p:nvSpPr>
        <p:spPr>
          <a:xfrm>
            <a:off x="669925" y="367632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  <a:latin typeface="Bahnschrift SemiCondensed" panose="020B0502040204020203" pitchFamily="34" charset="0"/>
              </a:rPr>
              <a:t>Word Embedding</a:t>
            </a:r>
          </a:p>
        </p:txBody>
      </p:sp>
      <p:pic>
        <p:nvPicPr>
          <p:cNvPr id="79" name="Picture 78" descr="深度学习中Embedding层有什么用？_赵大宝的博客-CSDN博客">
            <a:extLst>
              <a:ext uri="{FF2B5EF4-FFF2-40B4-BE49-F238E27FC236}">
                <a16:creationId xmlns:a16="http://schemas.microsoft.com/office/drawing/2014/main" id="{A7608B67-75D0-4E0D-A0BA-9EBB902922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640"/>
          <a:stretch/>
        </p:blipFill>
        <p:spPr bwMode="auto">
          <a:xfrm>
            <a:off x="1712659" y="1685768"/>
            <a:ext cx="2835732" cy="3376607"/>
          </a:xfrm>
          <a:custGeom>
            <a:avLst/>
            <a:gdLst>
              <a:gd name="connsiteX0" fmla="*/ 1098247 w 3495675"/>
              <a:gd name="connsiteY0" fmla="*/ 0 h 4162425"/>
              <a:gd name="connsiteX1" fmla="*/ 2397427 w 3495675"/>
              <a:gd name="connsiteY1" fmla="*/ 0 h 4162425"/>
              <a:gd name="connsiteX2" fmla="*/ 2596284 w 3495675"/>
              <a:gd name="connsiteY2" fmla="*/ 72783 h 4162425"/>
              <a:gd name="connsiteX3" fmla="*/ 3429818 w 3495675"/>
              <a:gd name="connsiteY3" fmla="*/ 694706 h 4162425"/>
              <a:gd name="connsiteX4" fmla="*/ 3495675 w 3495675"/>
              <a:gd name="connsiteY4" fmla="*/ 782776 h 4162425"/>
              <a:gd name="connsiteX5" fmla="*/ 3495675 w 3495675"/>
              <a:gd name="connsiteY5" fmla="*/ 3379648 h 4162425"/>
              <a:gd name="connsiteX6" fmla="*/ 3429818 w 3495675"/>
              <a:gd name="connsiteY6" fmla="*/ 3467719 h 4162425"/>
              <a:gd name="connsiteX7" fmla="*/ 2596284 w 3495675"/>
              <a:gd name="connsiteY7" fmla="*/ 4089642 h 4162425"/>
              <a:gd name="connsiteX8" fmla="*/ 2397424 w 3495675"/>
              <a:gd name="connsiteY8" fmla="*/ 4162425 h 4162425"/>
              <a:gd name="connsiteX9" fmla="*/ 1098250 w 3495675"/>
              <a:gd name="connsiteY9" fmla="*/ 4162425 h 4162425"/>
              <a:gd name="connsiteX10" fmla="*/ 899391 w 3495675"/>
              <a:gd name="connsiteY10" fmla="*/ 4089642 h 4162425"/>
              <a:gd name="connsiteX11" fmla="*/ 65857 w 3495675"/>
              <a:gd name="connsiteY11" fmla="*/ 3467719 h 4162425"/>
              <a:gd name="connsiteX12" fmla="*/ 0 w 3495675"/>
              <a:gd name="connsiteY12" fmla="*/ 3379650 h 4162425"/>
              <a:gd name="connsiteX13" fmla="*/ 0 w 3495675"/>
              <a:gd name="connsiteY13" fmla="*/ 782775 h 4162425"/>
              <a:gd name="connsiteX14" fmla="*/ 65857 w 3495675"/>
              <a:gd name="connsiteY14" fmla="*/ 694706 h 4162425"/>
              <a:gd name="connsiteX15" fmla="*/ 899391 w 3495675"/>
              <a:gd name="connsiteY15" fmla="*/ 72783 h 416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95675" h="4162425">
                <a:moveTo>
                  <a:pt x="1098247" y="0"/>
                </a:moveTo>
                <a:lnTo>
                  <a:pt x="2397427" y="0"/>
                </a:lnTo>
                <a:lnTo>
                  <a:pt x="2596284" y="72783"/>
                </a:lnTo>
                <a:cubicBezTo>
                  <a:pt x="2922257" y="210657"/>
                  <a:pt x="3207710" y="425574"/>
                  <a:pt x="3429818" y="694706"/>
                </a:cubicBezTo>
                <a:lnTo>
                  <a:pt x="3495675" y="782776"/>
                </a:lnTo>
                <a:lnTo>
                  <a:pt x="3495675" y="3379648"/>
                </a:lnTo>
                <a:lnTo>
                  <a:pt x="3429818" y="3467719"/>
                </a:lnTo>
                <a:cubicBezTo>
                  <a:pt x="3207710" y="3736850"/>
                  <a:pt x="2922257" y="3951767"/>
                  <a:pt x="2596284" y="4089642"/>
                </a:cubicBezTo>
                <a:lnTo>
                  <a:pt x="2397424" y="4162425"/>
                </a:lnTo>
                <a:lnTo>
                  <a:pt x="1098250" y="4162425"/>
                </a:lnTo>
                <a:lnTo>
                  <a:pt x="899391" y="4089642"/>
                </a:lnTo>
                <a:cubicBezTo>
                  <a:pt x="573417" y="3951767"/>
                  <a:pt x="287964" y="3736850"/>
                  <a:pt x="65857" y="3467719"/>
                </a:cubicBezTo>
                <a:lnTo>
                  <a:pt x="0" y="3379650"/>
                </a:lnTo>
                <a:lnTo>
                  <a:pt x="0" y="782775"/>
                </a:lnTo>
                <a:lnTo>
                  <a:pt x="65857" y="694706"/>
                </a:lnTo>
                <a:cubicBezTo>
                  <a:pt x="287964" y="425574"/>
                  <a:pt x="573417" y="210657"/>
                  <a:pt x="899391" y="72783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8" name="3D Model 77">
                <a:extLst>
                  <a:ext uri="{FF2B5EF4-FFF2-40B4-BE49-F238E27FC236}">
                    <a16:creationId xmlns:a16="http://schemas.microsoft.com/office/drawing/2014/main" id="{9026DE46-0C3D-48ED-9971-1D9B5E2A2E41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350316202"/>
                  </p:ext>
                </p:extLst>
              </p:nvPr>
            </p:nvGraphicFramePr>
            <p:xfrm>
              <a:off x="9258383" y="-38090"/>
              <a:ext cx="1892216" cy="1797868"/>
            </p:xfrm>
            <a:graphic>
              <a:graphicData uri="http://schemas.microsoft.com/office/drawing/2017/model3d">
                <am3d:model3d r:embed="rId5">
                  <am3d:spPr>
                    <a:xfrm>
                      <a:off x="0" y="0"/>
                      <a:ext cx="1892216" cy="1797868"/>
                    </a:xfrm>
                    <a:prstGeom prst="rect">
                      <a:avLst/>
                    </a:prstGeom>
                  </am3d:spPr>
                  <am3d:camera>
                    <am3d:pos x="0" y="0" z="80223549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819592" d="1000000"/>
                    <am3d:preTrans dx="-14099254" dy="-11976937" dz="-28914895"/>
                    <am3d:scale>
                      <am3d:sx n="1000000" d="1000000"/>
                      <am3d:sy n="1000000" d="1000000"/>
                      <am3d:sz n="1000000" d="1000000"/>
                    </am3d:scale>
                    <am3d:rot/>
                    <am3d:postTrans dx="0" dy="0" dz="0"/>
                  </am3d:trans>
                  <am3d:raster rName="Office3DRenderer" rVer="16.0.8326">
                    <am3d:blip r:embed="rId6"/>
                  </am3d:raster>
                  <am3d:objViewport viewportSz="2982468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8" name="3D Model 77">
                <a:extLst>
                  <a:ext uri="{FF2B5EF4-FFF2-40B4-BE49-F238E27FC236}">
                    <a16:creationId xmlns:a16="http://schemas.microsoft.com/office/drawing/2014/main" id="{9026DE46-0C3D-48ED-9971-1D9B5E2A2E4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258383" y="-38090"/>
                <a:ext cx="1892216" cy="1797868"/>
              </a:xfrm>
              <a:prstGeom prst="rect">
                <a:avLst/>
              </a:prstGeom>
            </p:spPr>
          </p:pic>
        </mc:Fallback>
      </mc:AlternateContent>
      <p:sp>
        <p:nvSpPr>
          <p:cNvPr id="81" name="Rectangle 80">
            <a:extLst>
              <a:ext uri="{FF2B5EF4-FFF2-40B4-BE49-F238E27FC236}">
                <a16:creationId xmlns:a16="http://schemas.microsoft.com/office/drawing/2014/main" id="{ADA73CE6-8C67-4672-AE63-162A120678A5}"/>
              </a:ext>
            </a:extLst>
          </p:cNvPr>
          <p:cNvSpPr/>
          <p:nvPr/>
        </p:nvSpPr>
        <p:spPr>
          <a:xfrm>
            <a:off x="12594194" y="2129848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“</a:t>
            </a:r>
            <a:r>
              <a:rPr lang="en-US" altLang="zh-TW" sz="2000" dirty="0" err="1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nlp</a:t>
            </a: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”</a:t>
            </a:r>
            <a:r>
              <a:rPr lang="zh-TW" altLang="en-US" sz="2000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rPr>
              <a:t> →</a:t>
            </a:r>
            <a:endParaRPr lang="en-US" altLang="zh-TW" sz="2000" dirty="0">
              <a:solidFill>
                <a:srgbClr val="000000"/>
              </a:solidFill>
              <a:latin typeface="Tw Cen MT" panose="020B0602020104020603" pitchFamily="34" charset="0"/>
              <a:cs typeface="Courier New" panose="02070309020205020404" pitchFamily="49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TW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[-0.12459</a:t>
            </a: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, </a:t>
            </a:r>
            <a:r>
              <a:rPr lang="zh-TW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-0.37272</a:t>
            </a: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, </a:t>
            </a:r>
            <a:r>
              <a:rPr lang="zh-TW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-0.26352</a:t>
            </a: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, …, </a:t>
            </a:r>
            <a:r>
              <a:rPr lang="zh-TW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0.86152 ]</a:t>
            </a:r>
            <a:r>
              <a:rPr lang="zh-TW" altLang="zh-TW" sz="2000" dirty="0">
                <a:latin typeface="Tw Cen MT" panose="020B0602020104020603" pitchFamily="34" charset="0"/>
              </a:rPr>
              <a:t> 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06D28711-ECD4-422D-8CCE-8A8274730070}"/>
              </a:ext>
            </a:extLst>
          </p:cNvPr>
          <p:cNvGrpSpPr/>
          <p:nvPr/>
        </p:nvGrpSpPr>
        <p:grpSpPr>
          <a:xfrm>
            <a:off x="15365969" y="3611576"/>
            <a:ext cx="5682305" cy="1200329"/>
            <a:chOff x="5371431" y="3914514"/>
            <a:chExt cx="5682305" cy="1200329"/>
          </a:xfrm>
        </p:grpSpPr>
        <p:sp>
          <p:nvSpPr>
            <p:cNvPr id="83" name="矩形 12">
              <a:extLst>
                <a:ext uri="{FF2B5EF4-FFF2-40B4-BE49-F238E27FC236}">
                  <a16:creationId xmlns:a16="http://schemas.microsoft.com/office/drawing/2014/main" id="{4D4C7EF7-2B32-4F42-ABAC-65E57C9081EA}"/>
                </a:ext>
              </a:extLst>
            </p:cNvPr>
            <p:cNvSpPr/>
            <p:nvPr/>
          </p:nvSpPr>
          <p:spPr>
            <a:xfrm>
              <a:off x="5371431" y="3914514"/>
              <a:ext cx="796031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“</a:t>
              </a:r>
              <a:r>
                <a:rPr lang="en-US" altLang="zh-TW" dirty="0" err="1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i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”</a:t>
              </a:r>
            </a:p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“love”    </a:t>
              </a:r>
            </a:p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“</a:t>
              </a:r>
              <a:r>
                <a:rPr lang="en-US" altLang="zh-TW" dirty="0" err="1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nlp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”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 </a:t>
              </a:r>
              <a:endParaRPr lang="zh-TW" altLang="zh-TW" dirty="0">
                <a:latin typeface="Tw Cen MT" panose="020B0602020104020603" pitchFamily="34" charset="0"/>
              </a:endParaRPr>
            </a:p>
          </p:txBody>
        </p:sp>
        <p:sp>
          <p:nvSpPr>
            <p:cNvPr id="84" name="矩形 13">
              <a:extLst>
                <a:ext uri="{FF2B5EF4-FFF2-40B4-BE49-F238E27FC236}">
                  <a16:creationId xmlns:a16="http://schemas.microsoft.com/office/drawing/2014/main" id="{9A63076D-E640-4404-A1D9-C769413D8FC5}"/>
                </a:ext>
              </a:extLst>
            </p:cNvPr>
            <p:cNvSpPr/>
            <p:nvPr/>
          </p:nvSpPr>
          <p:spPr>
            <a:xfrm>
              <a:off x="6167462" y="3914514"/>
              <a:ext cx="4886274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[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5314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75214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-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48742, …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42746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 ]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-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4977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9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25438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534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5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…, -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32544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 ]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-0.12459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-0.3727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-0.2635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…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86152 ]</a:t>
              </a:r>
              <a:r>
                <a:rPr lang="en-US" altLang="zh-TW" dirty="0">
                  <a:latin typeface="Tw Cen MT" panose="020B0602020104020603" pitchFamily="34" charset="0"/>
                </a:rPr>
                <a:t>,…]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zh-TW" dirty="0">
                <a:latin typeface="Tw Cen MT" panose="020B0602020104020603" pitchFamily="34" charset="0"/>
              </a:endParaRPr>
            </a:p>
          </p:txBody>
        </p:sp>
      </p:grpSp>
      <p:sp>
        <p:nvSpPr>
          <p:cNvPr id="85" name="矩形 14">
            <a:extLst>
              <a:ext uri="{FF2B5EF4-FFF2-40B4-BE49-F238E27FC236}">
                <a16:creationId xmlns:a16="http://schemas.microsoft.com/office/drawing/2014/main" id="{0037A63A-F162-4C46-A64F-42A4A782B6CD}"/>
              </a:ext>
            </a:extLst>
          </p:cNvPr>
          <p:cNvSpPr/>
          <p:nvPr/>
        </p:nvSpPr>
        <p:spPr>
          <a:xfrm>
            <a:off x="17575769" y="5585745"/>
            <a:ext cx="38681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[“</a:t>
            </a:r>
            <a:r>
              <a:rPr lang="en-US" altLang="zh-TW" dirty="0" err="1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i</a:t>
            </a:r>
            <a:r>
              <a: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“, “love”, “</a:t>
            </a:r>
            <a:r>
              <a:rPr lang="en-US" altLang="zh-TW" dirty="0" err="1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nlp</a:t>
            </a:r>
            <a:r>
              <a: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”]</a:t>
            </a:r>
            <a:r>
              <a:rPr lang="zh-TW" altLang="en-US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rPr>
              <a:t> →</a:t>
            </a:r>
            <a:r>
              <a: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[0,0,0,0,…,0,1,2,3</a:t>
            </a:r>
            <a:r>
              <a:rPr lang="zh-TW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]</a:t>
            </a:r>
            <a:r>
              <a:rPr lang="zh-TW" altLang="zh-TW" dirty="0">
                <a:latin typeface="Tw Cen MT" panose="020B0602020104020603" pitchFamily="34" charset="0"/>
              </a:rPr>
              <a:t> </a:t>
            </a:r>
          </a:p>
        </p:txBody>
      </p:sp>
      <p:grpSp>
        <p:nvGrpSpPr>
          <p:cNvPr id="86" name="îSľíḍé">
            <a:extLst>
              <a:ext uri="{FF2B5EF4-FFF2-40B4-BE49-F238E27FC236}">
                <a16:creationId xmlns:a16="http://schemas.microsoft.com/office/drawing/2014/main" id="{E6C625CC-7FEC-44FF-818F-65AEBF4CCEBF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87" name="ïṧlîḓe">
              <a:extLst>
                <a:ext uri="{FF2B5EF4-FFF2-40B4-BE49-F238E27FC236}">
                  <a16:creationId xmlns:a16="http://schemas.microsoft.com/office/drawing/2014/main" id="{EE0D0DCE-3D7C-4D9B-8FF9-0EDEEB7D6F85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88" name="iṡliḓè">
              <a:extLst>
                <a:ext uri="{FF2B5EF4-FFF2-40B4-BE49-F238E27FC236}">
                  <a16:creationId xmlns:a16="http://schemas.microsoft.com/office/drawing/2014/main" id="{BBDF83E9-CB1D-44A4-9F69-187818CEB34C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89" name="íšḻíḋè">
                <a:extLst>
                  <a:ext uri="{FF2B5EF4-FFF2-40B4-BE49-F238E27FC236}">
                    <a16:creationId xmlns:a16="http://schemas.microsoft.com/office/drawing/2014/main" id="{F493EA31-3927-4205-A6A8-3A3AAA0BE117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90" name="îS1iḓé">
                <a:extLst>
                  <a:ext uri="{FF2B5EF4-FFF2-40B4-BE49-F238E27FC236}">
                    <a16:creationId xmlns:a16="http://schemas.microsoft.com/office/drawing/2014/main" id="{B7F48A8D-1ECA-45FE-8207-0C0D996EC6F5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grpSp>
        <p:nvGrpSpPr>
          <p:cNvPr id="32" name="79fc69df-94a5-4f42-ba71-3616878b9b7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7E0D69E-0CF5-4B3E-AFFB-6DF28192B36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-3272897" y="2129848"/>
            <a:ext cx="2982334" cy="2873820"/>
            <a:chOff x="4117976" y="1516063"/>
            <a:chExt cx="3970338" cy="3825875"/>
          </a:xfrm>
        </p:grpSpPr>
        <p:sp>
          <p:nvSpPr>
            <p:cNvPr id="33" name="iślïḓe">
              <a:extLst>
                <a:ext uri="{FF2B5EF4-FFF2-40B4-BE49-F238E27FC236}">
                  <a16:creationId xmlns:a16="http://schemas.microsoft.com/office/drawing/2014/main" id="{0A192627-C3A2-4E2D-B943-BD12AA02A3F3}"/>
                </a:ext>
              </a:extLst>
            </p:cNvPr>
            <p:cNvSpPr/>
            <p:nvPr/>
          </p:nvSpPr>
          <p:spPr bwMode="auto">
            <a:xfrm>
              <a:off x="4598988" y="1600200"/>
              <a:ext cx="2909888" cy="3530600"/>
            </a:xfrm>
            <a:custGeom>
              <a:avLst/>
              <a:gdLst>
                <a:gd name="T0" fmla="*/ 181 w 206"/>
                <a:gd name="T1" fmla="*/ 0 h 250"/>
                <a:gd name="T2" fmla="*/ 25 w 206"/>
                <a:gd name="T3" fmla="*/ 0 h 250"/>
                <a:gd name="T4" fmla="*/ 0 w 206"/>
                <a:gd name="T5" fmla="*/ 25 h 250"/>
                <a:gd name="T6" fmla="*/ 0 w 206"/>
                <a:gd name="T7" fmla="*/ 225 h 250"/>
                <a:gd name="T8" fmla="*/ 25 w 206"/>
                <a:gd name="T9" fmla="*/ 250 h 250"/>
                <a:gd name="T10" fmla="*/ 181 w 206"/>
                <a:gd name="T11" fmla="*/ 250 h 250"/>
                <a:gd name="T12" fmla="*/ 206 w 206"/>
                <a:gd name="T13" fmla="*/ 225 h 250"/>
                <a:gd name="T14" fmla="*/ 206 w 206"/>
                <a:gd name="T15" fmla="*/ 25 h 250"/>
                <a:gd name="T16" fmla="*/ 181 w 206"/>
                <a:gd name="T1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50">
                  <a:moveTo>
                    <a:pt x="181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39"/>
                    <a:pt x="11" y="250"/>
                    <a:pt x="25" y="250"/>
                  </a:cubicBezTo>
                  <a:cubicBezTo>
                    <a:pt x="181" y="250"/>
                    <a:pt x="181" y="250"/>
                    <a:pt x="181" y="250"/>
                  </a:cubicBezTo>
                  <a:cubicBezTo>
                    <a:pt x="195" y="250"/>
                    <a:pt x="206" y="239"/>
                    <a:pt x="206" y="225"/>
                  </a:cubicBezTo>
                  <a:cubicBezTo>
                    <a:pt x="206" y="25"/>
                    <a:pt x="206" y="25"/>
                    <a:pt x="206" y="25"/>
                  </a:cubicBezTo>
                  <a:cubicBezTo>
                    <a:pt x="206" y="11"/>
                    <a:pt x="195" y="0"/>
                    <a:pt x="181" y="0"/>
                  </a:cubicBezTo>
                  <a:close/>
                </a:path>
              </a:pathLst>
            </a:custGeom>
            <a:solidFill>
              <a:srgbClr val="5760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îṥ1idê">
              <a:extLst>
                <a:ext uri="{FF2B5EF4-FFF2-40B4-BE49-F238E27FC236}">
                  <a16:creationId xmlns:a16="http://schemas.microsoft.com/office/drawing/2014/main" id="{EA7B0FBA-81C4-4C00-B8B0-E0331879839D}"/>
                </a:ext>
              </a:extLst>
            </p:cNvPr>
            <p:cNvSpPr/>
            <p:nvPr/>
          </p:nvSpPr>
          <p:spPr bwMode="auto">
            <a:xfrm>
              <a:off x="4160838" y="5030788"/>
              <a:ext cx="268288" cy="268288"/>
            </a:xfrm>
            <a:prstGeom prst="ellipse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ṣľiďé">
              <a:extLst>
                <a:ext uri="{FF2B5EF4-FFF2-40B4-BE49-F238E27FC236}">
                  <a16:creationId xmlns:a16="http://schemas.microsoft.com/office/drawing/2014/main" id="{F08FF42E-5916-43A9-858F-EC0248C8C3B3}"/>
                </a:ext>
              </a:extLst>
            </p:cNvPr>
            <p:cNvSpPr/>
            <p:nvPr/>
          </p:nvSpPr>
          <p:spPr bwMode="auto">
            <a:xfrm>
              <a:off x="7777163" y="2828925"/>
              <a:ext cx="254000" cy="268288"/>
            </a:xfrm>
            <a:prstGeom prst="ellipse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S1íďè">
              <a:extLst>
                <a:ext uri="{FF2B5EF4-FFF2-40B4-BE49-F238E27FC236}">
                  <a16:creationId xmlns:a16="http://schemas.microsoft.com/office/drawing/2014/main" id="{1B677836-CFF4-4826-9BCD-53A85F0BCFB2}"/>
                </a:ext>
              </a:extLst>
            </p:cNvPr>
            <p:cNvSpPr/>
            <p:nvPr/>
          </p:nvSpPr>
          <p:spPr bwMode="auto">
            <a:xfrm>
              <a:off x="6802438" y="3181350"/>
              <a:ext cx="352425" cy="354013"/>
            </a:xfrm>
            <a:prstGeom prst="rect">
              <a:avLst/>
            </a:prstGeom>
            <a:solidFill>
              <a:srgbClr val="80AF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ṩ1ïde">
              <a:extLst>
                <a:ext uri="{FF2B5EF4-FFF2-40B4-BE49-F238E27FC236}">
                  <a16:creationId xmlns:a16="http://schemas.microsoft.com/office/drawing/2014/main" id="{497F220E-93FF-4A3C-84A5-76306D4B0A97}"/>
                </a:ext>
              </a:extLst>
            </p:cNvPr>
            <p:cNvSpPr/>
            <p:nvPr/>
          </p:nvSpPr>
          <p:spPr bwMode="auto">
            <a:xfrm>
              <a:off x="6180138" y="4424363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sḻíḑé">
              <a:extLst>
                <a:ext uri="{FF2B5EF4-FFF2-40B4-BE49-F238E27FC236}">
                  <a16:creationId xmlns:a16="http://schemas.microsoft.com/office/drawing/2014/main" id="{B50FFE97-290E-4D72-AF3D-231F5B8804A7}"/>
                </a:ext>
              </a:extLst>
            </p:cNvPr>
            <p:cNvSpPr/>
            <p:nvPr/>
          </p:nvSpPr>
          <p:spPr bwMode="auto">
            <a:xfrm>
              <a:off x="5573713" y="4424363"/>
              <a:ext cx="352425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ṡľïde">
              <a:extLst>
                <a:ext uri="{FF2B5EF4-FFF2-40B4-BE49-F238E27FC236}">
                  <a16:creationId xmlns:a16="http://schemas.microsoft.com/office/drawing/2014/main" id="{0E87C7F4-E20A-4BF0-B25D-BF35B3BF8CC9}"/>
                </a:ext>
              </a:extLst>
            </p:cNvPr>
            <p:cNvSpPr/>
            <p:nvPr/>
          </p:nvSpPr>
          <p:spPr bwMode="auto">
            <a:xfrm>
              <a:off x="7861301" y="3887788"/>
              <a:ext cx="169863" cy="18415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Sļíḍe">
              <a:extLst>
                <a:ext uri="{FF2B5EF4-FFF2-40B4-BE49-F238E27FC236}">
                  <a16:creationId xmlns:a16="http://schemas.microsoft.com/office/drawing/2014/main" id="{D73F1776-5CB5-40DA-8DDF-3CC6C9A164A3}"/>
                </a:ext>
              </a:extLst>
            </p:cNvPr>
            <p:cNvSpPr/>
            <p:nvPr/>
          </p:nvSpPr>
          <p:spPr bwMode="auto">
            <a:xfrm>
              <a:off x="7693026" y="1600200"/>
              <a:ext cx="168275" cy="18415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šḷîdê">
              <a:extLst>
                <a:ext uri="{FF2B5EF4-FFF2-40B4-BE49-F238E27FC236}">
                  <a16:creationId xmlns:a16="http://schemas.microsoft.com/office/drawing/2014/main" id="{EE8DE35D-A2F5-45C9-B21C-AC2A64AB849B}"/>
                </a:ext>
              </a:extLst>
            </p:cNvPr>
            <p:cNvSpPr/>
            <p:nvPr/>
          </p:nvSpPr>
          <p:spPr bwMode="auto">
            <a:xfrm>
              <a:off x="6802438" y="3803650"/>
              <a:ext cx="352425" cy="973138"/>
            </a:xfrm>
            <a:prstGeom prst="rect">
              <a:avLst/>
            </a:prstGeom>
            <a:solidFill>
              <a:srgbClr val="E64C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ïšľïdè">
              <a:extLst>
                <a:ext uri="{FF2B5EF4-FFF2-40B4-BE49-F238E27FC236}">
                  <a16:creationId xmlns:a16="http://schemas.microsoft.com/office/drawing/2014/main" id="{39024F7A-0C42-473D-9B3B-038ADE6A2CC9}"/>
                </a:ext>
              </a:extLst>
            </p:cNvPr>
            <p:cNvSpPr/>
            <p:nvPr/>
          </p:nvSpPr>
          <p:spPr bwMode="auto">
            <a:xfrm>
              <a:off x="4951413" y="1954213"/>
              <a:ext cx="2203450" cy="704850"/>
            </a:xfrm>
            <a:prstGeom prst="rect">
              <a:avLst/>
            </a:prstGeom>
            <a:solidFill>
              <a:srgbClr val="ECF0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ŝľïďê">
              <a:extLst>
                <a:ext uri="{FF2B5EF4-FFF2-40B4-BE49-F238E27FC236}">
                  <a16:creationId xmlns:a16="http://schemas.microsoft.com/office/drawing/2014/main" id="{0E07E508-6842-4E84-AA93-33385B3FD89A}"/>
                </a:ext>
              </a:extLst>
            </p:cNvPr>
            <p:cNvSpPr/>
            <p:nvPr/>
          </p:nvSpPr>
          <p:spPr bwMode="auto">
            <a:xfrm>
              <a:off x="6180138" y="3803650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ṡ1ïḋé">
              <a:extLst>
                <a:ext uri="{FF2B5EF4-FFF2-40B4-BE49-F238E27FC236}">
                  <a16:creationId xmlns:a16="http://schemas.microsoft.com/office/drawing/2014/main" id="{231D1149-FDBD-4C77-B832-2BE30E9B385C}"/>
                </a:ext>
              </a:extLst>
            </p:cNvPr>
            <p:cNvSpPr/>
            <p:nvPr/>
          </p:nvSpPr>
          <p:spPr bwMode="auto">
            <a:xfrm>
              <a:off x="6180138" y="3181350"/>
              <a:ext cx="354013" cy="354013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iSḻïďê">
              <a:extLst>
                <a:ext uri="{FF2B5EF4-FFF2-40B4-BE49-F238E27FC236}">
                  <a16:creationId xmlns:a16="http://schemas.microsoft.com/office/drawing/2014/main" id="{E5609B51-25D4-440E-8091-1CE1376D6712}"/>
                </a:ext>
              </a:extLst>
            </p:cNvPr>
            <p:cNvSpPr/>
            <p:nvPr/>
          </p:nvSpPr>
          <p:spPr bwMode="auto">
            <a:xfrm>
              <a:off x="5573713" y="3803650"/>
              <a:ext cx="352425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ṩḻïḍe">
              <a:extLst>
                <a:ext uri="{FF2B5EF4-FFF2-40B4-BE49-F238E27FC236}">
                  <a16:creationId xmlns:a16="http://schemas.microsoft.com/office/drawing/2014/main" id="{6D36268D-2870-4544-8E9A-9658EA40CCB8}"/>
                </a:ext>
              </a:extLst>
            </p:cNvPr>
            <p:cNvSpPr/>
            <p:nvPr/>
          </p:nvSpPr>
          <p:spPr bwMode="auto">
            <a:xfrm>
              <a:off x="5573713" y="3181350"/>
              <a:ext cx="352425" cy="354013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íṥ1iḍé">
              <a:extLst>
                <a:ext uri="{FF2B5EF4-FFF2-40B4-BE49-F238E27FC236}">
                  <a16:creationId xmlns:a16="http://schemas.microsoft.com/office/drawing/2014/main" id="{7ED6C5E7-395F-4851-B244-2C4E8A0F4556}"/>
                </a:ext>
              </a:extLst>
            </p:cNvPr>
            <p:cNvSpPr/>
            <p:nvPr/>
          </p:nvSpPr>
          <p:spPr bwMode="auto">
            <a:xfrm>
              <a:off x="4951413" y="4424363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isliḓè">
              <a:extLst>
                <a:ext uri="{FF2B5EF4-FFF2-40B4-BE49-F238E27FC236}">
                  <a16:creationId xmlns:a16="http://schemas.microsoft.com/office/drawing/2014/main" id="{B3D6926A-BBF1-4708-8F9A-25C4EC2B14DF}"/>
                </a:ext>
              </a:extLst>
            </p:cNvPr>
            <p:cNvSpPr/>
            <p:nvPr/>
          </p:nvSpPr>
          <p:spPr bwMode="auto">
            <a:xfrm>
              <a:off x="4951413" y="3803650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ṥ1îḍe">
              <a:extLst>
                <a:ext uri="{FF2B5EF4-FFF2-40B4-BE49-F238E27FC236}">
                  <a16:creationId xmlns:a16="http://schemas.microsoft.com/office/drawing/2014/main" id="{CEF407FD-66DC-445D-9CB5-B82FA273A89C}"/>
                </a:ext>
              </a:extLst>
            </p:cNvPr>
            <p:cNvSpPr/>
            <p:nvPr/>
          </p:nvSpPr>
          <p:spPr bwMode="auto">
            <a:xfrm>
              <a:off x="4951413" y="3181350"/>
              <a:ext cx="354013" cy="354013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ṣḷiḑe">
              <a:extLst>
                <a:ext uri="{FF2B5EF4-FFF2-40B4-BE49-F238E27FC236}">
                  <a16:creationId xmlns:a16="http://schemas.microsoft.com/office/drawing/2014/main" id="{F44545E7-F4C3-4ABC-B1DD-DCD112872890}"/>
                </a:ext>
              </a:extLst>
            </p:cNvPr>
            <p:cNvSpPr/>
            <p:nvPr/>
          </p:nvSpPr>
          <p:spPr bwMode="auto">
            <a:xfrm>
              <a:off x="4244976" y="1516063"/>
              <a:ext cx="184150" cy="16986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Sḻídé">
              <a:extLst>
                <a:ext uri="{FF2B5EF4-FFF2-40B4-BE49-F238E27FC236}">
                  <a16:creationId xmlns:a16="http://schemas.microsoft.com/office/drawing/2014/main" id="{34D5B180-1366-4412-AAD2-619F1125A10D}"/>
                </a:ext>
              </a:extLst>
            </p:cNvPr>
            <p:cNvSpPr/>
            <p:nvPr/>
          </p:nvSpPr>
          <p:spPr bwMode="auto">
            <a:xfrm>
              <a:off x="4160838" y="2927350"/>
              <a:ext cx="169863" cy="16986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$ľiḍè">
              <a:extLst>
                <a:ext uri="{FF2B5EF4-FFF2-40B4-BE49-F238E27FC236}">
                  <a16:creationId xmlns:a16="http://schemas.microsoft.com/office/drawing/2014/main" id="{84548FBA-F1EC-413E-B5B1-B735D707C233}"/>
                </a:ext>
              </a:extLst>
            </p:cNvPr>
            <p:cNvSpPr/>
            <p:nvPr/>
          </p:nvSpPr>
          <p:spPr bwMode="auto">
            <a:xfrm>
              <a:off x="4556126" y="1558925"/>
              <a:ext cx="2995613" cy="3613150"/>
            </a:xfrm>
            <a:custGeom>
              <a:avLst/>
              <a:gdLst>
                <a:gd name="T0" fmla="*/ 184 w 212"/>
                <a:gd name="T1" fmla="*/ 256 h 256"/>
                <a:gd name="T2" fmla="*/ 28 w 212"/>
                <a:gd name="T3" fmla="*/ 256 h 256"/>
                <a:gd name="T4" fmla="*/ 0 w 212"/>
                <a:gd name="T5" fmla="*/ 228 h 256"/>
                <a:gd name="T6" fmla="*/ 0 w 212"/>
                <a:gd name="T7" fmla="*/ 28 h 256"/>
                <a:gd name="T8" fmla="*/ 28 w 212"/>
                <a:gd name="T9" fmla="*/ 0 h 256"/>
                <a:gd name="T10" fmla="*/ 184 w 212"/>
                <a:gd name="T11" fmla="*/ 0 h 256"/>
                <a:gd name="T12" fmla="*/ 212 w 212"/>
                <a:gd name="T13" fmla="*/ 28 h 256"/>
                <a:gd name="T14" fmla="*/ 212 w 212"/>
                <a:gd name="T15" fmla="*/ 228 h 256"/>
                <a:gd name="T16" fmla="*/ 184 w 212"/>
                <a:gd name="T17" fmla="*/ 256 h 256"/>
                <a:gd name="T18" fmla="*/ 28 w 212"/>
                <a:gd name="T19" fmla="*/ 6 h 256"/>
                <a:gd name="T20" fmla="*/ 6 w 212"/>
                <a:gd name="T21" fmla="*/ 28 h 256"/>
                <a:gd name="T22" fmla="*/ 6 w 212"/>
                <a:gd name="T23" fmla="*/ 228 h 256"/>
                <a:gd name="T24" fmla="*/ 28 w 212"/>
                <a:gd name="T25" fmla="*/ 250 h 256"/>
                <a:gd name="T26" fmla="*/ 184 w 212"/>
                <a:gd name="T27" fmla="*/ 250 h 256"/>
                <a:gd name="T28" fmla="*/ 206 w 212"/>
                <a:gd name="T29" fmla="*/ 228 h 256"/>
                <a:gd name="T30" fmla="*/ 206 w 212"/>
                <a:gd name="T31" fmla="*/ 28 h 256"/>
                <a:gd name="T32" fmla="*/ 184 w 212"/>
                <a:gd name="T33" fmla="*/ 6 h 256"/>
                <a:gd name="T34" fmla="*/ 28 w 212"/>
                <a:gd name="T35" fmla="*/ 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56">
                  <a:moveTo>
                    <a:pt x="184" y="256"/>
                  </a:moveTo>
                  <a:cubicBezTo>
                    <a:pt x="28" y="256"/>
                    <a:pt x="28" y="256"/>
                    <a:pt x="28" y="256"/>
                  </a:cubicBezTo>
                  <a:cubicBezTo>
                    <a:pt x="12" y="256"/>
                    <a:pt x="0" y="243"/>
                    <a:pt x="0" y="2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2" y="12"/>
                    <a:pt x="212" y="28"/>
                  </a:cubicBezTo>
                  <a:cubicBezTo>
                    <a:pt x="212" y="228"/>
                    <a:pt x="212" y="228"/>
                    <a:pt x="212" y="228"/>
                  </a:cubicBezTo>
                  <a:cubicBezTo>
                    <a:pt x="212" y="243"/>
                    <a:pt x="200" y="256"/>
                    <a:pt x="184" y="256"/>
                  </a:cubicBezTo>
                  <a:close/>
                  <a:moveTo>
                    <a:pt x="28" y="6"/>
                  </a:moveTo>
                  <a:cubicBezTo>
                    <a:pt x="16" y="6"/>
                    <a:pt x="6" y="16"/>
                    <a:pt x="6" y="28"/>
                  </a:cubicBezTo>
                  <a:cubicBezTo>
                    <a:pt x="6" y="228"/>
                    <a:pt x="6" y="228"/>
                    <a:pt x="6" y="228"/>
                  </a:cubicBezTo>
                  <a:cubicBezTo>
                    <a:pt x="6" y="240"/>
                    <a:pt x="16" y="250"/>
                    <a:pt x="28" y="250"/>
                  </a:cubicBezTo>
                  <a:cubicBezTo>
                    <a:pt x="184" y="250"/>
                    <a:pt x="184" y="250"/>
                    <a:pt x="184" y="250"/>
                  </a:cubicBezTo>
                  <a:cubicBezTo>
                    <a:pt x="196" y="250"/>
                    <a:pt x="206" y="240"/>
                    <a:pt x="206" y="228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6" y="16"/>
                    <a:pt x="196" y="6"/>
                    <a:pt x="184" y="6"/>
                  </a:cubicBezTo>
                  <a:lnTo>
                    <a:pt x="28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şḻíḑe">
              <a:extLst>
                <a:ext uri="{FF2B5EF4-FFF2-40B4-BE49-F238E27FC236}">
                  <a16:creationId xmlns:a16="http://schemas.microsoft.com/office/drawing/2014/main" id="{ACDF0269-F5EC-4CB4-AC12-07E13575B782}"/>
                </a:ext>
              </a:extLst>
            </p:cNvPr>
            <p:cNvSpPr/>
            <p:nvPr/>
          </p:nvSpPr>
          <p:spPr bwMode="auto">
            <a:xfrm>
              <a:off x="4908551" y="1911350"/>
              <a:ext cx="2289175" cy="790575"/>
            </a:xfrm>
            <a:custGeom>
              <a:avLst/>
              <a:gdLst>
                <a:gd name="T0" fmla="*/ 159 w 162"/>
                <a:gd name="T1" fmla="*/ 56 h 56"/>
                <a:gd name="T2" fmla="*/ 3 w 162"/>
                <a:gd name="T3" fmla="*/ 56 h 56"/>
                <a:gd name="T4" fmla="*/ 0 w 162"/>
                <a:gd name="T5" fmla="*/ 53 h 56"/>
                <a:gd name="T6" fmla="*/ 0 w 162"/>
                <a:gd name="T7" fmla="*/ 3 h 56"/>
                <a:gd name="T8" fmla="*/ 3 w 162"/>
                <a:gd name="T9" fmla="*/ 0 h 56"/>
                <a:gd name="T10" fmla="*/ 159 w 162"/>
                <a:gd name="T11" fmla="*/ 0 h 56"/>
                <a:gd name="T12" fmla="*/ 162 w 162"/>
                <a:gd name="T13" fmla="*/ 3 h 56"/>
                <a:gd name="T14" fmla="*/ 162 w 162"/>
                <a:gd name="T15" fmla="*/ 53 h 56"/>
                <a:gd name="T16" fmla="*/ 159 w 162"/>
                <a:gd name="T17" fmla="*/ 56 h 56"/>
                <a:gd name="T18" fmla="*/ 6 w 162"/>
                <a:gd name="T19" fmla="*/ 50 h 56"/>
                <a:gd name="T20" fmla="*/ 156 w 162"/>
                <a:gd name="T21" fmla="*/ 50 h 56"/>
                <a:gd name="T22" fmla="*/ 156 w 162"/>
                <a:gd name="T23" fmla="*/ 6 h 56"/>
                <a:gd name="T24" fmla="*/ 6 w 162"/>
                <a:gd name="T25" fmla="*/ 6 h 56"/>
                <a:gd name="T26" fmla="*/ 6 w 162"/>
                <a:gd name="T27" fmla="*/ 5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2" h="56">
                  <a:moveTo>
                    <a:pt x="159" y="56"/>
                  </a:moveTo>
                  <a:cubicBezTo>
                    <a:pt x="3" y="56"/>
                    <a:pt x="3" y="56"/>
                    <a:pt x="3" y="56"/>
                  </a:cubicBezTo>
                  <a:cubicBezTo>
                    <a:pt x="1" y="56"/>
                    <a:pt x="0" y="55"/>
                    <a:pt x="0" y="5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2" y="53"/>
                    <a:pt x="162" y="53"/>
                    <a:pt x="162" y="53"/>
                  </a:cubicBezTo>
                  <a:cubicBezTo>
                    <a:pt x="162" y="55"/>
                    <a:pt x="161" y="56"/>
                    <a:pt x="159" y="56"/>
                  </a:cubicBezTo>
                  <a:close/>
                  <a:moveTo>
                    <a:pt x="6" y="50"/>
                  </a:moveTo>
                  <a:cubicBezTo>
                    <a:pt x="156" y="50"/>
                    <a:pt x="156" y="50"/>
                    <a:pt x="156" y="50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şlîḋè">
              <a:extLst>
                <a:ext uri="{FF2B5EF4-FFF2-40B4-BE49-F238E27FC236}">
                  <a16:creationId xmlns:a16="http://schemas.microsoft.com/office/drawing/2014/main" id="{43D24AE1-41CA-41FB-B3A9-E7DBC5B0E36E}"/>
                </a:ext>
              </a:extLst>
            </p:cNvPr>
            <p:cNvSpPr/>
            <p:nvPr/>
          </p:nvSpPr>
          <p:spPr bwMode="auto">
            <a:xfrm>
              <a:off x="4908551" y="4381500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29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9"/>
                    <a:pt x="30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S1ïḓé">
              <a:extLst>
                <a:ext uri="{FF2B5EF4-FFF2-40B4-BE49-F238E27FC236}">
                  <a16:creationId xmlns:a16="http://schemas.microsoft.com/office/drawing/2014/main" id="{7A3A0D66-4994-43BE-AEF8-0CF7F53075C7}"/>
                </a:ext>
              </a:extLst>
            </p:cNvPr>
            <p:cNvSpPr/>
            <p:nvPr/>
          </p:nvSpPr>
          <p:spPr bwMode="auto">
            <a:xfrm>
              <a:off x="5530851" y="4381500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29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9"/>
                    <a:pt x="29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$1ïdè">
              <a:extLst>
                <a:ext uri="{FF2B5EF4-FFF2-40B4-BE49-F238E27FC236}">
                  <a16:creationId xmlns:a16="http://schemas.microsoft.com/office/drawing/2014/main" id="{9BC10773-0D7C-47C3-BBA2-DD914E3A27C5}"/>
                </a:ext>
              </a:extLst>
            </p:cNvPr>
            <p:cNvSpPr/>
            <p:nvPr/>
          </p:nvSpPr>
          <p:spPr bwMode="auto">
            <a:xfrm>
              <a:off x="6138863" y="4381500"/>
              <a:ext cx="450850" cy="438150"/>
            </a:xfrm>
            <a:custGeom>
              <a:avLst/>
              <a:gdLst>
                <a:gd name="T0" fmla="*/ 28 w 32"/>
                <a:gd name="T1" fmla="*/ 31 h 31"/>
                <a:gd name="T2" fmla="*/ 3 w 32"/>
                <a:gd name="T3" fmla="*/ 31 h 31"/>
                <a:gd name="T4" fmla="*/ 0 w 32"/>
                <a:gd name="T5" fmla="*/ 28 h 31"/>
                <a:gd name="T6" fmla="*/ 0 w 32"/>
                <a:gd name="T7" fmla="*/ 3 h 31"/>
                <a:gd name="T8" fmla="*/ 3 w 32"/>
                <a:gd name="T9" fmla="*/ 0 h 31"/>
                <a:gd name="T10" fmla="*/ 28 w 32"/>
                <a:gd name="T11" fmla="*/ 0 h 31"/>
                <a:gd name="T12" fmla="*/ 32 w 32"/>
                <a:gd name="T13" fmla="*/ 3 h 31"/>
                <a:gd name="T14" fmla="*/ 32 w 32"/>
                <a:gd name="T15" fmla="*/ 28 h 31"/>
                <a:gd name="T16" fmla="*/ 28 w 32"/>
                <a:gd name="T17" fmla="*/ 31 h 31"/>
                <a:gd name="T18" fmla="*/ 7 w 32"/>
                <a:gd name="T19" fmla="*/ 25 h 31"/>
                <a:gd name="T20" fmla="*/ 25 w 32"/>
                <a:gd name="T21" fmla="*/ 25 h 31"/>
                <a:gd name="T22" fmla="*/ 25 w 32"/>
                <a:gd name="T23" fmla="*/ 6 h 31"/>
                <a:gd name="T24" fmla="*/ 7 w 32"/>
                <a:gd name="T25" fmla="*/ 6 h 31"/>
                <a:gd name="T26" fmla="*/ 7 w 32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2" y="31"/>
                    <a:pt x="0" y="29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29"/>
                    <a:pt x="30" y="31"/>
                    <a:pt x="28" y="31"/>
                  </a:cubicBezTo>
                  <a:close/>
                  <a:moveTo>
                    <a:pt x="7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ṧḻîḓé">
              <a:extLst>
                <a:ext uri="{FF2B5EF4-FFF2-40B4-BE49-F238E27FC236}">
                  <a16:creationId xmlns:a16="http://schemas.microsoft.com/office/drawing/2014/main" id="{2295AC9E-CEA2-47CC-9284-B127A8B06A33}"/>
                </a:ext>
              </a:extLst>
            </p:cNvPr>
            <p:cNvSpPr/>
            <p:nvPr/>
          </p:nvSpPr>
          <p:spPr bwMode="auto">
            <a:xfrm>
              <a:off x="4908551" y="3760788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30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iṩ1îḓè">
              <a:extLst>
                <a:ext uri="{FF2B5EF4-FFF2-40B4-BE49-F238E27FC236}">
                  <a16:creationId xmlns:a16="http://schemas.microsoft.com/office/drawing/2014/main" id="{E58786CE-FFE1-41ED-BA5C-D9B866A8FF6D}"/>
                </a:ext>
              </a:extLst>
            </p:cNvPr>
            <p:cNvSpPr/>
            <p:nvPr/>
          </p:nvSpPr>
          <p:spPr bwMode="auto">
            <a:xfrm>
              <a:off x="5530851" y="3760788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29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ŝḻîďé">
              <a:extLst>
                <a:ext uri="{FF2B5EF4-FFF2-40B4-BE49-F238E27FC236}">
                  <a16:creationId xmlns:a16="http://schemas.microsoft.com/office/drawing/2014/main" id="{B4E5F402-50C2-4F65-BD84-225681FDC10F}"/>
                </a:ext>
              </a:extLst>
            </p:cNvPr>
            <p:cNvSpPr/>
            <p:nvPr/>
          </p:nvSpPr>
          <p:spPr bwMode="auto">
            <a:xfrm>
              <a:off x="6138863" y="3760788"/>
              <a:ext cx="450850" cy="438150"/>
            </a:xfrm>
            <a:custGeom>
              <a:avLst/>
              <a:gdLst>
                <a:gd name="T0" fmla="*/ 28 w 32"/>
                <a:gd name="T1" fmla="*/ 31 h 31"/>
                <a:gd name="T2" fmla="*/ 3 w 32"/>
                <a:gd name="T3" fmla="*/ 31 h 31"/>
                <a:gd name="T4" fmla="*/ 0 w 32"/>
                <a:gd name="T5" fmla="*/ 28 h 31"/>
                <a:gd name="T6" fmla="*/ 0 w 32"/>
                <a:gd name="T7" fmla="*/ 3 h 31"/>
                <a:gd name="T8" fmla="*/ 3 w 32"/>
                <a:gd name="T9" fmla="*/ 0 h 31"/>
                <a:gd name="T10" fmla="*/ 28 w 32"/>
                <a:gd name="T11" fmla="*/ 0 h 31"/>
                <a:gd name="T12" fmla="*/ 32 w 32"/>
                <a:gd name="T13" fmla="*/ 3 h 31"/>
                <a:gd name="T14" fmla="*/ 32 w 32"/>
                <a:gd name="T15" fmla="*/ 28 h 31"/>
                <a:gd name="T16" fmla="*/ 28 w 32"/>
                <a:gd name="T17" fmla="*/ 31 h 31"/>
                <a:gd name="T18" fmla="*/ 7 w 32"/>
                <a:gd name="T19" fmla="*/ 25 h 31"/>
                <a:gd name="T20" fmla="*/ 25 w 32"/>
                <a:gd name="T21" fmla="*/ 25 h 31"/>
                <a:gd name="T22" fmla="*/ 25 w 32"/>
                <a:gd name="T23" fmla="*/ 6 h 31"/>
                <a:gd name="T24" fmla="*/ 7 w 32"/>
                <a:gd name="T25" fmla="*/ 6 h 31"/>
                <a:gd name="T26" fmla="*/ 7 w 32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2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0"/>
                    <a:pt x="30" y="31"/>
                    <a:pt x="28" y="31"/>
                  </a:cubicBezTo>
                  <a:close/>
                  <a:moveTo>
                    <a:pt x="7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ïṩḷîḓe">
              <a:extLst>
                <a:ext uri="{FF2B5EF4-FFF2-40B4-BE49-F238E27FC236}">
                  <a16:creationId xmlns:a16="http://schemas.microsoft.com/office/drawing/2014/main" id="{CA88412C-7980-453C-9F2E-1AB96913AC23}"/>
                </a:ext>
              </a:extLst>
            </p:cNvPr>
            <p:cNvSpPr/>
            <p:nvPr/>
          </p:nvSpPr>
          <p:spPr bwMode="auto">
            <a:xfrm>
              <a:off x="6759576" y="3760788"/>
              <a:ext cx="438150" cy="1058863"/>
            </a:xfrm>
            <a:custGeom>
              <a:avLst/>
              <a:gdLst>
                <a:gd name="T0" fmla="*/ 28 w 31"/>
                <a:gd name="T1" fmla="*/ 75 h 75"/>
                <a:gd name="T2" fmla="*/ 3 w 31"/>
                <a:gd name="T3" fmla="*/ 75 h 75"/>
                <a:gd name="T4" fmla="*/ 0 w 31"/>
                <a:gd name="T5" fmla="*/ 72 h 75"/>
                <a:gd name="T6" fmla="*/ 0 w 31"/>
                <a:gd name="T7" fmla="*/ 3 h 75"/>
                <a:gd name="T8" fmla="*/ 3 w 31"/>
                <a:gd name="T9" fmla="*/ 0 h 75"/>
                <a:gd name="T10" fmla="*/ 28 w 31"/>
                <a:gd name="T11" fmla="*/ 0 h 75"/>
                <a:gd name="T12" fmla="*/ 31 w 31"/>
                <a:gd name="T13" fmla="*/ 3 h 75"/>
                <a:gd name="T14" fmla="*/ 31 w 31"/>
                <a:gd name="T15" fmla="*/ 72 h 75"/>
                <a:gd name="T16" fmla="*/ 28 w 31"/>
                <a:gd name="T17" fmla="*/ 75 h 75"/>
                <a:gd name="T18" fmla="*/ 6 w 31"/>
                <a:gd name="T19" fmla="*/ 69 h 75"/>
                <a:gd name="T20" fmla="*/ 25 w 31"/>
                <a:gd name="T21" fmla="*/ 69 h 75"/>
                <a:gd name="T22" fmla="*/ 25 w 31"/>
                <a:gd name="T23" fmla="*/ 6 h 75"/>
                <a:gd name="T24" fmla="*/ 6 w 31"/>
                <a:gd name="T25" fmla="*/ 6 h 75"/>
                <a:gd name="T26" fmla="*/ 6 w 31"/>
                <a:gd name="T27" fmla="*/ 6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75">
                  <a:moveTo>
                    <a:pt x="28" y="75"/>
                  </a:moveTo>
                  <a:cubicBezTo>
                    <a:pt x="3" y="75"/>
                    <a:pt x="3" y="75"/>
                    <a:pt x="3" y="75"/>
                  </a:cubicBezTo>
                  <a:cubicBezTo>
                    <a:pt x="1" y="75"/>
                    <a:pt x="0" y="73"/>
                    <a:pt x="0" y="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3"/>
                    <a:pt x="30" y="75"/>
                    <a:pt x="28" y="75"/>
                  </a:cubicBezTo>
                  <a:close/>
                  <a:moveTo>
                    <a:pt x="6" y="69"/>
                  </a:moveTo>
                  <a:cubicBezTo>
                    <a:pt x="25" y="69"/>
                    <a:pt x="25" y="69"/>
                    <a:pt x="25" y="69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6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ṩľîḓe">
              <a:extLst>
                <a:ext uri="{FF2B5EF4-FFF2-40B4-BE49-F238E27FC236}">
                  <a16:creationId xmlns:a16="http://schemas.microsoft.com/office/drawing/2014/main" id="{3C5CEA1F-70D1-4704-B040-594CD0EB0D84}"/>
                </a:ext>
              </a:extLst>
            </p:cNvPr>
            <p:cNvSpPr/>
            <p:nvPr/>
          </p:nvSpPr>
          <p:spPr bwMode="auto">
            <a:xfrm>
              <a:off x="4908551" y="3140075"/>
              <a:ext cx="438150" cy="450850"/>
            </a:xfrm>
            <a:custGeom>
              <a:avLst/>
              <a:gdLst>
                <a:gd name="T0" fmla="*/ 28 w 31"/>
                <a:gd name="T1" fmla="*/ 32 h 32"/>
                <a:gd name="T2" fmla="*/ 3 w 31"/>
                <a:gd name="T3" fmla="*/ 32 h 32"/>
                <a:gd name="T4" fmla="*/ 0 w 31"/>
                <a:gd name="T5" fmla="*/ 28 h 32"/>
                <a:gd name="T6" fmla="*/ 0 w 31"/>
                <a:gd name="T7" fmla="*/ 3 h 32"/>
                <a:gd name="T8" fmla="*/ 3 w 31"/>
                <a:gd name="T9" fmla="*/ 0 h 32"/>
                <a:gd name="T10" fmla="*/ 28 w 31"/>
                <a:gd name="T11" fmla="*/ 0 h 32"/>
                <a:gd name="T12" fmla="*/ 31 w 31"/>
                <a:gd name="T13" fmla="*/ 3 h 32"/>
                <a:gd name="T14" fmla="*/ 31 w 31"/>
                <a:gd name="T15" fmla="*/ 28 h 32"/>
                <a:gd name="T16" fmla="*/ 28 w 31"/>
                <a:gd name="T17" fmla="*/ 32 h 32"/>
                <a:gd name="T18" fmla="*/ 6 w 31"/>
                <a:gd name="T19" fmla="*/ 25 h 32"/>
                <a:gd name="T20" fmla="*/ 25 w 31"/>
                <a:gd name="T21" fmla="*/ 25 h 32"/>
                <a:gd name="T22" fmla="*/ 25 w 31"/>
                <a:gd name="T23" fmla="*/ 7 h 32"/>
                <a:gd name="T24" fmla="*/ 6 w 31"/>
                <a:gd name="T25" fmla="*/ 7 h 32"/>
                <a:gd name="T26" fmla="*/ 6 w 31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2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30" y="32"/>
                    <a:pt x="28" y="32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şḻíḑê">
              <a:extLst>
                <a:ext uri="{FF2B5EF4-FFF2-40B4-BE49-F238E27FC236}">
                  <a16:creationId xmlns:a16="http://schemas.microsoft.com/office/drawing/2014/main" id="{093D3E30-EF49-4227-92B5-D3EFE2501AF3}"/>
                </a:ext>
              </a:extLst>
            </p:cNvPr>
            <p:cNvSpPr/>
            <p:nvPr/>
          </p:nvSpPr>
          <p:spPr bwMode="auto">
            <a:xfrm>
              <a:off x="5530851" y="3140075"/>
              <a:ext cx="438150" cy="450850"/>
            </a:xfrm>
            <a:custGeom>
              <a:avLst/>
              <a:gdLst>
                <a:gd name="T0" fmla="*/ 28 w 31"/>
                <a:gd name="T1" fmla="*/ 32 h 32"/>
                <a:gd name="T2" fmla="*/ 3 w 31"/>
                <a:gd name="T3" fmla="*/ 32 h 32"/>
                <a:gd name="T4" fmla="*/ 0 w 31"/>
                <a:gd name="T5" fmla="*/ 28 h 32"/>
                <a:gd name="T6" fmla="*/ 0 w 31"/>
                <a:gd name="T7" fmla="*/ 3 h 32"/>
                <a:gd name="T8" fmla="*/ 3 w 31"/>
                <a:gd name="T9" fmla="*/ 0 h 32"/>
                <a:gd name="T10" fmla="*/ 28 w 31"/>
                <a:gd name="T11" fmla="*/ 0 h 32"/>
                <a:gd name="T12" fmla="*/ 31 w 31"/>
                <a:gd name="T13" fmla="*/ 3 h 32"/>
                <a:gd name="T14" fmla="*/ 31 w 31"/>
                <a:gd name="T15" fmla="*/ 28 h 32"/>
                <a:gd name="T16" fmla="*/ 28 w 31"/>
                <a:gd name="T17" fmla="*/ 32 h 32"/>
                <a:gd name="T18" fmla="*/ 6 w 31"/>
                <a:gd name="T19" fmla="*/ 25 h 32"/>
                <a:gd name="T20" fmla="*/ 25 w 31"/>
                <a:gd name="T21" fmla="*/ 25 h 32"/>
                <a:gd name="T22" fmla="*/ 25 w 31"/>
                <a:gd name="T23" fmla="*/ 7 h 32"/>
                <a:gd name="T24" fmla="*/ 6 w 31"/>
                <a:gd name="T25" fmla="*/ 7 h 32"/>
                <a:gd name="T26" fmla="*/ 6 w 31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2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29" y="32"/>
                    <a:pt x="28" y="32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ṥlîḍê">
              <a:extLst>
                <a:ext uri="{FF2B5EF4-FFF2-40B4-BE49-F238E27FC236}">
                  <a16:creationId xmlns:a16="http://schemas.microsoft.com/office/drawing/2014/main" id="{A744CD4F-35A5-409F-B70D-6BDD29BD13EB}"/>
                </a:ext>
              </a:extLst>
            </p:cNvPr>
            <p:cNvSpPr/>
            <p:nvPr/>
          </p:nvSpPr>
          <p:spPr bwMode="auto">
            <a:xfrm>
              <a:off x="6138863" y="3140075"/>
              <a:ext cx="450850" cy="450850"/>
            </a:xfrm>
            <a:custGeom>
              <a:avLst/>
              <a:gdLst>
                <a:gd name="T0" fmla="*/ 28 w 32"/>
                <a:gd name="T1" fmla="*/ 32 h 32"/>
                <a:gd name="T2" fmla="*/ 3 w 32"/>
                <a:gd name="T3" fmla="*/ 32 h 32"/>
                <a:gd name="T4" fmla="*/ 0 w 32"/>
                <a:gd name="T5" fmla="*/ 28 h 32"/>
                <a:gd name="T6" fmla="*/ 0 w 32"/>
                <a:gd name="T7" fmla="*/ 3 h 32"/>
                <a:gd name="T8" fmla="*/ 3 w 32"/>
                <a:gd name="T9" fmla="*/ 0 h 32"/>
                <a:gd name="T10" fmla="*/ 28 w 32"/>
                <a:gd name="T11" fmla="*/ 0 h 32"/>
                <a:gd name="T12" fmla="*/ 32 w 32"/>
                <a:gd name="T13" fmla="*/ 3 h 32"/>
                <a:gd name="T14" fmla="*/ 32 w 32"/>
                <a:gd name="T15" fmla="*/ 28 h 32"/>
                <a:gd name="T16" fmla="*/ 28 w 32"/>
                <a:gd name="T17" fmla="*/ 32 h 32"/>
                <a:gd name="T18" fmla="*/ 7 w 32"/>
                <a:gd name="T19" fmla="*/ 25 h 32"/>
                <a:gd name="T20" fmla="*/ 25 w 32"/>
                <a:gd name="T21" fmla="*/ 25 h 32"/>
                <a:gd name="T22" fmla="*/ 25 w 32"/>
                <a:gd name="T23" fmla="*/ 7 h 32"/>
                <a:gd name="T24" fmla="*/ 7 w 32"/>
                <a:gd name="T25" fmla="*/ 7 h 32"/>
                <a:gd name="T26" fmla="*/ 7 w 32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2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2"/>
                    <a:pt x="32" y="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0"/>
                    <a:pt x="30" y="32"/>
                    <a:pt x="28" y="32"/>
                  </a:cubicBezTo>
                  <a:close/>
                  <a:moveTo>
                    <a:pt x="7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Slîḓe">
              <a:extLst>
                <a:ext uri="{FF2B5EF4-FFF2-40B4-BE49-F238E27FC236}">
                  <a16:creationId xmlns:a16="http://schemas.microsoft.com/office/drawing/2014/main" id="{B3A75F07-9D93-4BA9-A478-E929DF7C01D2}"/>
                </a:ext>
              </a:extLst>
            </p:cNvPr>
            <p:cNvSpPr/>
            <p:nvPr/>
          </p:nvSpPr>
          <p:spPr bwMode="auto">
            <a:xfrm>
              <a:off x="6759576" y="3140075"/>
              <a:ext cx="438150" cy="450850"/>
            </a:xfrm>
            <a:custGeom>
              <a:avLst/>
              <a:gdLst>
                <a:gd name="T0" fmla="*/ 28 w 31"/>
                <a:gd name="T1" fmla="*/ 32 h 32"/>
                <a:gd name="T2" fmla="*/ 3 w 31"/>
                <a:gd name="T3" fmla="*/ 32 h 32"/>
                <a:gd name="T4" fmla="*/ 0 w 31"/>
                <a:gd name="T5" fmla="*/ 28 h 32"/>
                <a:gd name="T6" fmla="*/ 0 w 31"/>
                <a:gd name="T7" fmla="*/ 3 h 32"/>
                <a:gd name="T8" fmla="*/ 3 w 31"/>
                <a:gd name="T9" fmla="*/ 0 h 32"/>
                <a:gd name="T10" fmla="*/ 28 w 31"/>
                <a:gd name="T11" fmla="*/ 0 h 32"/>
                <a:gd name="T12" fmla="*/ 31 w 31"/>
                <a:gd name="T13" fmla="*/ 3 h 32"/>
                <a:gd name="T14" fmla="*/ 31 w 31"/>
                <a:gd name="T15" fmla="*/ 28 h 32"/>
                <a:gd name="T16" fmla="*/ 28 w 31"/>
                <a:gd name="T17" fmla="*/ 32 h 32"/>
                <a:gd name="T18" fmla="*/ 6 w 31"/>
                <a:gd name="T19" fmla="*/ 25 h 32"/>
                <a:gd name="T20" fmla="*/ 25 w 31"/>
                <a:gd name="T21" fmla="*/ 25 h 32"/>
                <a:gd name="T22" fmla="*/ 25 w 31"/>
                <a:gd name="T23" fmla="*/ 7 h 32"/>
                <a:gd name="T24" fmla="*/ 6 w 31"/>
                <a:gd name="T25" fmla="*/ 7 h 32"/>
                <a:gd name="T26" fmla="*/ 6 w 31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2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30" y="32"/>
                    <a:pt x="28" y="32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ïšlídé">
              <a:extLst>
                <a:ext uri="{FF2B5EF4-FFF2-40B4-BE49-F238E27FC236}">
                  <a16:creationId xmlns:a16="http://schemas.microsoft.com/office/drawing/2014/main" id="{ADDB1B1A-F408-4D36-9CA3-9964D5130A59}"/>
                </a:ext>
              </a:extLst>
            </p:cNvPr>
            <p:cNvSpPr/>
            <p:nvPr/>
          </p:nvSpPr>
          <p:spPr bwMode="auto">
            <a:xfrm>
              <a:off x="5078413" y="2886075"/>
              <a:ext cx="354013" cy="84138"/>
            </a:xfrm>
            <a:custGeom>
              <a:avLst/>
              <a:gdLst>
                <a:gd name="T0" fmla="*/ 22 w 25"/>
                <a:gd name="T1" fmla="*/ 6 h 6"/>
                <a:gd name="T2" fmla="*/ 4 w 25"/>
                <a:gd name="T3" fmla="*/ 6 h 6"/>
                <a:gd name="T4" fmla="*/ 0 w 25"/>
                <a:gd name="T5" fmla="*/ 3 h 6"/>
                <a:gd name="T6" fmla="*/ 4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4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4"/>
                    <a:pt x="24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s1ïdè">
              <a:extLst>
                <a:ext uri="{FF2B5EF4-FFF2-40B4-BE49-F238E27FC236}">
                  <a16:creationId xmlns:a16="http://schemas.microsoft.com/office/drawing/2014/main" id="{19A48859-B388-44CD-BBBF-B50153FEA89A}"/>
                </a:ext>
              </a:extLst>
            </p:cNvPr>
            <p:cNvSpPr/>
            <p:nvPr/>
          </p:nvSpPr>
          <p:spPr bwMode="auto">
            <a:xfrm>
              <a:off x="5614988" y="2886075"/>
              <a:ext cx="354013" cy="84138"/>
            </a:xfrm>
            <a:custGeom>
              <a:avLst/>
              <a:gdLst>
                <a:gd name="T0" fmla="*/ 22 w 25"/>
                <a:gd name="T1" fmla="*/ 6 h 6"/>
                <a:gd name="T2" fmla="*/ 3 w 25"/>
                <a:gd name="T3" fmla="*/ 6 h 6"/>
                <a:gd name="T4" fmla="*/ 0 w 25"/>
                <a:gd name="T5" fmla="*/ 3 h 6"/>
                <a:gd name="T6" fmla="*/ 3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4"/>
                    <a:pt x="23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ṡḷïḋê">
              <a:extLst>
                <a:ext uri="{FF2B5EF4-FFF2-40B4-BE49-F238E27FC236}">
                  <a16:creationId xmlns:a16="http://schemas.microsoft.com/office/drawing/2014/main" id="{D35DF62D-083C-4300-9AF3-E16B5FBFFB50}"/>
                </a:ext>
              </a:extLst>
            </p:cNvPr>
            <p:cNvSpPr/>
            <p:nvPr/>
          </p:nvSpPr>
          <p:spPr bwMode="auto">
            <a:xfrm>
              <a:off x="6138863" y="2886075"/>
              <a:ext cx="352425" cy="84138"/>
            </a:xfrm>
            <a:custGeom>
              <a:avLst/>
              <a:gdLst>
                <a:gd name="T0" fmla="*/ 22 w 25"/>
                <a:gd name="T1" fmla="*/ 6 h 6"/>
                <a:gd name="T2" fmla="*/ 3 w 25"/>
                <a:gd name="T3" fmla="*/ 6 h 6"/>
                <a:gd name="T4" fmla="*/ 0 w 25"/>
                <a:gd name="T5" fmla="*/ 3 h 6"/>
                <a:gd name="T6" fmla="*/ 3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4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4"/>
                    <a:pt x="24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ŝ1iḑè">
              <a:extLst>
                <a:ext uri="{FF2B5EF4-FFF2-40B4-BE49-F238E27FC236}">
                  <a16:creationId xmlns:a16="http://schemas.microsoft.com/office/drawing/2014/main" id="{60FA24DB-E5A6-4FC3-A378-1476CE8080FB}"/>
                </a:ext>
              </a:extLst>
            </p:cNvPr>
            <p:cNvSpPr/>
            <p:nvPr/>
          </p:nvSpPr>
          <p:spPr bwMode="auto">
            <a:xfrm>
              <a:off x="6675438" y="2886075"/>
              <a:ext cx="352425" cy="84138"/>
            </a:xfrm>
            <a:custGeom>
              <a:avLst/>
              <a:gdLst>
                <a:gd name="T0" fmla="*/ 22 w 25"/>
                <a:gd name="T1" fmla="*/ 6 h 6"/>
                <a:gd name="T2" fmla="*/ 3 w 25"/>
                <a:gd name="T3" fmla="*/ 6 h 6"/>
                <a:gd name="T4" fmla="*/ 0 w 25"/>
                <a:gd name="T5" fmla="*/ 3 h 6"/>
                <a:gd name="T6" fmla="*/ 3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4"/>
                    <a:pt x="23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sḻïḍé">
              <a:extLst>
                <a:ext uri="{FF2B5EF4-FFF2-40B4-BE49-F238E27FC236}">
                  <a16:creationId xmlns:a16="http://schemas.microsoft.com/office/drawing/2014/main" id="{560E6D3C-CDA2-4DF0-BC52-DC626AD8727E}"/>
                </a:ext>
              </a:extLst>
            </p:cNvPr>
            <p:cNvSpPr/>
            <p:nvPr/>
          </p:nvSpPr>
          <p:spPr bwMode="auto">
            <a:xfrm>
              <a:off x="6759576" y="1911350"/>
              <a:ext cx="438150" cy="438150"/>
            </a:xfrm>
            <a:custGeom>
              <a:avLst/>
              <a:gdLst>
                <a:gd name="T0" fmla="*/ 3 w 31"/>
                <a:gd name="T1" fmla="*/ 31 h 31"/>
                <a:gd name="T2" fmla="*/ 1 w 31"/>
                <a:gd name="T3" fmla="*/ 30 h 31"/>
                <a:gd name="T4" fmla="*/ 1 w 31"/>
                <a:gd name="T5" fmla="*/ 26 h 31"/>
                <a:gd name="T6" fmla="*/ 26 w 31"/>
                <a:gd name="T7" fmla="*/ 1 h 31"/>
                <a:gd name="T8" fmla="*/ 30 w 31"/>
                <a:gd name="T9" fmla="*/ 1 h 31"/>
                <a:gd name="T10" fmla="*/ 30 w 31"/>
                <a:gd name="T11" fmla="*/ 5 h 31"/>
                <a:gd name="T12" fmla="*/ 5 w 31"/>
                <a:gd name="T13" fmla="*/ 30 h 31"/>
                <a:gd name="T14" fmla="*/ 3 w 31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1">
                  <a:moveTo>
                    <a:pt x="3" y="31"/>
                  </a:moveTo>
                  <a:cubicBezTo>
                    <a:pt x="2" y="31"/>
                    <a:pt x="2" y="31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31" y="2"/>
                    <a:pt x="31" y="4"/>
                    <a:pt x="30" y="5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1"/>
                    <a:pt x="4" y="31"/>
                    <a:pt x="3" y="3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Sḷíďê">
              <a:extLst>
                <a:ext uri="{FF2B5EF4-FFF2-40B4-BE49-F238E27FC236}">
                  <a16:creationId xmlns:a16="http://schemas.microsoft.com/office/drawing/2014/main" id="{C2E414C3-4324-474F-AFE8-79C84568D72E}"/>
                </a:ext>
              </a:extLst>
            </p:cNvPr>
            <p:cNvSpPr/>
            <p:nvPr/>
          </p:nvSpPr>
          <p:spPr bwMode="auto">
            <a:xfrm>
              <a:off x="6407151" y="2165350"/>
              <a:ext cx="182563" cy="184150"/>
            </a:xfrm>
            <a:custGeom>
              <a:avLst/>
              <a:gdLst>
                <a:gd name="T0" fmla="*/ 3 w 13"/>
                <a:gd name="T1" fmla="*/ 13 h 13"/>
                <a:gd name="T2" fmla="*/ 1 w 13"/>
                <a:gd name="T3" fmla="*/ 12 h 13"/>
                <a:gd name="T4" fmla="*/ 1 w 13"/>
                <a:gd name="T5" fmla="*/ 8 h 13"/>
                <a:gd name="T6" fmla="*/ 7 w 13"/>
                <a:gd name="T7" fmla="*/ 2 h 13"/>
                <a:gd name="T8" fmla="*/ 12 w 13"/>
                <a:gd name="T9" fmla="*/ 2 h 13"/>
                <a:gd name="T10" fmla="*/ 12 w 13"/>
                <a:gd name="T11" fmla="*/ 6 h 13"/>
                <a:gd name="T12" fmla="*/ 5 w 13"/>
                <a:gd name="T13" fmla="*/ 12 h 13"/>
                <a:gd name="T14" fmla="*/ 3 w 13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3">
                  <a:moveTo>
                    <a:pt x="3" y="13"/>
                  </a:moveTo>
                  <a:cubicBezTo>
                    <a:pt x="2" y="13"/>
                    <a:pt x="2" y="13"/>
                    <a:pt x="1" y="12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0"/>
                    <a:pt x="10" y="0"/>
                    <a:pt x="12" y="2"/>
                  </a:cubicBezTo>
                  <a:cubicBezTo>
                    <a:pt x="13" y="3"/>
                    <a:pt x="13" y="5"/>
                    <a:pt x="12" y="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4" y="13"/>
                    <a:pt x="3" y="1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şḷiḓè">
              <a:extLst>
                <a:ext uri="{FF2B5EF4-FFF2-40B4-BE49-F238E27FC236}">
                  <a16:creationId xmlns:a16="http://schemas.microsoft.com/office/drawing/2014/main" id="{D77633DF-BA45-4FA1-86B3-87CE8D43643B}"/>
                </a:ext>
              </a:extLst>
            </p:cNvPr>
            <p:cNvSpPr/>
            <p:nvPr/>
          </p:nvSpPr>
          <p:spPr bwMode="auto">
            <a:xfrm>
              <a:off x="4117976" y="4989513"/>
              <a:ext cx="354013" cy="352425"/>
            </a:xfrm>
            <a:custGeom>
              <a:avLst/>
              <a:gdLst>
                <a:gd name="T0" fmla="*/ 12 w 25"/>
                <a:gd name="T1" fmla="*/ 25 h 25"/>
                <a:gd name="T2" fmla="*/ 0 w 25"/>
                <a:gd name="T3" fmla="*/ 13 h 25"/>
                <a:gd name="T4" fmla="*/ 12 w 25"/>
                <a:gd name="T5" fmla="*/ 0 h 25"/>
                <a:gd name="T6" fmla="*/ 25 w 25"/>
                <a:gd name="T7" fmla="*/ 13 h 25"/>
                <a:gd name="T8" fmla="*/ 12 w 25"/>
                <a:gd name="T9" fmla="*/ 25 h 25"/>
                <a:gd name="T10" fmla="*/ 12 w 25"/>
                <a:gd name="T11" fmla="*/ 7 h 25"/>
                <a:gd name="T12" fmla="*/ 6 w 25"/>
                <a:gd name="T13" fmla="*/ 13 h 25"/>
                <a:gd name="T14" fmla="*/ 12 w 25"/>
                <a:gd name="T15" fmla="*/ 19 h 25"/>
                <a:gd name="T16" fmla="*/ 18 w 25"/>
                <a:gd name="T17" fmla="*/ 13 h 25"/>
                <a:gd name="T18" fmla="*/ 12 w 25"/>
                <a:gd name="T1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5" y="6"/>
                    <a:pt x="25" y="13"/>
                  </a:cubicBezTo>
                  <a:cubicBezTo>
                    <a:pt x="25" y="20"/>
                    <a:pt x="19" y="25"/>
                    <a:pt x="12" y="25"/>
                  </a:cubicBezTo>
                  <a:close/>
                  <a:moveTo>
                    <a:pt x="12" y="7"/>
                  </a:moveTo>
                  <a:cubicBezTo>
                    <a:pt x="9" y="7"/>
                    <a:pt x="6" y="9"/>
                    <a:pt x="6" y="13"/>
                  </a:cubicBezTo>
                  <a:cubicBezTo>
                    <a:pt x="6" y="16"/>
                    <a:pt x="9" y="19"/>
                    <a:pt x="12" y="19"/>
                  </a:cubicBezTo>
                  <a:cubicBezTo>
                    <a:pt x="16" y="19"/>
                    <a:pt x="18" y="16"/>
                    <a:pt x="18" y="13"/>
                  </a:cubicBezTo>
                  <a:cubicBezTo>
                    <a:pt x="18" y="9"/>
                    <a:pt x="16" y="7"/>
                    <a:pt x="12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sľïḍe">
              <a:extLst>
                <a:ext uri="{FF2B5EF4-FFF2-40B4-BE49-F238E27FC236}">
                  <a16:creationId xmlns:a16="http://schemas.microsoft.com/office/drawing/2014/main" id="{41124C2F-AA67-4B9C-B342-0AF68A6CF537}"/>
                </a:ext>
              </a:extLst>
            </p:cNvPr>
            <p:cNvSpPr/>
            <p:nvPr/>
          </p:nvSpPr>
          <p:spPr bwMode="auto">
            <a:xfrm>
              <a:off x="7734301" y="2786063"/>
              <a:ext cx="354013" cy="354013"/>
            </a:xfrm>
            <a:custGeom>
              <a:avLst/>
              <a:gdLst>
                <a:gd name="T0" fmla="*/ 12 w 25"/>
                <a:gd name="T1" fmla="*/ 25 h 25"/>
                <a:gd name="T2" fmla="*/ 0 w 25"/>
                <a:gd name="T3" fmla="*/ 13 h 25"/>
                <a:gd name="T4" fmla="*/ 12 w 25"/>
                <a:gd name="T5" fmla="*/ 0 h 25"/>
                <a:gd name="T6" fmla="*/ 25 w 25"/>
                <a:gd name="T7" fmla="*/ 13 h 25"/>
                <a:gd name="T8" fmla="*/ 12 w 25"/>
                <a:gd name="T9" fmla="*/ 25 h 25"/>
                <a:gd name="T10" fmla="*/ 12 w 25"/>
                <a:gd name="T11" fmla="*/ 7 h 25"/>
                <a:gd name="T12" fmla="*/ 6 w 25"/>
                <a:gd name="T13" fmla="*/ 13 h 25"/>
                <a:gd name="T14" fmla="*/ 12 w 25"/>
                <a:gd name="T15" fmla="*/ 19 h 25"/>
                <a:gd name="T16" fmla="*/ 18 w 25"/>
                <a:gd name="T17" fmla="*/ 13 h 25"/>
                <a:gd name="T18" fmla="*/ 12 w 25"/>
                <a:gd name="T1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5" y="6"/>
                    <a:pt x="25" y="13"/>
                  </a:cubicBezTo>
                  <a:cubicBezTo>
                    <a:pt x="25" y="20"/>
                    <a:pt x="19" y="25"/>
                    <a:pt x="12" y="25"/>
                  </a:cubicBezTo>
                  <a:close/>
                  <a:moveTo>
                    <a:pt x="12" y="7"/>
                  </a:moveTo>
                  <a:cubicBezTo>
                    <a:pt x="9" y="7"/>
                    <a:pt x="6" y="9"/>
                    <a:pt x="6" y="13"/>
                  </a:cubicBezTo>
                  <a:cubicBezTo>
                    <a:pt x="6" y="16"/>
                    <a:pt x="9" y="19"/>
                    <a:pt x="12" y="19"/>
                  </a:cubicBezTo>
                  <a:cubicBezTo>
                    <a:pt x="16" y="19"/>
                    <a:pt x="18" y="16"/>
                    <a:pt x="18" y="13"/>
                  </a:cubicBezTo>
                  <a:cubicBezTo>
                    <a:pt x="18" y="9"/>
                    <a:pt x="16" y="7"/>
                    <a:pt x="12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658405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mph" presetSubtype="256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2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79fc69df-94a5-4f42-ba71-3616878b9b7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2AF19B0-417B-4C5A-8813-E99F239058A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120576" y="2129848"/>
            <a:ext cx="2982334" cy="2873820"/>
            <a:chOff x="4117976" y="1516063"/>
            <a:chExt cx="3970338" cy="3825875"/>
          </a:xfrm>
        </p:grpSpPr>
        <p:sp>
          <p:nvSpPr>
            <p:cNvPr id="43" name="iślïḓe">
              <a:extLst>
                <a:ext uri="{FF2B5EF4-FFF2-40B4-BE49-F238E27FC236}">
                  <a16:creationId xmlns:a16="http://schemas.microsoft.com/office/drawing/2014/main" id="{273272BC-1BC4-4088-B369-45F03E272335}"/>
                </a:ext>
              </a:extLst>
            </p:cNvPr>
            <p:cNvSpPr/>
            <p:nvPr/>
          </p:nvSpPr>
          <p:spPr bwMode="auto">
            <a:xfrm>
              <a:off x="4598988" y="1600200"/>
              <a:ext cx="2909888" cy="3530600"/>
            </a:xfrm>
            <a:custGeom>
              <a:avLst/>
              <a:gdLst>
                <a:gd name="T0" fmla="*/ 181 w 206"/>
                <a:gd name="T1" fmla="*/ 0 h 250"/>
                <a:gd name="T2" fmla="*/ 25 w 206"/>
                <a:gd name="T3" fmla="*/ 0 h 250"/>
                <a:gd name="T4" fmla="*/ 0 w 206"/>
                <a:gd name="T5" fmla="*/ 25 h 250"/>
                <a:gd name="T6" fmla="*/ 0 w 206"/>
                <a:gd name="T7" fmla="*/ 225 h 250"/>
                <a:gd name="T8" fmla="*/ 25 w 206"/>
                <a:gd name="T9" fmla="*/ 250 h 250"/>
                <a:gd name="T10" fmla="*/ 181 w 206"/>
                <a:gd name="T11" fmla="*/ 250 h 250"/>
                <a:gd name="T12" fmla="*/ 206 w 206"/>
                <a:gd name="T13" fmla="*/ 225 h 250"/>
                <a:gd name="T14" fmla="*/ 206 w 206"/>
                <a:gd name="T15" fmla="*/ 25 h 250"/>
                <a:gd name="T16" fmla="*/ 181 w 206"/>
                <a:gd name="T1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50">
                  <a:moveTo>
                    <a:pt x="181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39"/>
                    <a:pt x="11" y="250"/>
                    <a:pt x="25" y="250"/>
                  </a:cubicBezTo>
                  <a:cubicBezTo>
                    <a:pt x="181" y="250"/>
                    <a:pt x="181" y="250"/>
                    <a:pt x="181" y="250"/>
                  </a:cubicBezTo>
                  <a:cubicBezTo>
                    <a:pt x="195" y="250"/>
                    <a:pt x="206" y="239"/>
                    <a:pt x="206" y="225"/>
                  </a:cubicBezTo>
                  <a:cubicBezTo>
                    <a:pt x="206" y="25"/>
                    <a:pt x="206" y="25"/>
                    <a:pt x="206" y="25"/>
                  </a:cubicBezTo>
                  <a:cubicBezTo>
                    <a:pt x="206" y="11"/>
                    <a:pt x="195" y="0"/>
                    <a:pt x="181" y="0"/>
                  </a:cubicBezTo>
                  <a:close/>
                </a:path>
              </a:pathLst>
            </a:custGeom>
            <a:solidFill>
              <a:srgbClr val="5760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îṥ1idê">
              <a:extLst>
                <a:ext uri="{FF2B5EF4-FFF2-40B4-BE49-F238E27FC236}">
                  <a16:creationId xmlns:a16="http://schemas.microsoft.com/office/drawing/2014/main" id="{E3A0C114-A13E-4043-BA0F-E8FE62A3F4C0}"/>
                </a:ext>
              </a:extLst>
            </p:cNvPr>
            <p:cNvSpPr/>
            <p:nvPr/>
          </p:nvSpPr>
          <p:spPr bwMode="auto">
            <a:xfrm>
              <a:off x="4160838" y="5030788"/>
              <a:ext cx="268288" cy="268288"/>
            </a:xfrm>
            <a:prstGeom prst="ellipse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ïṣľiďé">
              <a:extLst>
                <a:ext uri="{FF2B5EF4-FFF2-40B4-BE49-F238E27FC236}">
                  <a16:creationId xmlns:a16="http://schemas.microsoft.com/office/drawing/2014/main" id="{F915E959-247E-46E2-93CD-627E3409BD21}"/>
                </a:ext>
              </a:extLst>
            </p:cNvPr>
            <p:cNvSpPr/>
            <p:nvPr/>
          </p:nvSpPr>
          <p:spPr bwMode="auto">
            <a:xfrm>
              <a:off x="7777163" y="2828925"/>
              <a:ext cx="254000" cy="268288"/>
            </a:xfrm>
            <a:prstGeom prst="ellipse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S1íďè">
              <a:extLst>
                <a:ext uri="{FF2B5EF4-FFF2-40B4-BE49-F238E27FC236}">
                  <a16:creationId xmlns:a16="http://schemas.microsoft.com/office/drawing/2014/main" id="{C004CCA7-A517-4D07-8DD0-3B0DDCACC410}"/>
                </a:ext>
              </a:extLst>
            </p:cNvPr>
            <p:cNvSpPr/>
            <p:nvPr/>
          </p:nvSpPr>
          <p:spPr bwMode="auto">
            <a:xfrm>
              <a:off x="6802438" y="3181350"/>
              <a:ext cx="352425" cy="354013"/>
            </a:xfrm>
            <a:prstGeom prst="rect">
              <a:avLst/>
            </a:prstGeom>
            <a:solidFill>
              <a:srgbClr val="80AF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ṩ1ïde">
              <a:extLst>
                <a:ext uri="{FF2B5EF4-FFF2-40B4-BE49-F238E27FC236}">
                  <a16:creationId xmlns:a16="http://schemas.microsoft.com/office/drawing/2014/main" id="{4498FBE3-165C-4883-B561-CDA5F6365158}"/>
                </a:ext>
              </a:extLst>
            </p:cNvPr>
            <p:cNvSpPr/>
            <p:nvPr/>
          </p:nvSpPr>
          <p:spPr bwMode="auto">
            <a:xfrm>
              <a:off x="6180138" y="4424363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sḻíḑé">
              <a:extLst>
                <a:ext uri="{FF2B5EF4-FFF2-40B4-BE49-F238E27FC236}">
                  <a16:creationId xmlns:a16="http://schemas.microsoft.com/office/drawing/2014/main" id="{BAC1AD04-C614-4745-B68F-43A3A566E287}"/>
                </a:ext>
              </a:extLst>
            </p:cNvPr>
            <p:cNvSpPr/>
            <p:nvPr/>
          </p:nvSpPr>
          <p:spPr bwMode="auto">
            <a:xfrm>
              <a:off x="5573713" y="4424363"/>
              <a:ext cx="352425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ṡľïde">
              <a:extLst>
                <a:ext uri="{FF2B5EF4-FFF2-40B4-BE49-F238E27FC236}">
                  <a16:creationId xmlns:a16="http://schemas.microsoft.com/office/drawing/2014/main" id="{EAF7FAFD-C5A2-427B-BCC8-56D149429D16}"/>
                </a:ext>
              </a:extLst>
            </p:cNvPr>
            <p:cNvSpPr/>
            <p:nvPr/>
          </p:nvSpPr>
          <p:spPr bwMode="auto">
            <a:xfrm>
              <a:off x="7861301" y="3887788"/>
              <a:ext cx="169863" cy="18415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Sļíḍe">
              <a:extLst>
                <a:ext uri="{FF2B5EF4-FFF2-40B4-BE49-F238E27FC236}">
                  <a16:creationId xmlns:a16="http://schemas.microsoft.com/office/drawing/2014/main" id="{9A0CD1F9-4A68-4046-8D07-614106E23C3A}"/>
                </a:ext>
              </a:extLst>
            </p:cNvPr>
            <p:cNvSpPr/>
            <p:nvPr/>
          </p:nvSpPr>
          <p:spPr bwMode="auto">
            <a:xfrm>
              <a:off x="7693026" y="1600200"/>
              <a:ext cx="168275" cy="18415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šḷîdê">
              <a:extLst>
                <a:ext uri="{FF2B5EF4-FFF2-40B4-BE49-F238E27FC236}">
                  <a16:creationId xmlns:a16="http://schemas.microsoft.com/office/drawing/2014/main" id="{062E3118-EFFD-4843-BBCB-EB529C8D346C}"/>
                </a:ext>
              </a:extLst>
            </p:cNvPr>
            <p:cNvSpPr/>
            <p:nvPr/>
          </p:nvSpPr>
          <p:spPr bwMode="auto">
            <a:xfrm>
              <a:off x="6802438" y="3803650"/>
              <a:ext cx="352425" cy="973138"/>
            </a:xfrm>
            <a:prstGeom prst="rect">
              <a:avLst/>
            </a:prstGeom>
            <a:solidFill>
              <a:srgbClr val="E64C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šľïdè">
              <a:extLst>
                <a:ext uri="{FF2B5EF4-FFF2-40B4-BE49-F238E27FC236}">
                  <a16:creationId xmlns:a16="http://schemas.microsoft.com/office/drawing/2014/main" id="{029C4668-FB85-4EFB-A4DE-13AA1911F474}"/>
                </a:ext>
              </a:extLst>
            </p:cNvPr>
            <p:cNvSpPr/>
            <p:nvPr/>
          </p:nvSpPr>
          <p:spPr bwMode="auto">
            <a:xfrm>
              <a:off x="4951413" y="1954213"/>
              <a:ext cx="2203450" cy="704850"/>
            </a:xfrm>
            <a:prstGeom prst="rect">
              <a:avLst/>
            </a:prstGeom>
            <a:solidFill>
              <a:srgbClr val="ECF0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ŝľïďê">
              <a:extLst>
                <a:ext uri="{FF2B5EF4-FFF2-40B4-BE49-F238E27FC236}">
                  <a16:creationId xmlns:a16="http://schemas.microsoft.com/office/drawing/2014/main" id="{34587DB5-7CEF-4A3B-A8D2-60E850BB2FD4}"/>
                </a:ext>
              </a:extLst>
            </p:cNvPr>
            <p:cNvSpPr/>
            <p:nvPr/>
          </p:nvSpPr>
          <p:spPr bwMode="auto">
            <a:xfrm>
              <a:off x="6180138" y="3803650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ṡ1ïḋé">
              <a:extLst>
                <a:ext uri="{FF2B5EF4-FFF2-40B4-BE49-F238E27FC236}">
                  <a16:creationId xmlns:a16="http://schemas.microsoft.com/office/drawing/2014/main" id="{F4497480-4827-453A-8995-CECB7A55604B}"/>
                </a:ext>
              </a:extLst>
            </p:cNvPr>
            <p:cNvSpPr/>
            <p:nvPr/>
          </p:nvSpPr>
          <p:spPr bwMode="auto">
            <a:xfrm>
              <a:off x="6180138" y="3181350"/>
              <a:ext cx="354013" cy="354013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Sḻïďê">
              <a:extLst>
                <a:ext uri="{FF2B5EF4-FFF2-40B4-BE49-F238E27FC236}">
                  <a16:creationId xmlns:a16="http://schemas.microsoft.com/office/drawing/2014/main" id="{9319D1DB-6092-4FEE-9443-AFB0DEFAF45A}"/>
                </a:ext>
              </a:extLst>
            </p:cNvPr>
            <p:cNvSpPr/>
            <p:nvPr/>
          </p:nvSpPr>
          <p:spPr bwMode="auto">
            <a:xfrm>
              <a:off x="5573713" y="3803650"/>
              <a:ext cx="352425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ṩḻïḍe">
              <a:extLst>
                <a:ext uri="{FF2B5EF4-FFF2-40B4-BE49-F238E27FC236}">
                  <a16:creationId xmlns:a16="http://schemas.microsoft.com/office/drawing/2014/main" id="{072E4502-2D87-4888-A3D5-A60BEB652D58}"/>
                </a:ext>
              </a:extLst>
            </p:cNvPr>
            <p:cNvSpPr/>
            <p:nvPr/>
          </p:nvSpPr>
          <p:spPr bwMode="auto">
            <a:xfrm>
              <a:off x="5573713" y="3181350"/>
              <a:ext cx="352425" cy="354013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ṥ1iḍé">
              <a:extLst>
                <a:ext uri="{FF2B5EF4-FFF2-40B4-BE49-F238E27FC236}">
                  <a16:creationId xmlns:a16="http://schemas.microsoft.com/office/drawing/2014/main" id="{ED476885-DD44-40D8-BB7E-A3A148925324}"/>
                </a:ext>
              </a:extLst>
            </p:cNvPr>
            <p:cNvSpPr/>
            <p:nvPr/>
          </p:nvSpPr>
          <p:spPr bwMode="auto">
            <a:xfrm>
              <a:off x="4951413" y="4424363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sliḓè">
              <a:extLst>
                <a:ext uri="{FF2B5EF4-FFF2-40B4-BE49-F238E27FC236}">
                  <a16:creationId xmlns:a16="http://schemas.microsoft.com/office/drawing/2014/main" id="{C0D392E0-C649-4AA8-B616-59F2A88F321B}"/>
                </a:ext>
              </a:extLst>
            </p:cNvPr>
            <p:cNvSpPr/>
            <p:nvPr/>
          </p:nvSpPr>
          <p:spPr bwMode="auto">
            <a:xfrm>
              <a:off x="4951413" y="3803650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ṥ1îḍe">
              <a:extLst>
                <a:ext uri="{FF2B5EF4-FFF2-40B4-BE49-F238E27FC236}">
                  <a16:creationId xmlns:a16="http://schemas.microsoft.com/office/drawing/2014/main" id="{86BBFB87-1634-43B3-8FDE-E7158D7EEFC3}"/>
                </a:ext>
              </a:extLst>
            </p:cNvPr>
            <p:cNvSpPr/>
            <p:nvPr/>
          </p:nvSpPr>
          <p:spPr bwMode="auto">
            <a:xfrm>
              <a:off x="4951413" y="3181350"/>
              <a:ext cx="354013" cy="354013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iṣḷiḑe">
              <a:extLst>
                <a:ext uri="{FF2B5EF4-FFF2-40B4-BE49-F238E27FC236}">
                  <a16:creationId xmlns:a16="http://schemas.microsoft.com/office/drawing/2014/main" id="{E806F449-88C5-4354-A1EA-7FD06CCEED0F}"/>
                </a:ext>
              </a:extLst>
            </p:cNvPr>
            <p:cNvSpPr/>
            <p:nvPr/>
          </p:nvSpPr>
          <p:spPr bwMode="auto">
            <a:xfrm>
              <a:off x="4244976" y="1516063"/>
              <a:ext cx="184150" cy="16986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Sḻídé">
              <a:extLst>
                <a:ext uri="{FF2B5EF4-FFF2-40B4-BE49-F238E27FC236}">
                  <a16:creationId xmlns:a16="http://schemas.microsoft.com/office/drawing/2014/main" id="{F947767A-FD64-400C-BF4B-8B9E425EDE94}"/>
                </a:ext>
              </a:extLst>
            </p:cNvPr>
            <p:cNvSpPr/>
            <p:nvPr/>
          </p:nvSpPr>
          <p:spPr bwMode="auto">
            <a:xfrm>
              <a:off x="4160838" y="2927350"/>
              <a:ext cx="169863" cy="16986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$ľiḍè">
              <a:extLst>
                <a:ext uri="{FF2B5EF4-FFF2-40B4-BE49-F238E27FC236}">
                  <a16:creationId xmlns:a16="http://schemas.microsoft.com/office/drawing/2014/main" id="{5F9E40C6-A619-4536-AC6E-482B87FD8251}"/>
                </a:ext>
              </a:extLst>
            </p:cNvPr>
            <p:cNvSpPr/>
            <p:nvPr/>
          </p:nvSpPr>
          <p:spPr bwMode="auto">
            <a:xfrm>
              <a:off x="4556126" y="1558925"/>
              <a:ext cx="2995613" cy="3613150"/>
            </a:xfrm>
            <a:custGeom>
              <a:avLst/>
              <a:gdLst>
                <a:gd name="T0" fmla="*/ 184 w 212"/>
                <a:gd name="T1" fmla="*/ 256 h 256"/>
                <a:gd name="T2" fmla="*/ 28 w 212"/>
                <a:gd name="T3" fmla="*/ 256 h 256"/>
                <a:gd name="T4" fmla="*/ 0 w 212"/>
                <a:gd name="T5" fmla="*/ 228 h 256"/>
                <a:gd name="T6" fmla="*/ 0 w 212"/>
                <a:gd name="T7" fmla="*/ 28 h 256"/>
                <a:gd name="T8" fmla="*/ 28 w 212"/>
                <a:gd name="T9" fmla="*/ 0 h 256"/>
                <a:gd name="T10" fmla="*/ 184 w 212"/>
                <a:gd name="T11" fmla="*/ 0 h 256"/>
                <a:gd name="T12" fmla="*/ 212 w 212"/>
                <a:gd name="T13" fmla="*/ 28 h 256"/>
                <a:gd name="T14" fmla="*/ 212 w 212"/>
                <a:gd name="T15" fmla="*/ 228 h 256"/>
                <a:gd name="T16" fmla="*/ 184 w 212"/>
                <a:gd name="T17" fmla="*/ 256 h 256"/>
                <a:gd name="T18" fmla="*/ 28 w 212"/>
                <a:gd name="T19" fmla="*/ 6 h 256"/>
                <a:gd name="T20" fmla="*/ 6 w 212"/>
                <a:gd name="T21" fmla="*/ 28 h 256"/>
                <a:gd name="T22" fmla="*/ 6 w 212"/>
                <a:gd name="T23" fmla="*/ 228 h 256"/>
                <a:gd name="T24" fmla="*/ 28 w 212"/>
                <a:gd name="T25" fmla="*/ 250 h 256"/>
                <a:gd name="T26" fmla="*/ 184 w 212"/>
                <a:gd name="T27" fmla="*/ 250 h 256"/>
                <a:gd name="T28" fmla="*/ 206 w 212"/>
                <a:gd name="T29" fmla="*/ 228 h 256"/>
                <a:gd name="T30" fmla="*/ 206 w 212"/>
                <a:gd name="T31" fmla="*/ 28 h 256"/>
                <a:gd name="T32" fmla="*/ 184 w 212"/>
                <a:gd name="T33" fmla="*/ 6 h 256"/>
                <a:gd name="T34" fmla="*/ 28 w 212"/>
                <a:gd name="T35" fmla="*/ 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56">
                  <a:moveTo>
                    <a:pt x="184" y="256"/>
                  </a:moveTo>
                  <a:cubicBezTo>
                    <a:pt x="28" y="256"/>
                    <a:pt x="28" y="256"/>
                    <a:pt x="28" y="256"/>
                  </a:cubicBezTo>
                  <a:cubicBezTo>
                    <a:pt x="12" y="256"/>
                    <a:pt x="0" y="243"/>
                    <a:pt x="0" y="2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2" y="12"/>
                    <a:pt x="212" y="28"/>
                  </a:cubicBezTo>
                  <a:cubicBezTo>
                    <a:pt x="212" y="228"/>
                    <a:pt x="212" y="228"/>
                    <a:pt x="212" y="228"/>
                  </a:cubicBezTo>
                  <a:cubicBezTo>
                    <a:pt x="212" y="243"/>
                    <a:pt x="200" y="256"/>
                    <a:pt x="184" y="256"/>
                  </a:cubicBezTo>
                  <a:close/>
                  <a:moveTo>
                    <a:pt x="28" y="6"/>
                  </a:moveTo>
                  <a:cubicBezTo>
                    <a:pt x="16" y="6"/>
                    <a:pt x="6" y="16"/>
                    <a:pt x="6" y="28"/>
                  </a:cubicBezTo>
                  <a:cubicBezTo>
                    <a:pt x="6" y="228"/>
                    <a:pt x="6" y="228"/>
                    <a:pt x="6" y="228"/>
                  </a:cubicBezTo>
                  <a:cubicBezTo>
                    <a:pt x="6" y="240"/>
                    <a:pt x="16" y="250"/>
                    <a:pt x="28" y="250"/>
                  </a:cubicBezTo>
                  <a:cubicBezTo>
                    <a:pt x="184" y="250"/>
                    <a:pt x="184" y="250"/>
                    <a:pt x="184" y="250"/>
                  </a:cubicBezTo>
                  <a:cubicBezTo>
                    <a:pt x="196" y="250"/>
                    <a:pt x="206" y="240"/>
                    <a:pt x="206" y="228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6" y="16"/>
                    <a:pt x="196" y="6"/>
                    <a:pt x="184" y="6"/>
                  </a:cubicBezTo>
                  <a:lnTo>
                    <a:pt x="28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şḻíḑe">
              <a:extLst>
                <a:ext uri="{FF2B5EF4-FFF2-40B4-BE49-F238E27FC236}">
                  <a16:creationId xmlns:a16="http://schemas.microsoft.com/office/drawing/2014/main" id="{4B797F1C-AB64-4634-8621-F0E11D49C2A8}"/>
                </a:ext>
              </a:extLst>
            </p:cNvPr>
            <p:cNvSpPr/>
            <p:nvPr/>
          </p:nvSpPr>
          <p:spPr bwMode="auto">
            <a:xfrm>
              <a:off x="4908551" y="1911350"/>
              <a:ext cx="2289175" cy="790575"/>
            </a:xfrm>
            <a:custGeom>
              <a:avLst/>
              <a:gdLst>
                <a:gd name="T0" fmla="*/ 159 w 162"/>
                <a:gd name="T1" fmla="*/ 56 h 56"/>
                <a:gd name="T2" fmla="*/ 3 w 162"/>
                <a:gd name="T3" fmla="*/ 56 h 56"/>
                <a:gd name="T4" fmla="*/ 0 w 162"/>
                <a:gd name="T5" fmla="*/ 53 h 56"/>
                <a:gd name="T6" fmla="*/ 0 w 162"/>
                <a:gd name="T7" fmla="*/ 3 h 56"/>
                <a:gd name="T8" fmla="*/ 3 w 162"/>
                <a:gd name="T9" fmla="*/ 0 h 56"/>
                <a:gd name="T10" fmla="*/ 159 w 162"/>
                <a:gd name="T11" fmla="*/ 0 h 56"/>
                <a:gd name="T12" fmla="*/ 162 w 162"/>
                <a:gd name="T13" fmla="*/ 3 h 56"/>
                <a:gd name="T14" fmla="*/ 162 w 162"/>
                <a:gd name="T15" fmla="*/ 53 h 56"/>
                <a:gd name="T16" fmla="*/ 159 w 162"/>
                <a:gd name="T17" fmla="*/ 56 h 56"/>
                <a:gd name="T18" fmla="*/ 6 w 162"/>
                <a:gd name="T19" fmla="*/ 50 h 56"/>
                <a:gd name="T20" fmla="*/ 156 w 162"/>
                <a:gd name="T21" fmla="*/ 50 h 56"/>
                <a:gd name="T22" fmla="*/ 156 w 162"/>
                <a:gd name="T23" fmla="*/ 6 h 56"/>
                <a:gd name="T24" fmla="*/ 6 w 162"/>
                <a:gd name="T25" fmla="*/ 6 h 56"/>
                <a:gd name="T26" fmla="*/ 6 w 162"/>
                <a:gd name="T27" fmla="*/ 5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2" h="56">
                  <a:moveTo>
                    <a:pt x="159" y="56"/>
                  </a:moveTo>
                  <a:cubicBezTo>
                    <a:pt x="3" y="56"/>
                    <a:pt x="3" y="56"/>
                    <a:pt x="3" y="56"/>
                  </a:cubicBezTo>
                  <a:cubicBezTo>
                    <a:pt x="1" y="56"/>
                    <a:pt x="0" y="55"/>
                    <a:pt x="0" y="5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2" y="53"/>
                    <a:pt x="162" y="53"/>
                    <a:pt x="162" y="53"/>
                  </a:cubicBezTo>
                  <a:cubicBezTo>
                    <a:pt x="162" y="55"/>
                    <a:pt x="161" y="56"/>
                    <a:pt x="159" y="56"/>
                  </a:cubicBezTo>
                  <a:close/>
                  <a:moveTo>
                    <a:pt x="6" y="50"/>
                  </a:moveTo>
                  <a:cubicBezTo>
                    <a:pt x="156" y="50"/>
                    <a:pt x="156" y="50"/>
                    <a:pt x="156" y="50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şlîḋè">
              <a:extLst>
                <a:ext uri="{FF2B5EF4-FFF2-40B4-BE49-F238E27FC236}">
                  <a16:creationId xmlns:a16="http://schemas.microsoft.com/office/drawing/2014/main" id="{D4C696A4-62C8-41B5-B1DB-0D6B4A332FE3}"/>
                </a:ext>
              </a:extLst>
            </p:cNvPr>
            <p:cNvSpPr/>
            <p:nvPr/>
          </p:nvSpPr>
          <p:spPr bwMode="auto">
            <a:xfrm>
              <a:off x="4908551" y="4381500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29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9"/>
                    <a:pt x="30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S1ïḓé">
              <a:extLst>
                <a:ext uri="{FF2B5EF4-FFF2-40B4-BE49-F238E27FC236}">
                  <a16:creationId xmlns:a16="http://schemas.microsoft.com/office/drawing/2014/main" id="{8EFC27AE-AAA5-404E-9ED9-57F1274A01E4}"/>
                </a:ext>
              </a:extLst>
            </p:cNvPr>
            <p:cNvSpPr/>
            <p:nvPr/>
          </p:nvSpPr>
          <p:spPr bwMode="auto">
            <a:xfrm>
              <a:off x="5530851" y="4381500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29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9"/>
                    <a:pt x="29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î$1ïdè">
              <a:extLst>
                <a:ext uri="{FF2B5EF4-FFF2-40B4-BE49-F238E27FC236}">
                  <a16:creationId xmlns:a16="http://schemas.microsoft.com/office/drawing/2014/main" id="{EC29FC32-FD95-4BDA-BABB-25357004D2AF}"/>
                </a:ext>
              </a:extLst>
            </p:cNvPr>
            <p:cNvSpPr/>
            <p:nvPr/>
          </p:nvSpPr>
          <p:spPr bwMode="auto">
            <a:xfrm>
              <a:off x="6138863" y="4381500"/>
              <a:ext cx="450850" cy="438150"/>
            </a:xfrm>
            <a:custGeom>
              <a:avLst/>
              <a:gdLst>
                <a:gd name="T0" fmla="*/ 28 w 32"/>
                <a:gd name="T1" fmla="*/ 31 h 31"/>
                <a:gd name="T2" fmla="*/ 3 w 32"/>
                <a:gd name="T3" fmla="*/ 31 h 31"/>
                <a:gd name="T4" fmla="*/ 0 w 32"/>
                <a:gd name="T5" fmla="*/ 28 h 31"/>
                <a:gd name="T6" fmla="*/ 0 w 32"/>
                <a:gd name="T7" fmla="*/ 3 h 31"/>
                <a:gd name="T8" fmla="*/ 3 w 32"/>
                <a:gd name="T9" fmla="*/ 0 h 31"/>
                <a:gd name="T10" fmla="*/ 28 w 32"/>
                <a:gd name="T11" fmla="*/ 0 h 31"/>
                <a:gd name="T12" fmla="*/ 32 w 32"/>
                <a:gd name="T13" fmla="*/ 3 h 31"/>
                <a:gd name="T14" fmla="*/ 32 w 32"/>
                <a:gd name="T15" fmla="*/ 28 h 31"/>
                <a:gd name="T16" fmla="*/ 28 w 32"/>
                <a:gd name="T17" fmla="*/ 31 h 31"/>
                <a:gd name="T18" fmla="*/ 7 w 32"/>
                <a:gd name="T19" fmla="*/ 25 h 31"/>
                <a:gd name="T20" fmla="*/ 25 w 32"/>
                <a:gd name="T21" fmla="*/ 25 h 31"/>
                <a:gd name="T22" fmla="*/ 25 w 32"/>
                <a:gd name="T23" fmla="*/ 6 h 31"/>
                <a:gd name="T24" fmla="*/ 7 w 32"/>
                <a:gd name="T25" fmla="*/ 6 h 31"/>
                <a:gd name="T26" fmla="*/ 7 w 32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2" y="31"/>
                    <a:pt x="0" y="29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29"/>
                    <a:pt x="30" y="31"/>
                    <a:pt x="28" y="31"/>
                  </a:cubicBezTo>
                  <a:close/>
                  <a:moveTo>
                    <a:pt x="7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ïṧḻîḓé">
              <a:extLst>
                <a:ext uri="{FF2B5EF4-FFF2-40B4-BE49-F238E27FC236}">
                  <a16:creationId xmlns:a16="http://schemas.microsoft.com/office/drawing/2014/main" id="{36F08D10-D6F3-4C26-8789-392A23E16D4E}"/>
                </a:ext>
              </a:extLst>
            </p:cNvPr>
            <p:cNvSpPr/>
            <p:nvPr/>
          </p:nvSpPr>
          <p:spPr bwMode="auto">
            <a:xfrm>
              <a:off x="4908551" y="3760788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30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ṩ1îḓè">
              <a:extLst>
                <a:ext uri="{FF2B5EF4-FFF2-40B4-BE49-F238E27FC236}">
                  <a16:creationId xmlns:a16="http://schemas.microsoft.com/office/drawing/2014/main" id="{56365350-74BB-44EC-8BA2-F74CD150D696}"/>
                </a:ext>
              </a:extLst>
            </p:cNvPr>
            <p:cNvSpPr/>
            <p:nvPr/>
          </p:nvSpPr>
          <p:spPr bwMode="auto">
            <a:xfrm>
              <a:off x="5530851" y="3760788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29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ŝḻîďé">
              <a:extLst>
                <a:ext uri="{FF2B5EF4-FFF2-40B4-BE49-F238E27FC236}">
                  <a16:creationId xmlns:a16="http://schemas.microsoft.com/office/drawing/2014/main" id="{A788C7BC-75DD-49C6-9C3B-270ED0A6CD4D}"/>
                </a:ext>
              </a:extLst>
            </p:cNvPr>
            <p:cNvSpPr/>
            <p:nvPr/>
          </p:nvSpPr>
          <p:spPr bwMode="auto">
            <a:xfrm>
              <a:off x="6138863" y="3760788"/>
              <a:ext cx="450850" cy="438150"/>
            </a:xfrm>
            <a:custGeom>
              <a:avLst/>
              <a:gdLst>
                <a:gd name="T0" fmla="*/ 28 w 32"/>
                <a:gd name="T1" fmla="*/ 31 h 31"/>
                <a:gd name="T2" fmla="*/ 3 w 32"/>
                <a:gd name="T3" fmla="*/ 31 h 31"/>
                <a:gd name="T4" fmla="*/ 0 w 32"/>
                <a:gd name="T5" fmla="*/ 28 h 31"/>
                <a:gd name="T6" fmla="*/ 0 w 32"/>
                <a:gd name="T7" fmla="*/ 3 h 31"/>
                <a:gd name="T8" fmla="*/ 3 w 32"/>
                <a:gd name="T9" fmla="*/ 0 h 31"/>
                <a:gd name="T10" fmla="*/ 28 w 32"/>
                <a:gd name="T11" fmla="*/ 0 h 31"/>
                <a:gd name="T12" fmla="*/ 32 w 32"/>
                <a:gd name="T13" fmla="*/ 3 h 31"/>
                <a:gd name="T14" fmla="*/ 32 w 32"/>
                <a:gd name="T15" fmla="*/ 28 h 31"/>
                <a:gd name="T16" fmla="*/ 28 w 32"/>
                <a:gd name="T17" fmla="*/ 31 h 31"/>
                <a:gd name="T18" fmla="*/ 7 w 32"/>
                <a:gd name="T19" fmla="*/ 25 h 31"/>
                <a:gd name="T20" fmla="*/ 25 w 32"/>
                <a:gd name="T21" fmla="*/ 25 h 31"/>
                <a:gd name="T22" fmla="*/ 25 w 32"/>
                <a:gd name="T23" fmla="*/ 6 h 31"/>
                <a:gd name="T24" fmla="*/ 7 w 32"/>
                <a:gd name="T25" fmla="*/ 6 h 31"/>
                <a:gd name="T26" fmla="*/ 7 w 32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2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0"/>
                    <a:pt x="30" y="31"/>
                    <a:pt x="28" y="31"/>
                  </a:cubicBezTo>
                  <a:close/>
                  <a:moveTo>
                    <a:pt x="7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ṩḷîḓe">
              <a:extLst>
                <a:ext uri="{FF2B5EF4-FFF2-40B4-BE49-F238E27FC236}">
                  <a16:creationId xmlns:a16="http://schemas.microsoft.com/office/drawing/2014/main" id="{C5E11E1B-8FA9-4FF1-8B1F-D7192A8DF9BF}"/>
                </a:ext>
              </a:extLst>
            </p:cNvPr>
            <p:cNvSpPr/>
            <p:nvPr/>
          </p:nvSpPr>
          <p:spPr bwMode="auto">
            <a:xfrm>
              <a:off x="6759576" y="3760788"/>
              <a:ext cx="438150" cy="1058863"/>
            </a:xfrm>
            <a:custGeom>
              <a:avLst/>
              <a:gdLst>
                <a:gd name="T0" fmla="*/ 28 w 31"/>
                <a:gd name="T1" fmla="*/ 75 h 75"/>
                <a:gd name="T2" fmla="*/ 3 w 31"/>
                <a:gd name="T3" fmla="*/ 75 h 75"/>
                <a:gd name="T4" fmla="*/ 0 w 31"/>
                <a:gd name="T5" fmla="*/ 72 h 75"/>
                <a:gd name="T6" fmla="*/ 0 w 31"/>
                <a:gd name="T7" fmla="*/ 3 h 75"/>
                <a:gd name="T8" fmla="*/ 3 w 31"/>
                <a:gd name="T9" fmla="*/ 0 h 75"/>
                <a:gd name="T10" fmla="*/ 28 w 31"/>
                <a:gd name="T11" fmla="*/ 0 h 75"/>
                <a:gd name="T12" fmla="*/ 31 w 31"/>
                <a:gd name="T13" fmla="*/ 3 h 75"/>
                <a:gd name="T14" fmla="*/ 31 w 31"/>
                <a:gd name="T15" fmla="*/ 72 h 75"/>
                <a:gd name="T16" fmla="*/ 28 w 31"/>
                <a:gd name="T17" fmla="*/ 75 h 75"/>
                <a:gd name="T18" fmla="*/ 6 w 31"/>
                <a:gd name="T19" fmla="*/ 69 h 75"/>
                <a:gd name="T20" fmla="*/ 25 w 31"/>
                <a:gd name="T21" fmla="*/ 69 h 75"/>
                <a:gd name="T22" fmla="*/ 25 w 31"/>
                <a:gd name="T23" fmla="*/ 6 h 75"/>
                <a:gd name="T24" fmla="*/ 6 w 31"/>
                <a:gd name="T25" fmla="*/ 6 h 75"/>
                <a:gd name="T26" fmla="*/ 6 w 31"/>
                <a:gd name="T27" fmla="*/ 6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75">
                  <a:moveTo>
                    <a:pt x="28" y="75"/>
                  </a:moveTo>
                  <a:cubicBezTo>
                    <a:pt x="3" y="75"/>
                    <a:pt x="3" y="75"/>
                    <a:pt x="3" y="75"/>
                  </a:cubicBezTo>
                  <a:cubicBezTo>
                    <a:pt x="1" y="75"/>
                    <a:pt x="0" y="73"/>
                    <a:pt x="0" y="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3"/>
                    <a:pt x="30" y="75"/>
                    <a:pt x="28" y="75"/>
                  </a:cubicBezTo>
                  <a:close/>
                  <a:moveTo>
                    <a:pt x="6" y="69"/>
                  </a:moveTo>
                  <a:cubicBezTo>
                    <a:pt x="25" y="69"/>
                    <a:pt x="25" y="69"/>
                    <a:pt x="25" y="69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6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ṩľîḓe">
              <a:extLst>
                <a:ext uri="{FF2B5EF4-FFF2-40B4-BE49-F238E27FC236}">
                  <a16:creationId xmlns:a16="http://schemas.microsoft.com/office/drawing/2014/main" id="{429F0554-C45B-46F7-B69D-C4331421D931}"/>
                </a:ext>
              </a:extLst>
            </p:cNvPr>
            <p:cNvSpPr/>
            <p:nvPr/>
          </p:nvSpPr>
          <p:spPr bwMode="auto">
            <a:xfrm>
              <a:off x="4908551" y="3140075"/>
              <a:ext cx="438150" cy="450850"/>
            </a:xfrm>
            <a:custGeom>
              <a:avLst/>
              <a:gdLst>
                <a:gd name="T0" fmla="*/ 28 w 31"/>
                <a:gd name="T1" fmla="*/ 32 h 32"/>
                <a:gd name="T2" fmla="*/ 3 w 31"/>
                <a:gd name="T3" fmla="*/ 32 h 32"/>
                <a:gd name="T4" fmla="*/ 0 w 31"/>
                <a:gd name="T5" fmla="*/ 28 h 32"/>
                <a:gd name="T6" fmla="*/ 0 w 31"/>
                <a:gd name="T7" fmla="*/ 3 h 32"/>
                <a:gd name="T8" fmla="*/ 3 w 31"/>
                <a:gd name="T9" fmla="*/ 0 h 32"/>
                <a:gd name="T10" fmla="*/ 28 w 31"/>
                <a:gd name="T11" fmla="*/ 0 h 32"/>
                <a:gd name="T12" fmla="*/ 31 w 31"/>
                <a:gd name="T13" fmla="*/ 3 h 32"/>
                <a:gd name="T14" fmla="*/ 31 w 31"/>
                <a:gd name="T15" fmla="*/ 28 h 32"/>
                <a:gd name="T16" fmla="*/ 28 w 31"/>
                <a:gd name="T17" fmla="*/ 32 h 32"/>
                <a:gd name="T18" fmla="*/ 6 w 31"/>
                <a:gd name="T19" fmla="*/ 25 h 32"/>
                <a:gd name="T20" fmla="*/ 25 w 31"/>
                <a:gd name="T21" fmla="*/ 25 h 32"/>
                <a:gd name="T22" fmla="*/ 25 w 31"/>
                <a:gd name="T23" fmla="*/ 7 h 32"/>
                <a:gd name="T24" fmla="*/ 6 w 31"/>
                <a:gd name="T25" fmla="*/ 7 h 32"/>
                <a:gd name="T26" fmla="*/ 6 w 31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2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30" y="32"/>
                    <a:pt x="28" y="32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şḻíḑê">
              <a:extLst>
                <a:ext uri="{FF2B5EF4-FFF2-40B4-BE49-F238E27FC236}">
                  <a16:creationId xmlns:a16="http://schemas.microsoft.com/office/drawing/2014/main" id="{0B46039A-A347-4BDC-8A96-228CB792DFF3}"/>
                </a:ext>
              </a:extLst>
            </p:cNvPr>
            <p:cNvSpPr/>
            <p:nvPr/>
          </p:nvSpPr>
          <p:spPr bwMode="auto">
            <a:xfrm>
              <a:off x="5530851" y="3140075"/>
              <a:ext cx="438150" cy="450850"/>
            </a:xfrm>
            <a:custGeom>
              <a:avLst/>
              <a:gdLst>
                <a:gd name="T0" fmla="*/ 28 w 31"/>
                <a:gd name="T1" fmla="*/ 32 h 32"/>
                <a:gd name="T2" fmla="*/ 3 w 31"/>
                <a:gd name="T3" fmla="*/ 32 h 32"/>
                <a:gd name="T4" fmla="*/ 0 w 31"/>
                <a:gd name="T5" fmla="*/ 28 h 32"/>
                <a:gd name="T6" fmla="*/ 0 w 31"/>
                <a:gd name="T7" fmla="*/ 3 h 32"/>
                <a:gd name="T8" fmla="*/ 3 w 31"/>
                <a:gd name="T9" fmla="*/ 0 h 32"/>
                <a:gd name="T10" fmla="*/ 28 w 31"/>
                <a:gd name="T11" fmla="*/ 0 h 32"/>
                <a:gd name="T12" fmla="*/ 31 w 31"/>
                <a:gd name="T13" fmla="*/ 3 h 32"/>
                <a:gd name="T14" fmla="*/ 31 w 31"/>
                <a:gd name="T15" fmla="*/ 28 h 32"/>
                <a:gd name="T16" fmla="*/ 28 w 31"/>
                <a:gd name="T17" fmla="*/ 32 h 32"/>
                <a:gd name="T18" fmla="*/ 6 w 31"/>
                <a:gd name="T19" fmla="*/ 25 h 32"/>
                <a:gd name="T20" fmla="*/ 25 w 31"/>
                <a:gd name="T21" fmla="*/ 25 h 32"/>
                <a:gd name="T22" fmla="*/ 25 w 31"/>
                <a:gd name="T23" fmla="*/ 7 h 32"/>
                <a:gd name="T24" fmla="*/ 6 w 31"/>
                <a:gd name="T25" fmla="*/ 7 h 32"/>
                <a:gd name="T26" fmla="*/ 6 w 31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2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29" y="32"/>
                    <a:pt x="28" y="32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ṥlîḍê">
              <a:extLst>
                <a:ext uri="{FF2B5EF4-FFF2-40B4-BE49-F238E27FC236}">
                  <a16:creationId xmlns:a16="http://schemas.microsoft.com/office/drawing/2014/main" id="{11C6AC2F-8C2B-4B82-A91C-D1006F83D740}"/>
                </a:ext>
              </a:extLst>
            </p:cNvPr>
            <p:cNvSpPr/>
            <p:nvPr/>
          </p:nvSpPr>
          <p:spPr bwMode="auto">
            <a:xfrm>
              <a:off x="6138863" y="3140075"/>
              <a:ext cx="450850" cy="450850"/>
            </a:xfrm>
            <a:custGeom>
              <a:avLst/>
              <a:gdLst>
                <a:gd name="T0" fmla="*/ 28 w 32"/>
                <a:gd name="T1" fmla="*/ 32 h 32"/>
                <a:gd name="T2" fmla="*/ 3 w 32"/>
                <a:gd name="T3" fmla="*/ 32 h 32"/>
                <a:gd name="T4" fmla="*/ 0 w 32"/>
                <a:gd name="T5" fmla="*/ 28 h 32"/>
                <a:gd name="T6" fmla="*/ 0 w 32"/>
                <a:gd name="T7" fmla="*/ 3 h 32"/>
                <a:gd name="T8" fmla="*/ 3 w 32"/>
                <a:gd name="T9" fmla="*/ 0 h 32"/>
                <a:gd name="T10" fmla="*/ 28 w 32"/>
                <a:gd name="T11" fmla="*/ 0 h 32"/>
                <a:gd name="T12" fmla="*/ 32 w 32"/>
                <a:gd name="T13" fmla="*/ 3 h 32"/>
                <a:gd name="T14" fmla="*/ 32 w 32"/>
                <a:gd name="T15" fmla="*/ 28 h 32"/>
                <a:gd name="T16" fmla="*/ 28 w 32"/>
                <a:gd name="T17" fmla="*/ 32 h 32"/>
                <a:gd name="T18" fmla="*/ 7 w 32"/>
                <a:gd name="T19" fmla="*/ 25 h 32"/>
                <a:gd name="T20" fmla="*/ 25 w 32"/>
                <a:gd name="T21" fmla="*/ 25 h 32"/>
                <a:gd name="T22" fmla="*/ 25 w 32"/>
                <a:gd name="T23" fmla="*/ 7 h 32"/>
                <a:gd name="T24" fmla="*/ 7 w 32"/>
                <a:gd name="T25" fmla="*/ 7 h 32"/>
                <a:gd name="T26" fmla="*/ 7 w 32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2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2"/>
                    <a:pt x="32" y="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0"/>
                    <a:pt x="30" y="32"/>
                    <a:pt x="28" y="32"/>
                  </a:cubicBezTo>
                  <a:close/>
                  <a:moveTo>
                    <a:pt x="7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Slîḓe">
              <a:extLst>
                <a:ext uri="{FF2B5EF4-FFF2-40B4-BE49-F238E27FC236}">
                  <a16:creationId xmlns:a16="http://schemas.microsoft.com/office/drawing/2014/main" id="{206E674A-019E-4BFF-85FB-AE29E7C9ADE8}"/>
                </a:ext>
              </a:extLst>
            </p:cNvPr>
            <p:cNvSpPr/>
            <p:nvPr/>
          </p:nvSpPr>
          <p:spPr bwMode="auto">
            <a:xfrm>
              <a:off x="6759576" y="3140075"/>
              <a:ext cx="438150" cy="450850"/>
            </a:xfrm>
            <a:custGeom>
              <a:avLst/>
              <a:gdLst>
                <a:gd name="T0" fmla="*/ 28 w 31"/>
                <a:gd name="T1" fmla="*/ 32 h 32"/>
                <a:gd name="T2" fmla="*/ 3 w 31"/>
                <a:gd name="T3" fmla="*/ 32 h 32"/>
                <a:gd name="T4" fmla="*/ 0 w 31"/>
                <a:gd name="T5" fmla="*/ 28 h 32"/>
                <a:gd name="T6" fmla="*/ 0 w 31"/>
                <a:gd name="T7" fmla="*/ 3 h 32"/>
                <a:gd name="T8" fmla="*/ 3 w 31"/>
                <a:gd name="T9" fmla="*/ 0 h 32"/>
                <a:gd name="T10" fmla="*/ 28 w 31"/>
                <a:gd name="T11" fmla="*/ 0 h 32"/>
                <a:gd name="T12" fmla="*/ 31 w 31"/>
                <a:gd name="T13" fmla="*/ 3 h 32"/>
                <a:gd name="T14" fmla="*/ 31 w 31"/>
                <a:gd name="T15" fmla="*/ 28 h 32"/>
                <a:gd name="T16" fmla="*/ 28 w 31"/>
                <a:gd name="T17" fmla="*/ 32 h 32"/>
                <a:gd name="T18" fmla="*/ 6 w 31"/>
                <a:gd name="T19" fmla="*/ 25 h 32"/>
                <a:gd name="T20" fmla="*/ 25 w 31"/>
                <a:gd name="T21" fmla="*/ 25 h 32"/>
                <a:gd name="T22" fmla="*/ 25 w 31"/>
                <a:gd name="T23" fmla="*/ 7 h 32"/>
                <a:gd name="T24" fmla="*/ 6 w 31"/>
                <a:gd name="T25" fmla="*/ 7 h 32"/>
                <a:gd name="T26" fmla="*/ 6 w 31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2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30" y="32"/>
                    <a:pt x="28" y="32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šlídé">
              <a:extLst>
                <a:ext uri="{FF2B5EF4-FFF2-40B4-BE49-F238E27FC236}">
                  <a16:creationId xmlns:a16="http://schemas.microsoft.com/office/drawing/2014/main" id="{1913F6C5-209E-4038-A9B3-658C1FA6E9AC}"/>
                </a:ext>
              </a:extLst>
            </p:cNvPr>
            <p:cNvSpPr/>
            <p:nvPr/>
          </p:nvSpPr>
          <p:spPr bwMode="auto">
            <a:xfrm>
              <a:off x="5078413" y="2886075"/>
              <a:ext cx="354013" cy="84138"/>
            </a:xfrm>
            <a:custGeom>
              <a:avLst/>
              <a:gdLst>
                <a:gd name="T0" fmla="*/ 22 w 25"/>
                <a:gd name="T1" fmla="*/ 6 h 6"/>
                <a:gd name="T2" fmla="*/ 4 w 25"/>
                <a:gd name="T3" fmla="*/ 6 h 6"/>
                <a:gd name="T4" fmla="*/ 0 w 25"/>
                <a:gd name="T5" fmla="*/ 3 h 6"/>
                <a:gd name="T6" fmla="*/ 4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4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4"/>
                    <a:pt x="24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îs1ïdè">
              <a:extLst>
                <a:ext uri="{FF2B5EF4-FFF2-40B4-BE49-F238E27FC236}">
                  <a16:creationId xmlns:a16="http://schemas.microsoft.com/office/drawing/2014/main" id="{154F4FF9-802F-460B-9138-BA59BC0ADB85}"/>
                </a:ext>
              </a:extLst>
            </p:cNvPr>
            <p:cNvSpPr/>
            <p:nvPr/>
          </p:nvSpPr>
          <p:spPr bwMode="auto">
            <a:xfrm>
              <a:off x="5614988" y="2886075"/>
              <a:ext cx="354013" cy="84138"/>
            </a:xfrm>
            <a:custGeom>
              <a:avLst/>
              <a:gdLst>
                <a:gd name="T0" fmla="*/ 22 w 25"/>
                <a:gd name="T1" fmla="*/ 6 h 6"/>
                <a:gd name="T2" fmla="*/ 3 w 25"/>
                <a:gd name="T3" fmla="*/ 6 h 6"/>
                <a:gd name="T4" fmla="*/ 0 w 25"/>
                <a:gd name="T5" fmla="*/ 3 h 6"/>
                <a:gd name="T6" fmla="*/ 3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4"/>
                    <a:pt x="23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íṡḷïḋê">
              <a:extLst>
                <a:ext uri="{FF2B5EF4-FFF2-40B4-BE49-F238E27FC236}">
                  <a16:creationId xmlns:a16="http://schemas.microsoft.com/office/drawing/2014/main" id="{682F222E-0D54-47FB-B9F9-CAD896A301C1}"/>
                </a:ext>
              </a:extLst>
            </p:cNvPr>
            <p:cNvSpPr/>
            <p:nvPr/>
          </p:nvSpPr>
          <p:spPr bwMode="auto">
            <a:xfrm>
              <a:off x="6138863" y="2886075"/>
              <a:ext cx="352425" cy="84138"/>
            </a:xfrm>
            <a:custGeom>
              <a:avLst/>
              <a:gdLst>
                <a:gd name="T0" fmla="*/ 22 w 25"/>
                <a:gd name="T1" fmla="*/ 6 h 6"/>
                <a:gd name="T2" fmla="*/ 3 w 25"/>
                <a:gd name="T3" fmla="*/ 6 h 6"/>
                <a:gd name="T4" fmla="*/ 0 w 25"/>
                <a:gd name="T5" fmla="*/ 3 h 6"/>
                <a:gd name="T6" fmla="*/ 3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4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4"/>
                    <a:pt x="24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ŝ1iḑè">
              <a:extLst>
                <a:ext uri="{FF2B5EF4-FFF2-40B4-BE49-F238E27FC236}">
                  <a16:creationId xmlns:a16="http://schemas.microsoft.com/office/drawing/2014/main" id="{ACE22CC3-B623-43B4-8CD9-F85F430739DB}"/>
                </a:ext>
              </a:extLst>
            </p:cNvPr>
            <p:cNvSpPr/>
            <p:nvPr/>
          </p:nvSpPr>
          <p:spPr bwMode="auto">
            <a:xfrm>
              <a:off x="6675438" y="2886075"/>
              <a:ext cx="352425" cy="84138"/>
            </a:xfrm>
            <a:custGeom>
              <a:avLst/>
              <a:gdLst>
                <a:gd name="T0" fmla="*/ 22 w 25"/>
                <a:gd name="T1" fmla="*/ 6 h 6"/>
                <a:gd name="T2" fmla="*/ 3 w 25"/>
                <a:gd name="T3" fmla="*/ 6 h 6"/>
                <a:gd name="T4" fmla="*/ 0 w 25"/>
                <a:gd name="T5" fmla="*/ 3 h 6"/>
                <a:gd name="T6" fmla="*/ 3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4"/>
                    <a:pt x="23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sḻïḍé">
              <a:extLst>
                <a:ext uri="{FF2B5EF4-FFF2-40B4-BE49-F238E27FC236}">
                  <a16:creationId xmlns:a16="http://schemas.microsoft.com/office/drawing/2014/main" id="{C28CCC05-E99E-475F-8E8A-3E7A8CE38686}"/>
                </a:ext>
              </a:extLst>
            </p:cNvPr>
            <p:cNvSpPr/>
            <p:nvPr/>
          </p:nvSpPr>
          <p:spPr bwMode="auto">
            <a:xfrm>
              <a:off x="6759576" y="1911350"/>
              <a:ext cx="438150" cy="438150"/>
            </a:xfrm>
            <a:custGeom>
              <a:avLst/>
              <a:gdLst>
                <a:gd name="T0" fmla="*/ 3 w 31"/>
                <a:gd name="T1" fmla="*/ 31 h 31"/>
                <a:gd name="T2" fmla="*/ 1 w 31"/>
                <a:gd name="T3" fmla="*/ 30 h 31"/>
                <a:gd name="T4" fmla="*/ 1 w 31"/>
                <a:gd name="T5" fmla="*/ 26 h 31"/>
                <a:gd name="T6" fmla="*/ 26 w 31"/>
                <a:gd name="T7" fmla="*/ 1 h 31"/>
                <a:gd name="T8" fmla="*/ 30 w 31"/>
                <a:gd name="T9" fmla="*/ 1 h 31"/>
                <a:gd name="T10" fmla="*/ 30 w 31"/>
                <a:gd name="T11" fmla="*/ 5 h 31"/>
                <a:gd name="T12" fmla="*/ 5 w 31"/>
                <a:gd name="T13" fmla="*/ 30 h 31"/>
                <a:gd name="T14" fmla="*/ 3 w 31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1">
                  <a:moveTo>
                    <a:pt x="3" y="31"/>
                  </a:moveTo>
                  <a:cubicBezTo>
                    <a:pt x="2" y="31"/>
                    <a:pt x="2" y="31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31" y="2"/>
                    <a:pt x="31" y="4"/>
                    <a:pt x="30" y="5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1"/>
                    <a:pt x="4" y="31"/>
                    <a:pt x="3" y="3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Sḷíďê">
              <a:extLst>
                <a:ext uri="{FF2B5EF4-FFF2-40B4-BE49-F238E27FC236}">
                  <a16:creationId xmlns:a16="http://schemas.microsoft.com/office/drawing/2014/main" id="{667206B1-6BFB-40A3-8653-E35530EE7F6B}"/>
                </a:ext>
              </a:extLst>
            </p:cNvPr>
            <p:cNvSpPr/>
            <p:nvPr/>
          </p:nvSpPr>
          <p:spPr bwMode="auto">
            <a:xfrm>
              <a:off x="6407151" y="2165350"/>
              <a:ext cx="182563" cy="184150"/>
            </a:xfrm>
            <a:custGeom>
              <a:avLst/>
              <a:gdLst>
                <a:gd name="T0" fmla="*/ 3 w 13"/>
                <a:gd name="T1" fmla="*/ 13 h 13"/>
                <a:gd name="T2" fmla="*/ 1 w 13"/>
                <a:gd name="T3" fmla="*/ 12 h 13"/>
                <a:gd name="T4" fmla="*/ 1 w 13"/>
                <a:gd name="T5" fmla="*/ 8 h 13"/>
                <a:gd name="T6" fmla="*/ 7 w 13"/>
                <a:gd name="T7" fmla="*/ 2 h 13"/>
                <a:gd name="T8" fmla="*/ 12 w 13"/>
                <a:gd name="T9" fmla="*/ 2 h 13"/>
                <a:gd name="T10" fmla="*/ 12 w 13"/>
                <a:gd name="T11" fmla="*/ 6 h 13"/>
                <a:gd name="T12" fmla="*/ 5 w 13"/>
                <a:gd name="T13" fmla="*/ 12 h 13"/>
                <a:gd name="T14" fmla="*/ 3 w 13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3">
                  <a:moveTo>
                    <a:pt x="3" y="13"/>
                  </a:moveTo>
                  <a:cubicBezTo>
                    <a:pt x="2" y="13"/>
                    <a:pt x="2" y="13"/>
                    <a:pt x="1" y="12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0"/>
                    <a:pt x="10" y="0"/>
                    <a:pt x="12" y="2"/>
                  </a:cubicBezTo>
                  <a:cubicBezTo>
                    <a:pt x="13" y="3"/>
                    <a:pt x="13" y="5"/>
                    <a:pt x="12" y="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4" y="13"/>
                    <a:pt x="3" y="1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şḷiḓè">
              <a:extLst>
                <a:ext uri="{FF2B5EF4-FFF2-40B4-BE49-F238E27FC236}">
                  <a16:creationId xmlns:a16="http://schemas.microsoft.com/office/drawing/2014/main" id="{E44EFA3C-5D9A-4707-B930-E311491C51D6}"/>
                </a:ext>
              </a:extLst>
            </p:cNvPr>
            <p:cNvSpPr/>
            <p:nvPr/>
          </p:nvSpPr>
          <p:spPr bwMode="auto">
            <a:xfrm>
              <a:off x="4117976" y="4989513"/>
              <a:ext cx="354013" cy="352425"/>
            </a:xfrm>
            <a:custGeom>
              <a:avLst/>
              <a:gdLst>
                <a:gd name="T0" fmla="*/ 12 w 25"/>
                <a:gd name="T1" fmla="*/ 25 h 25"/>
                <a:gd name="T2" fmla="*/ 0 w 25"/>
                <a:gd name="T3" fmla="*/ 13 h 25"/>
                <a:gd name="T4" fmla="*/ 12 w 25"/>
                <a:gd name="T5" fmla="*/ 0 h 25"/>
                <a:gd name="T6" fmla="*/ 25 w 25"/>
                <a:gd name="T7" fmla="*/ 13 h 25"/>
                <a:gd name="T8" fmla="*/ 12 w 25"/>
                <a:gd name="T9" fmla="*/ 25 h 25"/>
                <a:gd name="T10" fmla="*/ 12 w 25"/>
                <a:gd name="T11" fmla="*/ 7 h 25"/>
                <a:gd name="T12" fmla="*/ 6 w 25"/>
                <a:gd name="T13" fmla="*/ 13 h 25"/>
                <a:gd name="T14" fmla="*/ 12 w 25"/>
                <a:gd name="T15" fmla="*/ 19 h 25"/>
                <a:gd name="T16" fmla="*/ 18 w 25"/>
                <a:gd name="T17" fmla="*/ 13 h 25"/>
                <a:gd name="T18" fmla="*/ 12 w 25"/>
                <a:gd name="T1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5" y="6"/>
                    <a:pt x="25" y="13"/>
                  </a:cubicBezTo>
                  <a:cubicBezTo>
                    <a:pt x="25" y="20"/>
                    <a:pt x="19" y="25"/>
                    <a:pt x="12" y="25"/>
                  </a:cubicBezTo>
                  <a:close/>
                  <a:moveTo>
                    <a:pt x="12" y="7"/>
                  </a:moveTo>
                  <a:cubicBezTo>
                    <a:pt x="9" y="7"/>
                    <a:pt x="6" y="9"/>
                    <a:pt x="6" y="13"/>
                  </a:cubicBezTo>
                  <a:cubicBezTo>
                    <a:pt x="6" y="16"/>
                    <a:pt x="9" y="19"/>
                    <a:pt x="12" y="19"/>
                  </a:cubicBezTo>
                  <a:cubicBezTo>
                    <a:pt x="16" y="19"/>
                    <a:pt x="18" y="16"/>
                    <a:pt x="18" y="13"/>
                  </a:cubicBezTo>
                  <a:cubicBezTo>
                    <a:pt x="18" y="9"/>
                    <a:pt x="16" y="7"/>
                    <a:pt x="12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sľïḍe">
              <a:extLst>
                <a:ext uri="{FF2B5EF4-FFF2-40B4-BE49-F238E27FC236}">
                  <a16:creationId xmlns:a16="http://schemas.microsoft.com/office/drawing/2014/main" id="{3E58B4E5-024F-40D3-A33D-CD6004637E06}"/>
                </a:ext>
              </a:extLst>
            </p:cNvPr>
            <p:cNvSpPr/>
            <p:nvPr/>
          </p:nvSpPr>
          <p:spPr bwMode="auto">
            <a:xfrm>
              <a:off x="7734301" y="2786063"/>
              <a:ext cx="354013" cy="354013"/>
            </a:xfrm>
            <a:custGeom>
              <a:avLst/>
              <a:gdLst>
                <a:gd name="T0" fmla="*/ 12 w 25"/>
                <a:gd name="T1" fmla="*/ 25 h 25"/>
                <a:gd name="T2" fmla="*/ 0 w 25"/>
                <a:gd name="T3" fmla="*/ 13 h 25"/>
                <a:gd name="T4" fmla="*/ 12 w 25"/>
                <a:gd name="T5" fmla="*/ 0 h 25"/>
                <a:gd name="T6" fmla="*/ 25 w 25"/>
                <a:gd name="T7" fmla="*/ 13 h 25"/>
                <a:gd name="T8" fmla="*/ 12 w 25"/>
                <a:gd name="T9" fmla="*/ 25 h 25"/>
                <a:gd name="T10" fmla="*/ 12 w 25"/>
                <a:gd name="T11" fmla="*/ 7 h 25"/>
                <a:gd name="T12" fmla="*/ 6 w 25"/>
                <a:gd name="T13" fmla="*/ 13 h 25"/>
                <a:gd name="T14" fmla="*/ 12 w 25"/>
                <a:gd name="T15" fmla="*/ 19 h 25"/>
                <a:gd name="T16" fmla="*/ 18 w 25"/>
                <a:gd name="T17" fmla="*/ 13 h 25"/>
                <a:gd name="T18" fmla="*/ 12 w 25"/>
                <a:gd name="T1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5" y="6"/>
                    <a:pt x="25" y="13"/>
                  </a:cubicBezTo>
                  <a:cubicBezTo>
                    <a:pt x="25" y="20"/>
                    <a:pt x="19" y="25"/>
                    <a:pt x="12" y="25"/>
                  </a:cubicBezTo>
                  <a:close/>
                  <a:moveTo>
                    <a:pt x="12" y="7"/>
                  </a:moveTo>
                  <a:cubicBezTo>
                    <a:pt x="9" y="7"/>
                    <a:pt x="6" y="9"/>
                    <a:pt x="6" y="13"/>
                  </a:cubicBezTo>
                  <a:cubicBezTo>
                    <a:pt x="6" y="16"/>
                    <a:pt x="9" y="19"/>
                    <a:pt x="12" y="19"/>
                  </a:cubicBezTo>
                  <a:cubicBezTo>
                    <a:pt x="16" y="19"/>
                    <a:pt x="18" y="16"/>
                    <a:pt x="18" y="13"/>
                  </a:cubicBezTo>
                  <a:cubicBezTo>
                    <a:pt x="18" y="9"/>
                    <a:pt x="16" y="7"/>
                    <a:pt x="12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414824-AFB0-4F1F-80F0-B04BA76BA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9" name="îSľíḍé">
            <a:extLst>
              <a:ext uri="{FF2B5EF4-FFF2-40B4-BE49-F238E27FC236}">
                <a16:creationId xmlns:a16="http://schemas.microsoft.com/office/drawing/2014/main" id="{15E39DFA-923E-4699-8D46-FAA1577DEACA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10" name="ïṧlîḓe">
              <a:extLst>
                <a:ext uri="{FF2B5EF4-FFF2-40B4-BE49-F238E27FC236}">
                  <a16:creationId xmlns:a16="http://schemas.microsoft.com/office/drawing/2014/main" id="{412BB0EC-8E30-4606-AF28-7A2F46B213BD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11" name="iṡliḓè">
              <a:extLst>
                <a:ext uri="{FF2B5EF4-FFF2-40B4-BE49-F238E27FC236}">
                  <a16:creationId xmlns:a16="http://schemas.microsoft.com/office/drawing/2014/main" id="{14B4DE1B-6856-416C-967C-883637FD9210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12" name="íšḻíḋè">
                <a:extLst>
                  <a:ext uri="{FF2B5EF4-FFF2-40B4-BE49-F238E27FC236}">
                    <a16:creationId xmlns:a16="http://schemas.microsoft.com/office/drawing/2014/main" id="{BD6B15BA-20C6-4965-AA12-F494C55710CF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13" name="îS1iḓé">
                <a:extLst>
                  <a:ext uri="{FF2B5EF4-FFF2-40B4-BE49-F238E27FC236}">
                    <a16:creationId xmlns:a16="http://schemas.microsoft.com/office/drawing/2014/main" id="{52CBEDBA-8E04-4944-A414-E30130828BA7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DDE57C0-9A6D-42C9-B311-CB2C5C546711}"/>
              </a:ext>
            </a:extLst>
          </p:cNvPr>
          <p:cNvSpPr>
            <a:spLocks/>
          </p:cNvSpPr>
          <p:nvPr/>
        </p:nvSpPr>
        <p:spPr>
          <a:xfrm>
            <a:off x="669925" y="367632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  <a:latin typeface="Bahnschrift SemiCondensed" panose="020B0502040204020203" pitchFamily="34" charset="0"/>
              </a:rPr>
              <a:t>Word Embedding</a:t>
            </a:r>
          </a:p>
        </p:txBody>
      </p:sp>
      <p:grpSp>
        <p:nvGrpSpPr>
          <p:cNvPr id="29" name="îšḷide">
            <a:extLst>
              <a:ext uri="{FF2B5EF4-FFF2-40B4-BE49-F238E27FC236}">
                <a16:creationId xmlns:a16="http://schemas.microsoft.com/office/drawing/2014/main" id="{D48641D0-586A-4298-A647-364ECAD38AEB}"/>
              </a:ext>
            </a:extLst>
          </p:cNvPr>
          <p:cNvGrpSpPr/>
          <p:nvPr/>
        </p:nvGrpSpPr>
        <p:grpSpPr>
          <a:xfrm>
            <a:off x="4791280" y="1481398"/>
            <a:ext cx="5071329" cy="523058"/>
            <a:chOff x="6120102" y="3469166"/>
            <a:chExt cx="5071329" cy="523058"/>
          </a:xfrm>
        </p:grpSpPr>
        <p:sp>
          <p:nvSpPr>
            <p:cNvPr id="30" name="í$lîḋè">
              <a:extLst>
                <a:ext uri="{FF2B5EF4-FFF2-40B4-BE49-F238E27FC236}">
                  <a16:creationId xmlns:a16="http://schemas.microsoft.com/office/drawing/2014/main" id="{E2C90FE4-54C0-4665-ABE3-E49CBCED597C}"/>
                </a:ext>
              </a:extLst>
            </p:cNvPr>
            <p:cNvSpPr txBox="1"/>
            <p:nvPr/>
          </p:nvSpPr>
          <p:spPr bwMode="auto">
            <a:xfrm>
              <a:off x="6690785" y="3529722"/>
              <a:ext cx="4500646" cy="3924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2000" b="1" dirty="0"/>
                <a:t>(100d) </a:t>
              </a:r>
              <a:r>
                <a:rPr lang="en-US" altLang="zh-CN" sz="2000" b="1" dirty="0" err="1"/>
                <a:t>GloVe</a:t>
              </a:r>
              <a:r>
                <a:rPr lang="en-US" altLang="zh-CN" sz="2000" b="1" dirty="0"/>
                <a:t> for twitter+emoji2vec</a:t>
              </a:r>
            </a:p>
          </p:txBody>
        </p:sp>
        <p:sp>
          <p:nvSpPr>
            <p:cNvPr id="31" name="îsḷîḓê">
              <a:extLst>
                <a:ext uri="{FF2B5EF4-FFF2-40B4-BE49-F238E27FC236}">
                  <a16:creationId xmlns:a16="http://schemas.microsoft.com/office/drawing/2014/main" id="{86612674-698B-434B-A591-6D7471BE3567}"/>
                </a:ext>
              </a:extLst>
            </p:cNvPr>
            <p:cNvSpPr/>
            <p:nvPr/>
          </p:nvSpPr>
          <p:spPr>
            <a:xfrm>
              <a:off x="6120102" y="3469166"/>
              <a:ext cx="523058" cy="523058"/>
            </a:xfrm>
            <a:prstGeom prst="ellipse">
              <a:avLst/>
            </a:prstGeom>
            <a:noFill/>
            <a:ln w="22225">
              <a:solidFill>
                <a:schemeClr val="bg1">
                  <a:lumMod val="75000"/>
                </a:schemeClr>
              </a:solidFill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altLang="zh-CN" b="1" i="1" dirty="0"/>
                <a:t>0</a:t>
              </a:r>
              <a:r>
                <a:rPr lang="en-US" altLang="zh-CN" sz="100" b="1" i="1" dirty="0"/>
                <a:t> </a:t>
              </a:r>
              <a:r>
                <a:rPr lang="en-US" altLang="zh-CN" b="1" i="1" dirty="0"/>
                <a:t>1</a:t>
              </a:r>
              <a:endParaRPr lang="zh-CN" altLang="en-US" b="1" i="1" dirty="0"/>
            </a:p>
          </p:txBody>
        </p:sp>
      </p:grpSp>
      <p:grpSp>
        <p:nvGrpSpPr>
          <p:cNvPr id="32" name="iṧļîďè">
            <a:extLst>
              <a:ext uri="{FF2B5EF4-FFF2-40B4-BE49-F238E27FC236}">
                <a16:creationId xmlns:a16="http://schemas.microsoft.com/office/drawing/2014/main" id="{6A341920-A44F-4A09-8F0E-97160DA66FA5}"/>
              </a:ext>
            </a:extLst>
          </p:cNvPr>
          <p:cNvGrpSpPr/>
          <p:nvPr/>
        </p:nvGrpSpPr>
        <p:grpSpPr>
          <a:xfrm>
            <a:off x="4791280" y="2963126"/>
            <a:ext cx="4553071" cy="523058"/>
            <a:chOff x="6120102" y="4470321"/>
            <a:chExt cx="4553071" cy="523058"/>
          </a:xfrm>
        </p:grpSpPr>
        <p:sp>
          <p:nvSpPr>
            <p:cNvPr id="33" name="íśļidé">
              <a:extLst>
                <a:ext uri="{FF2B5EF4-FFF2-40B4-BE49-F238E27FC236}">
                  <a16:creationId xmlns:a16="http://schemas.microsoft.com/office/drawing/2014/main" id="{91067BD6-62F9-4694-BDF7-D090751E83A7}"/>
                </a:ext>
              </a:extLst>
            </p:cNvPr>
            <p:cNvSpPr txBox="1"/>
            <p:nvPr/>
          </p:nvSpPr>
          <p:spPr bwMode="auto">
            <a:xfrm>
              <a:off x="6690785" y="4539090"/>
              <a:ext cx="3982388" cy="3924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2000" b="1" dirty="0"/>
                <a:t>Embedding matrix</a:t>
              </a:r>
            </a:p>
          </p:txBody>
        </p:sp>
        <p:sp>
          <p:nvSpPr>
            <p:cNvPr id="34" name="íṥļiḓè">
              <a:extLst>
                <a:ext uri="{FF2B5EF4-FFF2-40B4-BE49-F238E27FC236}">
                  <a16:creationId xmlns:a16="http://schemas.microsoft.com/office/drawing/2014/main" id="{4A809CB0-E86D-4FA5-BE31-6802D5D6F6CE}"/>
                </a:ext>
              </a:extLst>
            </p:cNvPr>
            <p:cNvSpPr/>
            <p:nvPr/>
          </p:nvSpPr>
          <p:spPr>
            <a:xfrm>
              <a:off x="6120102" y="4470321"/>
              <a:ext cx="523058" cy="523058"/>
            </a:xfrm>
            <a:prstGeom prst="ellipse">
              <a:avLst/>
            </a:prstGeom>
            <a:noFill/>
            <a:ln w="22225">
              <a:solidFill>
                <a:schemeClr val="accent1"/>
              </a:solidFill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altLang="zh-CN" b="1" i="1"/>
                <a:t>0</a:t>
              </a:r>
              <a:r>
                <a:rPr lang="en-US" altLang="zh-CN" sz="100" b="1" i="1"/>
                <a:t> </a:t>
              </a:r>
              <a:r>
                <a:rPr lang="en-US" altLang="zh-CN" b="1" i="1"/>
                <a:t>2</a:t>
              </a:r>
              <a:endParaRPr lang="zh-CN" altLang="en-US" b="1" i="1" dirty="0"/>
            </a:p>
          </p:txBody>
        </p:sp>
      </p:grpSp>
      <p:grpSp>
        <p:nvGrpSpPr>
          <p:cNvPr id="35" name="iŝlíḓê">
            <a:extLst>
              <a:ext uri="{FF2B5EF4-FFF2-40B4-BE49-F238E27FC236}">
                <a16:creationId xmlns:a16="http://schemas.microsoft.com/office/drawing/2014/main" id="{40C7A6D0-6182-4F45-93A9-8F52BA1CCE9D}"/>
              </a:ext>
            </a:extLst>
          </p:cNvPr>
          <p:cNvGrpSpPr/>
          <p:nvPr/>
        </p:nvGrpSpPr>
        <p:grpSpPr>
          <a:xfrm>
            <a:off x="4791280" y="4937297"/>
            <a:ext cx="4553071" cy="523058"/>
            <a:chOff x="6120102" y="5471477"/>
            <a:chExt cx="4553071" cy="523058"/>
          </a:xfrm>
        </p:grpSpPr>
        <p:sp>
          <p:nvSpPr>
            <p:cNvPr id="36" name="ïš1íḍé">
              <a:extLst>
                <a:ext uri="{FF2B5EF4-FFF2-40B4-BE49-F238E27FC236}">
                  <a16:creationId xmlns:a16="http://schemas.microsoft.com/office/drawing/2014/main" id="{E764BE20-514A-482C-B867-2AD64182BC5D}"/>
                </a:ext>
              </a:extLst>
            </p:cNvPr>
            <p:cNvSpPr/>
            <p:nvPr/>
          </p:nvSpPr>
          <p:spPr>
            <a:xfrm>
              <a:off x="6120102" y="5471477"/>
              <a:ext cx="523058" cy="523058"/>
            </a:xfrm>
            <a:prstGeom prst="ellipse">
              <a:avLst/>
            </a:prstGeom>
            <a:noFill/>
            <a:ln w="22225">
              <a:solidFill>
                <a:schemeClr val="bg1">
                  <a:lumMod val="75000"/>
                </a:schemeClr>
              </a:solidFill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altLang="zh-CN" b="1" i="1"/>
                <a:t>0</a:t>
              </a:r>
              <a:r>
                <a:rPr lang="en-US" altLang="zh-CN" sz="100" b="1" i="1"/>
                <a:t> </a:t>
              </a:r>
              <a:r>
                <a:rPr lang="en-US" altLang="zh-CN" b="1" i="1"/>
                <a:t>3</a:t>
              </a:r>
              <a:endParaRPr lang="zh-CN" altLang="en-US" b="1" i="1" dirty="0"/>
            </a:p>
          </p:txBody>
        </p:sp>
        <p:sp>
          <p:nvSpPr>
            <p:cNvPr id="37" name="ïşḷiḋé">
              <a:extLst>
                <a:ext uri="{FF2B5EF4-FFF2-40B4-BE49-F238E27FC236}">
                  <a16:creationId xmlns:a16="http://schemas.microsoft.com/office/drawing/2014/main" id="{9DC66576-1D88-4B5F-B0EF-4B536F22524B}"/>
                </a:ext>
              </a:extLst>
            </p:cNvPr>
            <p:cNvSpPr txBox="1"/>
            <p:nvPr/>
          </p:nvSpPr>
          <p:spPr bwMode="auto">
            <a:xfrm>
              <a:off x="6690785" y="5495294"/>
              <a:ext cx="3982388" cy="39240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sz="2000" b="1" dirty="0"/>
                <a:t>Padding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C3533325-51D1-49BA-8D1A-C623483EBC84}"/>
              </a:ext>
            </a:extLst>
          </p:cNvPr>
          <p:cNvSpPr/>
          <p:nvPr/>
        </p:nvSpPr>
        <p:spPr>
          <a:xfrm>
            <a:off x="4791280" y="2129848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“</a:t>
            </a:r>
            <a:r>
              <a:rPr lang="en-US" altLang="zh-TW" sz="2000" dirty="0" err="1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nlp</a:t>
            </a: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”</a:t>
            </a:r>
            <a:r>
              <a:rPr lang="zh-TW" altLang="en-US" sz="2000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rPr>
              <a:t> →</a:t>
            </a:r>
            <a:endParaRPr lang="en-US" altLang="zh-TW" sz="2000" dirty="0">
              <a:solidFill>
                <a:srgbClr val="000000"/>
              </a:solidFill>
              <a:latin typeface="Tw Cen MT" panose="020B0602020104020603" pitchFamily="34" charset="0"/>
              <a:cs typeface="Courier New" panose="02070309020205020404" pitchFamily="49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TW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[-0.12459</a:t>
            </a: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, </a:t>
            </a:r>
            <a:r>
              <a:rPr lang="zh-TW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-0.37272</a:t>
            </a: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, </a:t>
            </a:r>
            <a:r>
              <a:rPr lang="zh-TW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-0.26352</a:t>
            </a: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, …, </a:t>
            </a:r>
            <a:r>
              <a:rPr lang="zh-TW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0.86152 ]</a:t>
            </a:r>
            <a:r>
              <a:rPr lang="zh-TW" altLang="zh-TW" sz="2000" dirty="0">
                <a:latin typeface="Tw Cen MT" panose="020B0602020104020603" pitchFamily="34" charset="0"/>
              </a:rPr>
              <a:t>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67D0BF6-9B9F-428A-9A39-AC18D1DBF9A3}"/>
              </a:ext>
            </a:extLst>
          </p:cNvPr>
          <p:cNvGrpSpPr/>
          <p:nvPr/>
        </p:nvGrpSpPr>
        <p:grpSpPr>
          <a:xfrm>
            <a:off x="4791280" y="3611576"/>
            <a:ext cx="5682305" cy="1200329"/>
            <a:chOff x="5371431" y="3914514"/>
            <a:chExt cx="5682305" cy="1200329"/>
          </a:xfrm>
        </p:grpSpPr>
        <p:sp>
          <p:nvSpPr>
            <p:cNvPr id="38" name="矩形 12">
              <a:extLst>
                <a:ext uri="{FF2B5EF4-FFF2-40B4-BE49-F238E27FC236}">
                  <a16:creationId xmlns:a16="http://schemas.microsoft.com/office/drawing/2014/main" id="{BE56A58D-04BA-4799-8613-3F59D921FF7C}"/>
                </a:ext>
              </a:extLst>
            </p:cNvPr>
            <p:cNvSpPr/>
            <p:nvPr/>
          </p:nvSpPr>
          <p:spPr>
            <a:xfrm>
              <a:off x="5371431" y="3914514"/>
              <a:ext cx="796031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“</a:t>
              </a:r>
              <a:r>
                <a:rPr lang="en-US" altLang="zh-TW" dirty="0" err="1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i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”</a:t>
              </a:r>
            </a:p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“love”    </a:t>
              </a:r>
            </a:p>
            <a:p>
              <a:pPr lvl="0"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“</a:t>
              </a:r>
              <a:r>
                <a:rPr lang="en-US" altLang="zh-TW" dirty="0" err="1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nlp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”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 </a:t>
              </a:r>
              <a:endParaRPr lang="zh-TW" altLang="zh-TW" dirty="0">
                <a:latin typeface="Tw Cen MT" panose="020B0602020104020603" pitchFamily="34" charset="0"/>
              </a:endParaRP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C2136947-7CCD-4DC0-8573-AD2F7A925722}"/>
                </a:ext>
              </a:extLst>
            </p:cNvPr>
            <p:cNvSpPr/>
            <p:nvPr/>
          </p:nvSpPr>
          <p:spPr>
            <a:xfrm>
              <a:off x="6167462" y="3914514"/>
              <a:ext cx="4886274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[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5314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75214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-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48742, …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42746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 ]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-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4977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9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25438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534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5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…, -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32544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 ]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-0.12459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-0.3727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-0.2635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, …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86152 ]</a:t>
              </a:r>
              <a:r>
                <a:rPr lang="en-US" altLang="zh-TW" dirty="0">
                  <a:latin typeface="Tw Cen MT" panose="020B0602020104020603" pitchFamily="34" charset="0"/>
                </a:rPr>
                <a:t>,…]</a:t>
              </a: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zh-TW" dirty="0">
                <a:latin typeface="Tw Cen MT" panose="020B0602020104020603" pitchFamily="34" charset="0"/>
              </a:endParaRPr>
            </a:p>
          </p:txBody>
        </p:sp>
      </p:grpSp>
      <p:sp>
        <p:nvSpPr>
          <p:cNvPr id="41" name="矩形 14">
            <a:extLst>
              <a:ext uri="{FF2B5EF4-FFF2-40B4-BE49-F238E27FC236}">
                <a16:creationId xmlns:a16="http://schemas.microsoft.com/office/drawing/2014/main" id="{E56757E2-15F0-4871-8A8B-6A82E7DF6A23}"/>
              </a:ext>
            </a:extLst>
          </p:cNvPr>
          <p:cNvSpPr/>
          <p:nvPr/>
        </p:nvSpPr>
        <p:spPr>
          <a:xfrm>
            <a:off x="4791280" y="5585745"/>
            <a:ext cx="38681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[“</a:t>
            </a:r>
            <a:r>
              <a:rPr lang="en-US" altLang="zh-TW" dirty="0" err="1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i</a:t>
            </a:r>
            <a:r>
              <a: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“, “love”, “</a:t>
            </a:r>
            <a:r>
              <a:rPr lang="en-US" altLang="zh-TW" dirty="0" err="1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nlp</a:t>
            </a:r>
            <a:r>
              <a: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”]</a:t>
            </a:r>
            <a:r>
              <a:rPr lang="zh-TW" altLang="en-US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rPr>
              <a:t> →</a:t>
            </a:r>
            <a:r>
              <a: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[0,0,0,0,…,0,1,2,3</a:t>
            </a:r>
            <a:r>
              <a:rPr lang="zh-TW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]</a:t>
            </a:r>
            <a:r>
              <a:rPr lang="zh-TW" altLang="zh-TW" dirty="0">
                <a:latin typeface="Tw Cen MT" panose="020B0602020104020603" pitchFamily="34" charset="0"/>
              </a:rPr>
              <a:t>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3D27D3C-143E-4520-9161-45DDA32FA7B7}"/>
              </a:ext>
            </a:extLst>
          </p:cNvPr>
          <p:cNvSpPr>
            <a:spLocks/>
          </p:cNvSpPr>
          <p:nvPr/>
        </p:nvSpPr>
        <p:spPr>
          <a:xfrm>
            <a:off x="745565" y="-766511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4"/>
                </a:solidFill>
                <a:latin typeface="Bahnschrift SemiCondensed" panose="020B0502040204020203" pitchFamily="34" charset="0"/>
              </a:rPr>
              <a:t>Model</a:t>
            </a:r>
          </a:p>
        </p:txBody>
      </p:sp>
      <p:grpSp>
        <p:nvGrpSpPr>
          <p:cNvPr id="83" name="0ce396b1-13d0-41fe-bb34-ddfd460a4f6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A8D7D5-FB24-40A4-9C92-8C53533B198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2414952" y="4245451"/>
            <a:ext cx="5080474" cy="2736373"/>
            <a:chOff x="2426337" y="1452498"/>
            <a:chExt cx="7339327" cy="3953005"/>
          </a:xfrm>
        </p:grpSpPr>
        <p:sp>
          <p:nvSpPr>
            <p:cNvPr id="84" name="iṡḷíďe">
              <a:extLst>
                <a:ext uri="{FF2B5EF4-FFF2-40B4-BE49-F238E27FC236}">
                  <a16:creationId xmlns:a16="http://schemas.microsoft.com/office/drawing/2014/main" id="{2353B771-30CD-48A1-82BF-072052E497A0}"/>
                </a:ext>
              </a:extLst>
            </p:cNvPr>
            <p:cNvSpPr/>
            <p:nvPr/>
          </p:nvSpPr>
          <p:spPr bwMode="auto">
            <a:xfrm>
              <a:off x="2426337" y="1452498"/>
              <a:ext cx="7339327" cy="3953005"/>
            </a:xfrm>
            <a:custGeom>
              <a:avLst/>
              <a:gdLst>
                <a:gd name="T0" fmla="*/ 4576 w 4577"/>
                <a:gd name="T1" fmla="*/ 1585 h 2468"/>
                <a:gd name="T2" fmla="*/ 4549 w 4577"/>
                <a:gd name="T3" fmla="*/ 1783 h 2468"/>
                <a:gd name="T4" fmla="*/ 4472 w 4577"/>
                <a:gd name="T5" fmla="*/ 1960 h 2468"/>
                <a:gd name="T6" fmla="*/ 4140 w 4577"/>
                <a:gd name="T7" fmla="*/ 2416 h 2468"/>
                <a:gd name="T8" fmla="*/ 3881 w 4577"/>
                <a:gd name="T9" fmla="*/ 2467 h 2468"/>
                <a:gd name="T10" fmla="*/ 869 w 4577"/>
                <a:gd name="T11" fmla="*/ 2467 h 2468"/>
                <a:gd name="T12" fmla="*/ 436 w 4577"/>
                <a:gd name="T13" fmla="*/ 2350 h 2468"/>
                <a:gd name="T14" fmla="*/ 337 w 4577"/>
                <a:gd name="T15" fmla="*/ 2278 h 2468"/>
                <a:gd name="T16" fmla="*/ 117 w 4577"/>
                <a:gd name="T17" fmla="*/ 1821 h 2468"/>
                <a:gd name="T18" fmla="*/ 0 w 4577"/>
                <a:gd name="T19" fmla="*/ 1427 h 2468"/>
                <a:gd name="T20" fmla="*/ 422 w 4577"/>
                <a:gd name="T21" fmla="*/ 769 h 2468"/>
                <a:gd name="T22" fmla="*/ 524 w 4577"/>
                <a:gd name="T23" fmla="*/ 733 h 2468"/>
                <a:gd name="T24" fmla="*/ 562 w 4577"/>
                <a:gd name="T25" fmla="*/ 724 h 2468"/>
                <a:gd name="T26" fmla="*/ 664 w 4577"/>
                <a:gd name="T27" fmla="*/ 710 h 2468"/>
                <a:gd name="T28" fmla="*/ 701 w 4577"/>
                <a:gd name="T29" fmla="*/ 709 h 2468"/>
                <a:gd name="T30" fmla="*/ 708 w 4577"/>
                <a:gd name="T31" fmla="*/ 709 h 2468"/>
                <a:gd name="T32" fmla="*/ 749 w 4577"/>
                <a:gd name="T33" fmla="*/ 710 h 2468"/>
                <a:gd name="T34" fmla="*/ 754 w 4577"/>
                <a:gd name="T35" fmla="*/ 702 h 2468"/>
                <a:gd name="T36" fmla="*/ 771 w 4577"/>
                <a:gd name="T37" fmla="*/ 675 h 2468"/>
                <a:gd name="T38" fmla="*/ 804 w 4577"/>
                <a:gd name="T39" fmla="*/ 627 h 2468"/>
                <a:gd name="T40" fmla="*/ 841 w 4577"/>
                <a:gd name="T41" fmla="*/ 577 h 2468"/>
                <a:gd name="T42" fmla="*/ 844 w 4577"/>
                <a:gd name="T43" fmla="*/ 573 h 2468"/>
                <a:gd name="T44" fmla="*/ 867 w 4577"/>
                <a:gd name="T45" fmla="*/ 546 h 2468"/>
                <a:gd name="T46" fmla="*/ 943 w 4577"/>
                <a:gd name="T47" fmla="*/ 465 h 2468"/>
                <a:gd name="T48" fmla="*/ 2191 w 4577"/>
                <a:gd name="T49" fmla="*/ 0 h 2468"/>
                <a:gd name="T50" fmla="*/ 3224 w 4577"/>
                <a:gd name="T51" fmla="*/ 292 h 2468"/>
                <a:gd name="T52" fmla="*/ 3568 w 4577"/>
                <a:gd name="T53" fmla="*/ 202 h 2468"/>
                <a:gd name="T54" fmla="*/ 4276 w 4577"/>
                <a:gd name="T55" fmla="*/ 920 h 2468"/>
                <a:gd name="T56" fmla="*/ 4272 w 4577"/>
                <a:gd name="T57" fmla="*/ 995 h 2468"/>
                <a:gd name="T58" fmla="*/ 4576 w 4577"/>
                <a:gd name="T59" fmla="*/ 1585 h 2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77" h="2468">
                  <a:moveTo>
                    <a:pt x="4576" y="1585"/>
                  </a:moveTo>
                  <a:cubicBezTo>
                    <a:pt x="4576" y="1652"/>
                    <a:pt x="4567" y="1718"/>
                    <a:pt x="4549" y="1783"/>
                  </a:cubicBezTo>
                  <a:cubicBezTo>
                    <a:pt x="4531" y="1845"/>
                    <a:pt x="4505" y="1905"/>
                    <a:pt x="4472" y="1960"/>
                  </a:cubicBezTo>
                  <a:cubicBezTo>
                    <a:pt x="4472" y="2160"/>
                    <a:pt x="4336" y="2334"/>
                    <a:pt x="4140" y="2416"/>
                  </a:cubicBezTo>
                  <a:cubicBezTo>
                    <a:pt x="4058" y="2450"/>
                    <a:pt x="3970" y="2468"/>
                    <a:pt x="3881" y="2467"/>
                  </a:cubicBezTo>
                  <a:cubicBezTo>
                    <a:pt x="869" y="2467"/>
                    <a:pt x="869" y="2467"/>
                    <a:pt x="869" y="2467"/>
                  </a:cubicBezTo>
                  <a:cubicBezTo>
                    <a:pt x="708" y="2467"/>
                    <a:pt x="559" y="2424"/>
                    <a:pt x="436" y="2350"/>
                  </a:cubicBezTo>
                  <a:cubicBezTo>
                    <a:pt x="401" y="2329"/>
                    <a:pt x="368" y="2305"/>
                    <a:pt x="337" y="2278"/>
                  </a:cubicBezTo>
                  <a:cubicBezTo>
                    <a:pt x="201" y="2161"/>
                    <a:pt x="117" y="2000"/>
                    <a:pt x="117" y="1821"/>
                  </a:cubicBezTo>
                  <a:cubicBezTo>
                    <a:pt x="40" y="1704"/>
                    <a:pt x="0" y="1567"/>
                    <a:pt x="0" y="1427"/>
                  </a:cubicBezTo>
                  <a:cubicBezTo>
                    <a:pt x="0" y="1133"/>
                    <a:pt x="174" y="881"/>
                    <a:pt x="422" y="769"/>
                  </a:cubicBezTo>
                  <a:cubicBezTo>
                    <a:pt x="455" y="755"/>
                    <a:pt x="490" y="742"/>
                    <a:pt x="524" y="733"/>
                  </a:cubicBezTo>
                  <a:cubicBezTo>
                    <a:pt x="537" y="730"/>
                    <a:pt x="549" y="727"/>
                    <a:pt x="562" y="724"/>
                  </a:cubicBezTo>
                  <a:cubicBezTo>
                    <a:pt x="596" y="717"/>
                    <a:pt x="630" y="712"/>
                    <a:pt x="664" y="710"/>
                  </a:cubicBezTo>
                  <a:cubicBezTo>
                    <a:pt x="676" y="709"/>
                    <a:pt x="689" y="709"/>
                    <a:pt x="701" y="709"/>
                  </a:cubicBezTo>
                  <a:cubicBezTo>
                    <a:pt x="708" y="709"/>
                    <a:pt x="708" y="709"/>
                    <a:pt x="708" y="709"/>
                  </a:cubicBezTo>
                  <a:cubicBezTo>
                    <a:pt x="722" y="709"/>
                    <a:pt x="736" y="709"/>
                    <a:pt x="749" y="710"/>
                  </a:cubicBezTo>
                  <a:cubicBezTo>
                    <a:pt x="754" y="702"/>
                    <a:pt x="754" y="702"/>
                    <a:pt x="754" y="702"/>
                  </a:cubicBezTo>
                  <a:cubicBezTo>
                    <a:pt x="759" y="693"/>
                    <a:pt x="765" y="684"/>
                    <a:pt x="771" y="675"/>
                  </a:cubicBezTo>
                  <a:cubicBezTo>
                    <a:pt x="781" y="659"/>
                    <a:pt x="792" y="643"/>
                    <a:pt x="804" y="627"/>
                  </a:cubicBezTo>
                  <a:cubicBezTo>
                    <a:pt x="815" y="610"/>
                    <a:pt x="828" y="593"/>
                    <a:pt x="841" y="577"/>
                  </a:cubicBezTo>
                  <a:cubicBezTo>
                    <a:pt x="844" y="573"/>
                    <a:pt x="844" y="573"/>
                    <a:pt x="844" y="573"/>
                  </a:cubicBezTo>
                  <a:cubicBezTo>
                    <a:pt x="852" y="564"/>
                    <a:pt x="859" y="555"/>
                    <a:pt x="867" y="546"/>
                  </a:cubicBezTo>
                  <a:cubicBezTo>
                    <a:pt x="891" y="518"/>
                    <a:pt x="916" y="491"/>
                    <a:pt x="943" y="465"/>
                  </a:cubicBezTo>
                  <a:cubicBezTo>
                    <a:pt x="1231" y="182"/>
                    <a:pt x="1683" y="0"/>
                    <a:pt x="2191" y="0"/>
                  </a:cubicBezTo>
                  <a:cubicBezTo>
                    <a:pt x="2586" y="0"/>
                    <a:pt x="2948" y="110"/>
                    <a:pt x="3224" y="292"/>
                  </a:cubicBezTo>
                  <a:cubicBezTo>
                    <a:pt x="3329" y="233"/>
                    <a:pt x="3448" y="202"/>
                    <a:pt x="3568" y="202"/>
                  </a:cubicBezTo>
                  <a:cubicBezTo>
                    <a:pt x="3959" y="202"/>
                    <a:pt x="4276" y="523"/>
                    <a:pt x="4276" y="920"/>
                  </a:cubicBezTo>
                  <a:cubicBezTo>
                    <a:pt x="4276" y="945"/>
                    <a:pt x="4275" y="970"/>
                    <a:pt x="4272" y="995"/>
                  </a:cubicBezTo>
                  <a:cubicBezTo>
                    <a:pt x="4463" y="1130"/>
                    <a:pt x="4577" y="1350"/>
                    <a:pt x="4576" y="1585"/>
                  </a:cubicBezTo>
                  <a:close/>
                </a:path>
              </a:pathLst>
            </a:custGeom>
            <a:solidFill>
              <a:srgbClr val="4285F4">
                <a:alpha val="8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ŝľïdê">
              <a:extLst>
                <a:ext uri="{FF2B5EF4-FFF2-40B4-BE49-F238E27FC236}">
                  <a16:creationId xmlns:a16="http://schemas.microsoft.com/office/drawing/2014/main" id="{07C98BBE-D601-4911-8BB2-208B45585CF6}"/>
                </a:ext>
              </a:extLst>
            </p:cNvPr>
            <p:cNvSpPr/>
            <p:nvPr/>
          </p:nvSpPr>
          <p:spPr bwMode="auto">
            <a:xfrm>
              <a:off x="3804115" y="2242311"/>
              <a:ext cx="119443" cy="129279"/>
            </a:xfrm>
            <a:custGeom>
              <a:avLst/>
              <a:gdLst>
                <a:gd name="T0" fmla="*/ 76 w 76"/>
                <a:gd name="T1" fmla="*/ 0 h 82"/>
                <a:gd name="T2" fmla="*/ 0 w 76"/>
                <a:gd name="T3" fmla="*/ 82 h 82"/>
                <a:gd name="T4" fmla="*/ 76 w 76"/>
                <a:gd name="T5" fmla="*/ 82 h 82"/>
                <a:gd name="T6" fmla="*/ 76 w 76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82">
                  <a:moveTo>
                    <a:pt x="76" y="0"/>
                  </a:moveTo>
                  <a:cubicBezTo>
                    <a:pt x="49" y="27"/>
                    <a:pt x="23" y="54"/>
                    <a:pt x="0" y="82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ṧḷîde">
              <a:extLst>
                <a:ext uri="{FF2B5EF4-FFF2-40B4-BE49-F238E27FC236}">
                  <a16:creationId xmlns:a16="http://schemas.microsoft.com/office/drawing/2014/main" id="{9E8BE96C-56B9-4131-881E-AC34A17CC485}"/>
                </a:ext>
              </a:extLst>
            </p:cNvPr>
            <p:cNvSpPr/>
            <p:nvPr/>
          </p:nvSpPr>
          <p:spPr bwMode="auto">
            <a:xfrm>
              <a:off x="3981171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Sľïďè">
              <a:extLst>
                <a:ext uri="{FF2B5EF4-FFF2-40B4-BE49-F238E27FC236}">
                  <a16:creationId xmlns:a16="http://schemas.microsoft.com/office/drawing/2014/main" id="{A32A4C6D-554F-4110-B0E0-22272571465C}"/>
                </a:ext>
              </a:extLst>
            </p:cNvPr>
            <p:cNvSpPr/>
            <p:nvPr/>
          </p:nvSpPr>
          <p:spPr bwMode="auto">
            <a:xfrm>
              <a:off x="3981171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ṩ1îḋè">
              <a:extLst>
                <a:ext uri="{FF2B5EF4-FFF2-40B4-BE49-F238E27FC236}">
                  <a16:creationId xmlns:a16="http://schemas.microsoft.com/office/drawing/2014/main" id="{218C0605-82BD-4EDA-BF51-F82C7A372E90}"/>
                </a:ext>
              </a:extLst>
            </p:cNvPr>
            <p:cNvSpPr/>
            <p:nvPr/>
          </p:nvSpPr>
          <p:spPr bwMode="auto">
            <a:xfrm>
              <a:off x="4201787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ṥḷïďê">
              <a:extLst>
                <a:ext uri="{FF2B5EF4-FFF2-40B4-BE49-F238E27FC236}">
                  <a16:creationId xmlns:a16="http://schemas.microsoft.com/office/drawing/2014/main" id="{2CADD4C9-305B-4334-A1BA-E307FEBA9AED}"/>
                </a:ext>
              </a:extLst>
            </p:cNvPr>
            <p:cNvSpPr/>
            <p:nvPr/>
          </p:nvSpPr>
          <p:spPr bwMode="auto">
            <a:xfrm>
              <a:off x="4201787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ṩlîḋe">
              <a:extLst>
                <a:ext uri="{FF2B5EF4-FFF2-40B4-BE49-F238E27FC236}">
                  <a16:creationId xmlns:a16="http://schemas.microsoft.com/office/drawing/2014/main" id="{D5A2AEFF-84CF-423C-8F75-CA3939E86387}"/>
                </a:ext>
              </a:extLst>
            </p:cNvPr>
            <p:cNvSpPr/>
            <p:nvPr/>
          </p:nvSpPr>
          <p:spPr bwMode="auto">
            <a:xfrm>
              <a:off x="4420999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şḻïḍê">
              <a:extLst>
                <a:ext uri="{FF2B5EF4-FFF2-40B4-BE49-F238E27FC236}">
                  <a16:creationId xmlns:a16="http://schemas.microsoft.com/office/drawing/2014/main" id="{080215BE-04ED-45B4-815C-56F046E29FE3}"/>
                </a:ext>
              </a:extLst>
            </p:cNvPr>
            <p:cNvSpPr/>
            <p:nvPr/>
          </p:nvSpPr>
          <p:spPr bwMode="auto">
            <a:xfrm>
              <a:off x="4420999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śḻíḋè">
              <a:extLst>
                <a:ext uri="{FF2B5EF4-FFF2-40B4-BE49-F238E27FC236}">
                  <a16:creationId xmlns:a16="http://schemas.microsoft.com/office/drawing/2014/main" id="{F05F88FE-4404-4B99-9DCE-CFA099E6C2D9}"/>
                </a:ext>
              </a:extLst>
            </p:cNvPr>
            <p:cNvSpPr/>
            <p:nvPr/>
          </p:nvSpPr>
          <p:spPr bwMode="auto">
            <a:xfrm>
              <a:off x="4640211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$ľíḋè">
              <a:extLst>
                <a:ext uri="{FF2B5EF4-FFF2-40B4-BE49-F238E27FC236}">
                  <a16:creationId xmlns:a16="http://schemas.microsoft.com/office/drawing/2014/main" id="{2C781220-BDDF-404E-849F-75B9151615C2}"/>
                </a:ext>
              </a:extLst>
            </p:cNvPr>
            <p:cNvSpPr/>
            <p:nvPr/>
          </p:nvSpPr>
          <p:spPr bwMode="auto">
            <a:xfrm>
              <a:off x="4640211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$ľidé">
              <a:extLst>
                <a:ext uri="{FF2B5EF4-FFF2-40B4-BE49-F238E27FC236}">
                  <a16:creationId xmlns:a16="http://schemas.microsoft.com/office/drawing/2014/main" id="{528DD0C1-36E0-4FE0-B6B5-5FF348DBF9D5}"/>
                </a:ext>
              </a:extLst>
            </p:cNvPr>
            <p:cNvSpPr/>
            <p:nvPr/>
          </p:nvSpPr>
          <p:spPr bwMode="auto">
            <a:xfrm>
              <a:off x="4860828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şḻïḓé">
              <a:extLst>
                <a:ext uri="{FF2B5EF4-FFF2-40B4-BE49-F238E27FC236}">
                  <a16:creationId xmlns:a16="http://schemas.microsoft.com/office/drawing/2014/main" id="{BAA9CDBA-DBE7-48F1-9C10-D431306CD907}"/>
                </a:ext>
              </a:extLst>
            </p:cNvPr>
            <p:cNvSpPr/>
            <p:nvPr/>
          </p:nvSpPr>
          <p:spPr bwMode="auto">
            <a:xfrm>
              <a:off x="4860828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šḷíḍe">
              <a:extLst>
                <a:ext uri="{FF2B5EF4-FFF2-40B4-BE49-F238E27FC236}">
                  <a16:creationId xmlns:a16="http://schemas.microsoft.com/office/drawing/2014/main" id="{87DB3B24-1CE3-4543-ACF3-2E70B1AAE038}"/>
                </a:ext>
              </a:extLst>
            </p:cNvPr>
            <p:cNvSpPr/>
            <p:nvPr/>
          </p:nvSpPr>
          <p:spPr bwMode="auto">
            <a:xfrm>
              <a:off x="5080039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śḻidê">
              <a:extLst>
                <a:ext uri="{FF2B5EF4-FFF2-40B4-BE49-F238E27FC236}">
                  <a16:creationId xmlns:a16="http://schemas.microsoft.com/office/drawing/2014/main" id="{65D6C3CB-A06F-45E7-A05D-8C3CD9287524}"/>
                </a:ext>
              </a:extLst>
            </p:cNvPr>
            <p:cNvSpPr/>
            <p:nvPr/>
          </p:nvSpPr>
          <p:spPr bwMode="auto">
            <a:xfrm>
              <a:off x="5299251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ṥlíḋé">
              <a:extLst>
                <a:ext uri="{FF2B5EF4-FFF2-40B4-BE49-F238E27FC236}">
                  <a16:creationId xmlns:a16="http://schemas.microsoft.com/office/drawing/2014/main" id="{62EF7502-B30F-44BF-A9E9-5635765514B1}"/>
                </a:ext>
              </a:extLst>
            </p:cNvPr>
            <p:cNvSpPr/>
            <p:nvPr/>
          </p:nvSpPr>
          <p:spPr bwMode="auto">
            <a:xfrm>
              <a:off x="5299251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îślîḓe">
              <a:extLst>
                <a:ext uri="{FF2B5EF4-FFF2-40B4-BE49-F238E27FC236}">
                  <a16:creationId xmlns:a16="http://schemas.microsoft.com/office/drawing/2014/main" id="{E0FD07D9-CEBC-4A3A-9704-21643EA671FE}"/>
                </a:ext>
              </a:extLst>
            </p:cNvPr>
            <p:cNvSpPr/>
            <p:nvPr/>
          </p:nvSpPr>
          <p:spPr bwMode="auto">
            <a:xfrm>
              <a:off x="5518463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ṩḻíḑé">
              <a:extLst>
                <a:ext uri="{FF2B5EF4-FFF2-40B4-BE49-F238E27FC236}">
                  <a16:creationId xmlns:a16="http://schemas.microsoft.com/office/drawing/2014/main" id="{F077CD61-8B90-4F33-BAA6-9843C6C88855}"/>
                </a:ext>
              </a:extLst>
            </p:cNvPr>
            <p:cNvSpPr/>
            <p:nvPr/>
          </p:nvSpPr>
          <p:spPr bwMode="auto">
            <a:xfrm>
              <a:off x="5518463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ṧļíḑè">
              <a:extLst>
                <a:ext uri="{FF2B5EF4-FFF2-40B4-BE49-F238E27FC236}">
                  <a16:creationId xmlns:a16="http://schemas.microsoft.com/office/drawing/2014/main" id="{666CF202-43A3-4AE5-9F92-B631C8DCA1DA}"/>
                </a:ext>
              </a:extLst>
            </p:cNvPr>
            <p:cNvSpPr/>
            <p:nvPr/>
          </p:nvSpPr>
          <p:spPr bwMode="auto">
            <a:xfrm>
              <a:off x="5739079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śḷídê">
              <a:extLst>
                <a:ext uri="{FF2B5EF4-FFF2-40B4-BE49-F238E27FC236}">
                  <a16:creationId xmlns:a16="http://schemas.microsoft.com/office/drawing/2014/main" id="{0EF4387A-347E-4299-993E-97D84BEDE219}"/>
                </a:ext>
              </a:extLst>
            </p:cNvPr>
            <p:cNvSpPr/>
            <p:nvPr/>
          </p:nvSpPr>
          <p:spPr bwMode="auto">
            <a:xfrm>
              <a:off x="5739079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íš1îḓé">
              <a:extLst>
                <a:ext uri="{FF2B5EF4-FFF2-40B4-BE49-F238E27FC236}">
                  <a16:creationId xmlns:a16="http://schemas.microsoft.com/office/drawing/2014/main" id="{402A07DB-4880-4C6C-B54B-3C041C25EB34}"/>
                </a:ext>
              </a:extLst>
            </p:cNvPr>
            <p:cNvSpPr/>
            <p:nvPr/>
          </p:nvSpPr>
          <p:spPr bwMode="auto">
            <a:xfrm>
              <a:off x="5958291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şḷiḋè">
              <a:extLst>
                <a:ext uri="{FF2B5EF4-FFF2-40B4-BE49-F238E27FC236}">
                  <a16:creationId xmlns:a16="http://schemas.microsoft.com/office/drawing/2014/main" id="{50C0AA8A-5FE5-4B0A-8677-31E878395BFC}"/>
                </a:ext>
              </a:extLst>
            </p:cNvPr>
            <p:cNvSpPr/>
            <p:nvPr/>
          </p:nvSpPr>
          <p:spPr bwMode="auto">
            <a:xfrm>
              <a:off x="6178908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slîḓê">
              <a:extLst>
                <a:ext uri="{FF2B5EF4-FFF2-40B4-BE49-F238E27FC236}">
                  <a16:creationId xmlns:a16="http://schemas.microsoft.com/office/drawing/2014/main" id="{834ADD58-A052-46F1-99A4-AD75C6D12D1E}"/>
                </a:ext>
              </a:extLst>
            </p:cNvPr>
            <p:cNvSpPr/>
            <p:nvPr/>
          </p:nvSpPr>
          <p:spPr bwMode="auto">
            <a:xfrm>
              <a:off x="6178908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sḷídè">
              <a:extLst>
                <a:ext uri="{FF2B5EF4-FFF2-40B4-BE49-F238E27FC236}">
                  <a16:creationId xmlns:a16="http://schemas.microsoft.com/office/drawing/2014/main" id="{BAC370EC-AD04-4683-B055-B70DDDB916E3}"/>
                </a:ext>
              </a:extLst>
            </p:cNvPr>
            <p:cNvSpPr/>
            <p:nvPr/>
          </p:nvSpPr>
          <p:spPr bwMode="auto">
            <a:xfrm>
              <a:off x="6398120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íSḻïḑê">
              <a:extLst>
                <a:ext uri="{FF2B5EF4-FFF2-40B4-BE49-F238E27FC236}">
                  <a16:creationId xmlns:a16="http://schemas.microsoft.com/office/drawing/2014/main" id="{6C055A7B-FC41-45A1-A498-EF08415531F0}"/>
                </a:ext>
              </a:extLst>
            </p:cNvPr>
            <p:cNvSpPr/>
            <p:nvPr/>
          </p:nvSpPr>
          <p:spPr bwMode="auto">
            <a:xfrm>
              <a:off x="6398120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ïsliḋê">
              <a:extLst>
                <a:ext uri="{FF2B5EF4-FFF2-40B4-BE49-F238E27FC236}">
                  <a16:creationId xmlns:a16="http://schemas.microsoft.com/office/drawing/2014/main" id="{B6865F4B-9EFE-410B-939E-2F844A88E460}"/>
                </a:ext>
              </a:extLst>
            </p:cNvPr>
            <p:cNvSpPr/>
            <p:nvPr/>
          </p:nvSpPr>
          <p:spPr bwMode="auto">
            <a:xfrm>
              <a:off x="6618736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Sḷídé">
              <a:extLst>
                <a:ext uri="{FF2B5EF4-FFF2-40B4-BE49-F238E27FC236}">
                  <a16:creationId xmlns:a16="http://schemas.microsoft.com/office/drawing/2014/main" id="{505A7A50-0658-4363-A015-4EE322B47A0A}"/>
                </a:ext>
              </a:extLst>
            </p:cNvPr>
            <p:cNvSpPr/>
            <p:nvPr/>
          </p:nvSpPr>
          <p:spPr bwMode="auto">
            <a:xfrm>
              <a:off x="6618736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šľiḓè">
              <a:extLst>
                <a:ext uri="{FF2B5EF4-FFF2-40B4-BE49-F238E27FC236}">
                  <a16:creationId xmlns:a16="http://schemas.microsoft.com/office/drawing/2014/main" id="{D93CB50C-58FB-4FE2-8B9A-EFFB11C59875}"/>
                </a:ext>
              </a:extLst>
            </p:cNvPr>
            <p:cNvSpPr/>
            <p:nvPr/>
          </p:nvSpPr>
          <p:spPr bwMode="auto">
            <a:xfrm>
              <a:off x="6836543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sļïḋê">
              <a:extLst>
                <a:ext uri="{FF2B5EF4-FFF2-40B4-BE49-F238E27FC236}">
                  <a16:creationId xmlns:a16="http://schemas.microsoft.com/office/drawing/2014/main" id="{7C6D98A3-916F-4A09-A2D6-CC54A429F05C}"/>
                </a:ext>
              </a:extLst>
            </p:cNvPr>
            <p:cNvSpPr/>
            <p:nvPr/>
          </p:nvSpPr>
          <p:spPr bwMode="auto">
            <a:xfrm>
              <a:off x="6836543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Sḻîḋé">
              <a:extLst>
                <a:ext uri="{FF2B5EF4-FFF2-40B4-BE49-F238E27FC236}">
                  <a16:creationId xmlns:a16="http://schemas.microsoft.com/office/drawing/2014/main" id="{D9ACADFC-1D60-47D5-B550-C4931614ADC7}"/>
                </a:ext>
              </a:extLst>
            </p:cNvPr>
            <p:cNvSpPr/>
            <p:nvPr/>
          </p:nvSpPr>
          <p:spPr bwMode="auto">
            <a:xfrm>
              <a:off x="7057159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$ľïḍe">
              <a:extLst>
                <a:ext uri="{FF2B5EF4-FFF2-40B4-BE49-F238E27FC236}">
                  <a16:creationId xmlns:a16="http://schemas.microsoft.com/office/drawing/2014/main" id="{45C02A22-EC24-4CDB-9A20-526AFA732390}"/>
                </a:ext>
              </a:extLst>
            </p:cNvPr>
            <p:cNvSpPr/>
            <p:nvPr/>
          </p:nvSpPr>
          <p:spPr bwMode="auto">
            <a:xfrm>
              <a:off x="7057159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iṡḻíḑé">
              <a:extLst>
                <a:ext uri="{FF2B5EF4-FFF2-40B4-BE49-F238E27FC236}">
                  <a16:creationId xmlns:a16="http://schemas.microsoft.com/office/drawing/2014/main" id="{FC0F7AE2-532A-4B37-B165-298709B9AA27}"/>
                </a:ext>
              </a:extLst>
            </p:cNvPr>
            <p:cNvSpPr/>
            <p:nvPr/>
          </p:nvSpPr>
          <p:spPr bwMode="auto">
            <a:xfrm>
              <a:off x="7276371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ṧḻiḓe">
              <a:extLst>
                <a:ext uri="{FF2B5EF4-FFF2-40B4-BE49-F238E27FC236}">
                  <a16:creationId xmlns:a16="http://schemas.microsoft.com/office/drawing/2014/main" id="{E946A266-9992-4898-9673-1C850A12D2EF}"/>
                </a:ext>
              </a:extLst>
            </p:cNvPr>
            <p:cNvSpPr/>
            <p:nvPr/>
          </p:nvSpPr>
          <p:spPr bwMode="auto">
            <a:xfrm>
              <a:off x="7276371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ïsľîďè">
              <a:extLst>
                <a:ext uri="{FF2B5EF4-FFF2-40B4-BE49-F238E27FC236}">
                  <a16:creationId xmlns:a16="http://schemas.microsoft.com/office/drawing/2014/main" id="{D11EC235-F977-4296-BE75-59E94D94B951}"/>
                </a:ext>
              </a:extLst>
            </p:cNvPr>
            <p:cNvSpPr/>
            <p:nvPr/>
          </p:nvSpPr>
          <p:spPr bwMode="auto">
            <a:xfrm>
              <a:off x="7495582" y="2211397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Sḷíďe">
              <a:extLst>
                <a:ext uri="{FF2B5EF4-FFF2-40B4-BE49-F238E27FC236}">
                  <a16:creationId xmlns:a16="http://schemas.microsoft.com/office/drawing/2014/main" id="{283DC796-310E-46EE-8A11-7E8DC54D4052}"/>
                </a:ext>
              </a:extLst>
            </p:cNvPr>
            <p:cNvSpPr/>
            <p:nvPr/>
          </p:nvSpPr>
          <p:spPr bwMode="auto">
            <a:xfrm>
              <a:off x="7716200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ṡḷiḓê">
              <a:extLst>
                <a:ext uri="{FF2B5EF4-FFF2-40B4-BE49-F238E27FC236}">
                  <a16:creationId xmlns:a16="http://schemas.microsoft.com/office/drawing/2014/main" id="{118BBC12-D12C-4624-B712-1B0011CDB9DD}"/>
                </a:ext>
              </a:extLst>
            </p:cNvPr>
            <p:cNvSpPr/>
            <p:nvPr/>
          </p:nvSpPr>
          <p:spPr bwMode="auto">
            <a:xfrm>
              <a:off x="7934006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işļidè">
              <a:extLst>
                <a:ext uri="{FF2B5EF4-FFF2-40B4-BE49-F238E27FC236}">
                  <a16:creationId xmlns:a16="http://schemas.microsoft.com/office/drawing/2014/main" id="{4655ADAD-0E57-47B1-BB6E-A9D6D8E3D253}"/>
                </a:ext>
              </a:extLst>
            </p:cNvPr>
            <p:cNvSpPr/>
            <p:nvPr/>
          </p:nvSpPr>
          <p:spPr bwMode="auto">
            <a:xfrm>
              <a:off x="7934006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îṧļïḑé">
              <a:extLst>
                <a:ext uri="{FF2B5EF4-FFF2-40B4-BE49-F238E27FC236}">
                  <a16:creationId xmlns:a16="http://schemas.microsoft.com/office/drawing/2014/main" id="{E28CD7EA-8068-407A-8A3F-D707D227D35C}"/>
                </a:ext>
              </a:extLst>
            </p:cNvPr>
            <p:cNvSpPr/>
            <p:nvPr/>
          </p:nvSpPr>
          <p:spPr bwMode="auto">
            <a:xfrm>
              <a:off x="8154623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Sľîḓe">
              <a:extLst>
                <a:ext uri="{FF2B5EF4-FFF2-40B4-BE49-F238E27FC236}">
                  <a16:creationId xmlns:a16="http://schemas.microsoft.com/office/drawing/2014/main" id="{9F8A7046-E997-40D5-8A1D-BFB43AB12DE9}"/>
                </a:ext>
              </a:extLst>
            </p:cNvPr>
            <p:cNvSpPr/>
            <p:nvPr/>
          </p:nvSpPr>
          <p:spPr bwMode="auto">
            <a:xfrm>
              <a:off x="8154623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íşľïḍè">
              <a:extLst>
                <a:ext uri="{FF2B5EF4-FFF2-40B4-BE49-F238E27FC236}">
                  <a16:creationId xmlns:a16="http://schemas.microsoft.com/office/drawing/2014/main" id="{95B9DE68-0183-466B-897B-3C362F7DFC9D}"/>
                </a:ext>
              </a:extLst>
            </p:cNvPr>
            <p:cNvSpPr/>
            <p:nvPr/>
          </p:nvSpPr>
          <p:spPr bwMode="auto">
            <a:xfrm>
              <a:off x="8373834" y="2211397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ṧľîḋe">
              <a:extLst>
                <a:ext uri="{FF2B5EF4-FFF2-40B4-BE49-F238E27FC236}">
                  <a16:creationId xmlns:a16="http://schemas.microsoft.com/office/drawing/2014/main" id="{BAC404A9-FE86-4BD2-B56E-B2F4A1BA6EA8}"/>
                </a:ext>
              </a:extLst>
            </p:cNvPr>
            <p:cNvSpPr/>
            <p:nvPr/>
          </p:nvSpPr>
          <p:spPr bwMode="auto">
            <a:xfrm>
              <a:off x="8594451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ïsḻidê">
              <a:extLst>
                <a:ext uri="{FF2B5EF4-FFF2-40B4-BE49-F238E27FC236}">
                  <a16:creationId xmlns:a16="http://schemas.microsoft.com/office/drawing/2014/main" id="{F559CDC3-1F44-49EC-B5C8-A086CC0FF94F}"/>
                </a:ext>
              </a:extLst>
            </p:cNvPr>
            <p:cNvSpPr/>
            <p:nvPr/>
          </p:nvSpPr>
          <p:spPr bwMode="auto">
            <a:xfrm>
              <a:off x="3650948" y="2499464"/>
              <a:ext cx="51993" cy="75881"/>
            </a:xfrm>
            <a:custGeom>
              <a:avLst/>
              <a:gdLst>
                <a:gd name="T0" fmla="*/ 33 w 33"/>
                <a:gd name="T1" fmla="*/ 0 h 48"/>
                <a:gd name="T2" fmla="*/ 33 w 33"/>
                <a:gd name="T3" fmla="*/ 48 h 48"/>
                <a:gd name="T4" fmla="*/ 0 w 33"/>
                <a:gd name="T5" fmla="*/ 48 h 48"/>
                <a:gd name="T6" fmla="*/ 33 w 33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48">
                  <a:moveTo>
                    <a:pt x="33" y="0"/>
                  </a:moveTo>
                  <a:cubicBezTo>
                    <a:pt x="33" y="48"/>
                    <a:pt x="33" y="48"/>
                    <a:pt x="33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" y="32"/>
                    <a:pt x="22" y="15"/>
                    <a:pt x="33" y="0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ṧḻïde">
              <a:extLst>
                <a:ext uri="{FF2B5EF4-FFF2-40B4-BE49-F238E27FC236}">
                  <a16:creationId xmlns:a16="http://schemas.microsoft.com/office/drawing/2014/main" id="{2E41A7EF-E627-4274-B581-5A95032EA891}"/>
                </a:ext>
              </a:extLst>
            </p:cNvPr>
            <p:cNvSpPr/>
            <p:nvPr/>
          </p:nvSpPr>
          <p:spPr bwMode="auto">
            <a:xfrm>
              <a:off x="3763364" y="2415152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ṩľíḍê">
              <a:extLst>
                <a:ext uri="{FF2B5EF4-FFF2-40B4-BE49-F238E27FC236}">
                  <a16:creationId xmlns:a16="http://schemas.microsoft.com/office/drawing/2014/main" id="{1B83A88F-6CDC-4CE6-8F04-31417675EC10}"/>
                </a:ext>
              </a:extLst>
            </p:cNvPr>
            <p:cNvSpPr/>
            <p:nvPr/>
          </p:nvSpPr>
          <p:spPr bwMode="auto">
            <a:xfrm>
              <a:off x="3763364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ïśļîďê">
              <a:extLst>
                <a:ext uri="{FF2B5EF4-FFF2-40B4-BE49-F238E27FC236}">
                  <a16:creationId xmlns:a16="http://schemas.microsoft.com/office/drawing/2014/main" id="{0084A25C-2A3D-4CB5-BE8C-F4C66022EF87}"/>
                </a:ext>
              </a:extLst>
            </p:cNvPr>
            <p:cNvSpPr/>
            <p:nvPr/>
          </p:nvSpPr>
          <p:spPr bwMode="auto">
            <a:xfrm>
              <a:off x="3981171" y="2415152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í$ľiḓè">
              <a:extLst>
                <a:ext uri="{FF2B5EF4-FFF2-40B4-BE49-F238E27FC236}">
                  <a16:creationId xmlns:a16="http://schemas.microsoft.com/office/drawing/2014/main" id="{4BFD81CC-6CA4-4BB5-9DCD-D4578231A05B}"/>
                </a:ext>
              </a:extLst>
            </p:cNvPr>
            <p:cNvSpPr/>
            <p:nvPr/>
          </p:nvSpPr>
          <p:spPr bwMode="auto">
            <a:xfrm>
              <a:off x="4201787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ïṧľídè">
              <a:extLst>
                <a:ext uri="{FF2B5EF4-FFF2-40B4-BE49-F238E27FC236}">
                  <a16:creationId xmlns:a16="http://schemas.microsoft.com/office/drawing/2014/main" id="{EE543391-4ADA-4614-AAC3-E6241AC867C8}"/>
                </a:ext>
              </a:extLst>
            </p:cNvPr>
            <p:cNvSpPr/>
            <p:nvPr/>
          </p:nvSpPr>
          <p:spPr bwMode="auto">
            <a:xfrm>
              <a:off x="4201787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šḻîde">
              <a:extLst>
                <a:ext uri="{FF2B5EF4-FFF2-40B4-BE49-F238E27FC236}">
                  <a16:creationId xmlns:a16="http://schemas.microsoft.com/office/drawing/2014/main" id="{26D94913-EEB8-48EB-BF7D-965E8BED09F1}"/>
                </a:ext>
              </a:extLst>
            </p:cNvPr>
            <p:cNvSpPr/>
            <p:nvPr/>
          </p:nvSpPr>
          <p:spPr bwMode="auto">
            <a:xfrm>
              <a:off x="4420999" y="2415152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iśḻíde">
              <a:extLst>
                <a:ext uri="{FF2B5EF4-FFF2-40B4-BE49-F238E27FC236}">
                  <a16:creationId xmlns:a16="http://schemas.microsoft.com/office/drawing/2014/main" id="{B5816252-EEA3-4CAA-B67A-B0A976C912BA}"/>
                </a:ext>
              </a:extLst>
            </p:cNvPr>
            <p:cNvSpPr/>
            <p:nvPr/>
          </p:nvSpPr>
          <p:spPr bwMode="auto">
            <a:xfrm>
              <a:off x="4420999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sľíďe">
              <a:extLst>
                <a:ext uri="{FF2B5EF4-FFF2-40B4-BE49-F238E27FC236}">
                  <a16:creationId xmlns:a16="http://schemas.microsoft.com/office/drawing/2014/main" id="{91888063-0536-482D-B639-94CF1DDED730}"/>
                </a:ext>
              </a:extLst>
            </p:cNvPr>
            <p:cNvSpPr/>
            <p:nvPr/>
          </p:nvSpPr>
          <p:spPr bwMode="auto">
            <a:xfrm>
              <a:off x="4640211" y="2415152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î$liḑê">
              <a:extLst>
                <a:ext uri="{FF2B5EF4-FFF2-40B4-BE49-F238E27FC236}">
                  <a16:creationId xmlns:a16="http://schemas.microsoft.com/office/drawing/2014/main" id="{14E4EEFC-0C9E-4947-A555-8475060BBC1B}"/>
                </a:ext>
              </a:extLst>
            </p:cNvPr>
            <p:cNvSpPr/>
            <p:nvPr/>
          </p:nvSpPr>
          <p:spPr bwMode="auto">
            <a:xfrm>
              <a:off x="4640211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ṩḻîďè">
              <a:extLst>
                <a:ext uri="{FF2B5EF4-FFF2-40B4-BE49-F238E27FC236}">
                  <a16:creationId xmlns:a16="http://schemas.microsoft.com/office/drawing/2014/main" id="{FBEDDE82-4B66-4416-87EF-14B777CED3ED}"/>
                </a:ext>
              </a:extLst>
            </p:cNvPr>
            <p:cNvSpPr/>
            <p:nvPr/>
          </p:nvSpPr>
          <p:spPr bwMode="auto">
            <a:xfrm>
              <a:off x="4860828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ṡľïḓé">
              <a:extLst>
                <a:ext uri="{FF2B5EF4-FFF2-40B4-BE49-F238E27FC236}">
                  <a16:creationId xmlns:a16="http://schemas.microsoft.com/office/drawing/2014/main" id="{38FDC03E-90F9-4760-B527-0EF346205E50}"/>
                </a:ext>
              </a:extLst>
            </p:cNvPr>
            <p:cNvSpPr/>
            <p:nvPr/>
          </p:nvSpPr>
          <p:spPr bwMode="auto">
            <a:xfrm>
              <a:off x="4860828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ï$lîḍé">
              <a:extLst>
                <a:ext uri="{FF2B5EF4-FFF2-40B4-BE49-F238E27FC236}">
                  <a16:creationId xmlns:a16="http://schemas.microsoft.com/office/drawing/2014/main" id="{CCD3D1A0-4E9B-4C5D-A399-C161B131F59B}"/>
                </a:ext>
              </a:extLst>
            </p:cNvPr>
            <p:cNvSpPr/>
            <p:nvPr/>
          </p:nvSpPr>
          <p:spPr bwMode="auto">
            <a:xfrm>
              <a:off x="5080039" y="2415152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ïs1íḋé">
              <a:extLst>
                <a:ext uri="{FF2B5EF4-FFF2-40B4-BE49-F238E27FC236}">
                  <a16:creationId xmlns:a16="http://schemas.microsoft.com/office/drawing/2014/main" id="{CB4CFE0D-063B-4D51-8D6E-7B9979061159}"/>
                </a:ext>
              </a:extLst>
            </p:cNvPr>
            <p:cNvSpPr/>
            <p:nvPr/>
          </p:nvSpPr>
          <p:spPr bwMode="auto">
            <a:xfrm>
              <a:off x="5299251" y="2415152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ṥḻíḓê">
              <a:extLst>
                <a:ext uri="{FF2B5EF4-FFF2-40B4-BE49-F238E27FC236}">
                  <a16:creationId xmlns:a16="http://schemas.microsoft.com/office/drawing/2014/main" id="{57EF7514-4E6A-47A3-84A0-E846CA0CA686}"/>
                </a:ext>
              </a:extLst>
            </p:cNvPr>
            <p:cNvSpPr/>
            <p:nvPr/>
          </p:nvSpPr>
          <p:spPr bwMode="auto">
            <a:xfrm>
              <a:off x="5299251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iṡliḋé">
              <a:extLst>
                <a:ext uri="{FF2B5EF4-FFF2-40B4-BE49-F238E27FC236}">
                  <a16:creationId xmlns:a16="http://schemas.microsoft.com/office/drawing/2014/main" id="{0198CC21-1EB8-4AFD-ABAE-6C06188767AC}"/>
                </a:ext>
              </a:extLst>
            </p:cNvPr>
            <p:cNvSpPr/>
            <p:nvPr/>
          </p:nvSpPr>
          <p:spPr bwMode="auto">
            <a:xfrm>
              <a:off x="5518463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iṣľîďé">
              <a:extLst>
                <a:ext uri="{FF2B5EF4-FFF2-40B4-BE49-F238E27FC236}">
                  <a16:creationId xmlns:a16="http://schemas.microsoft.com/office/drawing/2014/main" id="{26A0C949-2118-4E48-9016-CF5DEAE2A9A7}"/>
                </a:ext>
              </a:extLst>
            </p:cNvPr>
            <p:cNvSpPr/>
            <p:nvPr/>
          </p:nvSpPr>
          <p:spPr bwMode="auto">
            <a:xfrm>
              <a:off x="5518463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îşlïḍé">
              <a:extLst>
                <a:ext uri="{FF2B5EF4-FFF2-40B4-BE49-F238E27FC236}">
                  <a16:creationId xmlns:a16="http://schemas.microsoft.com/office/drawing/2014/main" id="{57083B27-5B63-4599-B093-B48D263E1F01}"/>
                </a:ext>
              </a:extLst>
            </p:cNvPr>
            <p:cNvSpPr/>
            <p:nvPr/>
          </p:nvSpPr>
          <p:spPr bwMode="auto">
            <a:xfrm>
              <a:off x="5739079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ïSḷïḋé">
              <a:extLst>
                <a:ext uri="{FF2B5EF4-FFF2-40B4-BE49-F238E27FC236}">
                  <a16:creationId xmlns:a16="http://schemas.microsoft.com/office/drawing/2014/main" id="{8D344C8B-AC76-402A-8437-0441CDEB3C44}"/>
                </a:ext>
              </a:extLst>
            </p:cNvPr>
            <p:cNvSpPr/>
            <p:nvPr/>
          </p:nvSpPr>
          <p:spPr bwMode="auto">
            <a:xfrm>
              <a:off x="5739079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ş1íḑè">
              <a:extLst>
                <a:ext uri="{FF2B5EF4-FFF2-40B4-BE49-F238E27FC236}">
                  <a16:creationId xmlns:a16="http://schemas.microsoft.com/office/drawing/2014/main" id="{1CFF3B9F-A4B2-4821-993E-4768096CF25F}"/>
                </a:ext>
              </a:extLst>
            </p:cNvPr>
            <p:cNvSpPr/>
            <p:nvPr/>
          </p:nvSpPr>
          <p:spPr bwMode="auto">
            <a:xfrm>
              <a:off x="5958291" y="2415152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íSļîḓè">
              <a:extLst>
                <a:ext uri="{FF2B5EF4-FFF2-40B4-BE49-F238E27FC236}">
                  <a16:creationId xmlns:a16="http://schemas.microsoft.com/office/drawing/2014/main" id="{0E5F4CA9-4F61-4A28-89FD-8AB9A190D89B}"/>
                </a:ext>
              </a:extLst>
            </p:cNvPr>
            <p:cNvSpPr/>
            <p:nvPr/>
          </p:nvSpPr>
          <p:spPr bwMode="auto">
            <a:xfrm>
              <a:off x="6178908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íṧḻîḑê">
              <a:extLst>
                <a:ext uri="{FF2B5EF4-FFF2-40B4-BE49-F238E27FC236}">
                  <a16:creationId xmlns:a16="http://schemas.microsoft.com/office/drawing/2014/main" id="{3B0DC617-6420-4B00-B1CF-691E7C7D3EB0}"/>
                </a:ext>
              </a:extLst>
            </p:cNvPr>
            <p:cNvSpPr/>
            <p:nvPr/>
          </p:nvSpPr>
          <p:spPr bwMode="auto">
            <a:xfrm>
              <a:off x="6178908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i$líḓè">
              <a:extLst>
                <a:ext uri="{FF2B5EF4-FFF2-40B4-BE49-F238E27FC236}">
                  <a16:creationId xmlns:a16="http://schemas.microsoft.com/office/drawing/2014/main" id="{AEB73722-4E87-4309-A0BC-1AC19044F628}"/>
                </a:ext>
              </a:extLst>
            </p:cNvPr>
            <p:cNvSpPr/>
            <p:nvPr/>
          </p:nvSpPr>
          <p:spPr bwMode="auto">
            <a:xfrm>
              <a:off x="6398120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ís1íḑê">
              <a:extLst>
                <a:ext uri="{FF2B5EF4-FFF2-40B4-BE49-F238E27FC236}">
                  <a16:creationId xmlns:a16="http://schemas.microsoft.com/office/drawing/2014/main" id="{7BD309CB-4E21-4E40-89A9-D2AB64D68B23}"/>
                </a:ext>
              </a:extLst>
            </p:cNvPr>
            <p:cNvSpPr/>
            <p:nvPr/>
          </p:nvSpPr>
          <p:spPr bwMode="auto">
            <a:xfrm>
              <a:off x="6398120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iṩ1îḍè">
              <a:extLst>
                <a:ext uri="{FF2B5EF4-FFF2-40B4-BE49-F238E27FC236}">
                  <a16:creationId xmlns:a16="http://schemas.microsoft.com/office/drawing/2014/main" id="{E5D54478-2025-49D1-91FC-1D8143FB73EA}"/>
                </a:ext>
              </a:extLst>
            </p:cNvPr>
            <p:cNvSpPr/>
            <p:nvPr/>
          </p:nvSpPr>
          <p:spPr bwMode="auto">
            <a:xfrm>
              <a:off x="6618736" y="2415152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îṧḻïḍê">
              <a:extLst>
                <a:ext uri="{FF2B5EF4-FFF2-40B4-BE49-F238E27FC236}">
                  <a16:creationId xmlns:a16="http://schemas.microsoft.com/office/drawing/2014/main" id="{A5B2A088-8B79-4574-B3D3-81D308009983}"/>
                </a:ext>
              </a:extLst>
            </p:cNvPr>
            <p:cNvSpPr/>
            <p:nvPr/>
          </p:nvSpPr>
          <p:spPr bwMode="auto">
            <a:xfrm>
              <a:off x="6618736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islïḑé">
              <a:extLst>
                <a:ext uri="{FF2B5EF4-FFF2-40B4-BE49-F238E27FC236}">
                  <a16:creationId xmlns:a16="http://schemas.microsoft.com/office/drawing/2014/main" id="{EE3DA3F4-D275-4BFF-B528-9D687A5BDFF0}"/>
                </a:ext>
              </a:extLst>
            </p:cNvPr>
            <p:cNvSpPr/>
            <p:nvPr/>
          </p:nvSpPr>
          <p:spPr bwMode="auto">
            <a:xfrm>
              <a:off x="6836543" y="2415152"/>
              <a:ext cx="161599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102 h 102"/>
                <a:gd name="T6" fmla="*/ 96 w 102"/>
                <a:gd name="T7" fmla="*/ 102 h 102"/>
                <a:gd name="T8" fmla="*/ 102 w 102"/>
                <a:gd name="T9" fmla="*/ 100 h 102"/>
                <a:gd name="T10" fmla="*/ 102 w 102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8" y="101"/>
                    <a:pt x="100" y="101"/>
                    <a:pt x="102" y="100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î$ľïḑe">
              <a:extLst>
                <a:ext uri="{FF2B5EF4-FFF2-40B4-BE49-F238E27FC236}">
                  <a16:creationId xmlns:a16="http://schemas.microsoft.com/office/drawing/2014/main" id="{41788442-2012-40ED-8AFB-9CBC5211362F}"/>
                </a:ext>
              </a:extLst>
            </p:cNvPr>
            <p:cNvSpPr/>
            <p:nvPr/>
          </p:nvSpPr>
          <p:spPr bwMode="auto">
            <a:xfrm>
              <a:off x="7057159" y="2415152"/>
              <a:ext cx="161599" cy="132089"/>
            </a:xfrm>
            <a:custGeom>
              <a:avLst/>
              <a:gdLst>
                <a:gd name="T0" fmla="*/ 102 w 102"/>
                <a:gd name="T1" fmla="*/ 0 h 84"/>
                <a:gd name="T2" fmla="*/ 0 w 102"/>
                <a:gd name="T3" fmla="*/ 0 h 84"/>
                <a:gd name="T4" fmla="*/ 0 w 102"/>
                <a:gd name="T5" fmla="*/ 84 h 84"/>
                <a:gd name="T6" fmla="*/ 2 w 102"/>
                <a:gd name="T7" fmla="*/ 82 h 84"/>
                <a:gd name="T8" fmla="*/ 29 w 102"/>
                <a:gd name="T9" fmla="*/ 71 h 84"/>
                <a:gd name="T10" fmla="*/ 38 w 102"/>
                <a:gd name="T11" fmla="*/ 71 h 84"/>
                <a:gd name="T12" fmla="*/ 50 w 102"/>
                <a:gd name="T13" fmla="*/ 72 h 84"/>
                <a:gd name="T14" fmla="*/ 102 w 102"/>
                <a:gd name="T15" fmla="*/ 81 h 84"/>
                <a:gd name="T16" fmla="*/ 102 w 10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84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1" y="83"/>
                    <a:pt x="1" y="83"/>
                    <a:pt x="2" y="82"/>
                  </a:cubicBezTo>
                  <a:cubicBezTo>
                    <a:pt x="11" y="78"/>
                    <a:pt x="20" y="73"/>
                    <a:pt x="29" y="71"/>
                  </a:cubicBezTo>
                  <a:cubicBezTo>
                    <a:pt x="32" y="71"/>
                    <a:pt x="35" y="71"/>
                    <a:pt x="38" y="71"/>
                  </a:cubicBezTo>
                  <a:cubicBezTo>
                    <a:pt x="42" y="71"/>
                    <a:pt x="46" y="71"/>
                    <a:pt x="50" y="72"/>
                  </a:cubicBezTo>
                  <a:cubicBezTo>
                    <a:pt x="68" y="74"/>
                    <a:pt x="85" y="77"/>
                    <a:pt x="102" y="81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ṡlïďé">
              <a:extLst>
                <a:ext uri="{FF2B5EF4-FFF2-40B4-BE49-F238E27FC236}">
                  <a16:creationId xmlns:a16="http://schemas.microsoft.com/office/drawing/2014/main" id="{72A9D09A-C52D-4797-A17C-E4C4157976BD}"/>
                </a:ext>
              </a:extLst>
            </p:cNvPr>
            <p:cNvSpPr/>
            <p:nvPr/>
          </p:nvSpPr>
          <p:spPr bwMode="auto">
            <a:xfrm>
              <a:off x="7276371" y="2415152"/>
              <a:ext cx="160193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91 h 102"/>
                <a:gd name="T6" fmla="*/ 27 w 102"/>
                <a:gd name="T7" fmla="*/ 100 h 102"/>
                <a:gd name="T8" fmla="*/ 32 w 102"/>
                <a:gd name="T9" fmla="*/ 102 h 102"/>
                <a:gd name="T10" fmla="*/ 102 w 102"/>
                <a:gd name="T11" fmla="*/ 102 h 102"/>
                <a:gd name="T12" fmla="*/ 102 w 102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9" y="94"/>
                    <a:pt x="18" y="97"/>
                    <a:pt x="27" y="100"/>
                  </a:cubicBezTo>
                  <a:cubicBezTo>
                    <a:pt x="29" y="101"/>
                    <a:pt x="30" y="101"/>
                    <a:pt x="32" y="102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íSľïḍè">
              <a:extLst>
                <a:ext uri="{FF2B5EF4-FFF2-40B4-BE49-F238E27FC236}">
                  <a16:creationId xmlns:a16="http://schemas.microsoft.com/office/drawing/2014/main" id="{377AE691-D8F7-49AE-BE4B-A95FF3E8781C}"/>
                </a:ext>
              </a:extLst>
            </p:cNvPr>
            <p:cNvSpPr/>
            <p:nvPr/>
          </p:nvSpPr>
          <p:spPr bwMode="auto">
            <a:xfrm>
              <a:off x="7495582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íṧľîdê">
              <a:extLst>
                <a:ext uri="{FF2B5EF4-FFF2-40B4-BE49-F238E27FC236}">
                  <a16:creationId xmlns:a16="http://schemas.microsoft.com/office/drawing/2014/main" id="{520DB9C9-1479-40FA-8D6B-88DA9C132096}"/>
                </a:ext>
              </a:extLst>
            </p:cNvPr>
            <p:cNvSpPr/>
            <p:nvPr/>
          </p:nvSpPr>
          <p:spPr bwMode="auto">
            <a:xfrm>
              <a:off x="7495582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ï$ḻíḋé">
              <a:extLst>
                <a:ext uri="{FF2B5EF4-FFF2-40B4-BE49-F238E27FC236}">
                  <a16:creationId xmlns:a16="http://schemas.microsoft.com/office/drawing/2014/main" id="{CCB795AB-76A5-419F-8445-42566DB57631}"/>
                </a:ext>
              </a:extLst>
            </p:cNvPr>
            <p:cNvSpPr/>
            <p:nvPr/>
          </p:nvSpPr>
          <p:spPr bwMode="auto">
            <a:xfrm>
              <a:off x="7716200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iṥļíḑè">
              <a:extLst>
                <a:ext uri="{FF2B5EF4-FFF2-40B4-BE49-F238E27FC236}">
                  <a16:creationId xmlns:a16="http://schemas.microsoft.com/office/drawing/2014/main" id="{6EF8F700-B781-4DAD-AEF1-4391C69CF98B}"/>
                </a:ext>
              </a:extLst>
            </p:cNvPr>
            <p:cNvSpPr/>
            <p:nvPr/>
          </p:nvSpPr>
          <p:spPr bwMode="auto">
            <a:xfrm>
              <a:off x="7716200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í$ḻiḋe">
              <a:extLst>
                <a:ext uri="{FF2B5EF4-FFF2-40B4-BE49-F238E27FC236}">
                  <a16:creationId xmlns:a16="http://schemas.microsoft.com/office/drawing/2014/main" id="{0BA03AD3-47EE-4F41-B425-60BE3C071305}"/>
                </a:ext>
              </a:extLst>
            </p:cNvPr>
            <p:cNvSpPr/>
            <p:nvPr/>
          </p:nvSpPr>
          <p:spPr bwMode="auto">
            <a:xfrm>
              <a:off x="7934006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iṧḻíḑè">
              <a:extLst>
                <a:ext uri="{FF2B5EF4-FFF2-40B4-BE49-F238E27FC236}">
                  <a16:creationId xmlns:a16="http://schemas.microsoft.com/office/drawing/2014/main" id="{47336BF9-64C3-4732-A736-EFFE32A7BD14}"/>
                </a:ext>
              </a:extLst>
            </p:cNvPr>
            <p:cNvSpPr/>
            <p:nvPr/>
          </p:nvSpPr>
          <p:spPr bwMode="auto">
            <a:xfrm>
              <a:off x="7934006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íṡḷïḍê">
              <a:extLst>
                <a:ext uri="{FF2B5EF4-FFF2-40B4-BE49-F238E27FC236}">
                  <a16:creationId xmlns:a16="http://schemas.microsoft.com/office/drawing/2014/main" id="{365A48D3-CE9E-46A3-9008-27A74220ADE2}"/>
                </a:ext>
              </a:extLst>
            </p:cNvPr>
            <p:cNvSpPr/>
            <p:nvPr/>
          </p:nvSpPr>
          <p:spPr bwMode="auto">
            <a:xfrm>
              <a:off x="8154623" y="2415152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islîdè">
              <a:extLst>
                <a:ext uri="{FF2B5EF4-FFF2-40B4-BE49-F238E27FC236}">
                  <a16:creationId xmlns:a16="http://schemas.microsoft.com/office/drawing/2014/main" id="{E0C33636-C7C0-43A5-B144-A8AE66008620}"/>
                </a:ext>
              </a:extLst>
            </p:cNvPr>
            <p:cNvSpPr/>
            <p:nvPr/>
          </p:nvSpPr>
          <p:spPr bwMode="auto">
            <a:xfrm>
              <a:off x="8373834" y="2415152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iš1îḑè">
              <a:extLst>
                <a:ext uri="{FF2B5EF4-FFF2-40B4-BE49-F238E27FC236}">
                  <a16:creationId xmlns:a16="http://schemas.microsoft.com/office/drawing/2014/main" id="{9CEA5657-0F82-44B8-8FA3-5B3C45440DA0}"/>
                </a:ext>
              </a:extLst>
            </p:cNvPr>
            <p:cNvSpPr/>
            <p:nvPr/>
          </p:nvSpPr>
          <p:spPr bwMode="auto">
            <a:xfrm>
              <a:off x="8594451" y="2415152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ïşľiḍè">
              <a:extLst>
                <a:ext uri="{FF2B5EF4-FFF2-40B4-BE49-F238E27FC236}">
                  <a16:creationId xmlns:a16="http://schemas.microsoft.com/office/drawing/2014/main" id="{AFFE9E80-F720-4608-A8CE-615353C3C5C8}"/>
                </a:ext>
              </a:extLst>
            </p:cNvPr>
            <p:cNvSpPr/>
            <p:nvPr/>
          </p:nvSpPr>
          <p:spPr bwMode="auto">
            <a:xfrm>
              <a:off x="3102919" y="2666682"/>
              <a:ext cx="160193" cy="111011"/>
            </a:xfrm>
            <a:custGeom>
              <a:avLst/>
              <a:gdLst>
                <a:gd name="T0" fmla="*/ 102 w 102"/>
                <a:gd name="T1" fmla="*/ 0 h 71"/>
                <a:gd name="T2" fmla="*/ 0 w 102"/>
                <a:gd name="T3" fmla="*/ 37 h 71"/>
                <a:gd name="T4" fmla="*/ 0 w 102"/>
                <a:gd name="T5" fmla="*/ 71 h 71"/>
                <a:gd name="T6" fmla="*/ 102 w 102"/>
                <a:gd name="T7" fmla="*/ 71 h 71"/>
                <a:gd name="T8" fmla="*/ 102 w 10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71">
                  <a:moveTo>
                    <a:pt x="102" y="0"/>
                  </a:moveTo>
                  <a:cubicBezTo>
                    <a:pt x="67" y="10"/>
                    <a:pt x="33" y="22"/>
                    <a:pt x="0" y="37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02" y="71"/>
                    <a:pt x="102" y="71"/>
                    <a:pt x="102" y="71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íśľíḑè">
              <a:extLst>
                <a:ext uri="{FF2B5EF4-FFF2-40B4-BE49-F238E27FC236}">
                  <a16:creationId xmlns:a16="http://schemas.microsoft.com/office/drawing/2014/main" id="{947D99C1-3643-4C8F-8BC3-20E407FAEC5B}"/>
                </a:ext>
              </a:extLst>
            </p:cNvPr>
            <p:cNvSpPr/>
            <p:nvPr/>
          </p:nvSpPr>
          <p:spPr bwMode="auto">
            <a:xfrm>
              <a:off x="3323536" y="2630147"/>
              <a:ext cx="160193" cy="147547"/>
            </a:xfrm>
            <a:custGeom>
              <a:avLst/>
              <a:gdLst>
                <a:gd name="T0" fmla="*/ 114 w 114"/>
                <a:gd name="T1" fmla="*/ 0 h 105"/>
                <a:gd name="T2" fmla="*/ 0 w 114"/>
                <a:gd name="T3" fmla="*/ 16 h 105"/>
                <a:gd name="T4" fmla="*/ 0 w 114"/>
                <a:gd name="T5" fmla="*/ 105 h 105"/>
                <a:gd name="T6" fmla="*/ 114 w 114"/>
                <a:gd name="T7" fmla="*/ 105 h 105"/>
                <a:gd name="T8" fmla="*/ 114 w 114"/>
                <a:gd name="T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05">
                  <a:moveTo>
                    <a:pt x="114" y="0"/>
                  </a:moveTo>
                  <a:lnTo>
                    <a:pt x="0" y="16"/>
                  </a:lnTo>
                  <a:lnTo>
                    <a:pt x="0" y="105"/>
                  </a:lnTo>
                  <a:lnTo>
                    <a:pt x="114" y="105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ïṡļîdê">
              <a:extLst>
                <a:ext uri="{FF2B5EF4-FFF2-40B4-BE49-F238E27FC236}">
                  <a16:creationId xmlns:a16="http://schemas.microsoft.com/office/drawing/2014/main" id="{3DEE36A8-8122-45E9-AEC8-B516AA277B3E}"/>
                </a:ext>
              </a:extLst>
            </p:cNvPr>
            <p:cNvSpPr/>
            <p:nvPr/>
          </p:nvSpPr>
          <p:spPr bwMode="auto">
            <a:xfrm>
              <a:off x="3323536" y="2630147"/>
              <a:ext cx="160193" cy="147547"/>
            </a:xfrm>
            <a:custGeom>
              <a:avLst/>
              <a:gdLst>
                <a:gd name="T0" fmla="*/ 114 w 114"/>
                <a:gd name="T1" fmla="*/ 0 h 105"/>
                <a:gd name="T2" fmla="*/ 0 w 114"/>
                <a:gd name="T3" fmla="*/ 16 h 105"/>
                <a:gd name="T4" fmla="*/ 0 w 114"/>
                <a:gd name="T5" fmla="*/ 105 h 105"/>
                <a:gd name="T6" fmla="*/ 114 w 114"/>
                <a:gd name="T7" fmla="*/ 105 h 105"/>
                <a:gd name="T8" fmla="*/ 114 w 114"/>
                <a:gd name="T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05">
                  <a:moveTo>
                    <a:pt x="114" y="0"/>
                  </a:moveTo>
                  <a:lnTo>
                    <a:pt x="0" y="16"/>
                  </a:lnTo>
                  <a:lnTo>
                    <a:pt x="0" y="105"/>
                  </a:lnTo>
                  <a:lnTo>
                    <a:pt x="114" y="105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ïs1ïḋè">
              <a:extLst>
                <a:ext uri="{FF2B5EF4-FFF2-40B4-BE49-F238E27FC236}">
                  <a16:creationId xmlns:a16="http://schemas.microsoft.com/office/drawing/2014/main" id="{0A472D07-4FCB-46DA-BD43-CED78DC5FA26}"/>
                </a:ext>
              </a:extLst>
            </p:cNvPr>
            <p:cNvSpPr/>
            <p:nvPr/>
          </p:nvSpPr>
          <p:spPr bwMode="auto">
            <a:xfrm>
              <a:off x="3542748" y="2617501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iŝ1íďè">
              <a:extLst>
                <a:ext uri="{FF2B5EF4-FFF2-40B4-BE49-F238E27FC236}">
                  <a16:creationId xmlns:a16="http://schemas.microsoft.com/office/drawing/2014/main" id="{AADF37F9-EAA6-430D-82B8-09E315B2A577}"/>
                </a:ext>
              </a:extLst>
            </p:cNvPr>
            <p:cNvSpPr/>
            <p:nvPr/>
          </p:nvSpPr>
          <p:spPr bwMode="auto">
            <a:xfrm>
              <a:off x="3763364" y="2617501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ïṩ1îḑé">
              <a:extLst>
                <a:ext uri="{FF2B5EF4-FFF2-40B4-BE49-F238E27FC236}">
                  <a16:creationId xmlns:a16="http://schemas.microsoft.com/office/drawing/2014/main" id="{3C249E51-11CA-4192-BF9E-F514A31CA791}"/>
                </a:ext>
              </a:extLst>
            </p:cNvPr>
            <p:cNvSpPr/>
            <p:nvPr/>
          </p:nvSpPr>
          <p:spPr bwMode="auto">
            <a:xfrm>
              <a:off x="3763364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ïśḻíḑe">
              <a:extLst>
                <a:ext uri="{FF2B5EF4-FFF2-40B4-BE49-F238E27FC236}">
                  <a16:creationId xmlns:a16="http://schemas.microsoft.com/office/drawing/2014/main" id="{37C91A32-49B1-4928-A0E3-1D5552902627}"/>
                </a:ext>
              </a:extLst>
            </p:cNvPr>
            <p:cNvSpPr/>
            <p:nvPr/>
          </p:nvSpPr>
          <p:spPr bwMode="auto">
            <a:xfrm>
              <a:off x="3981171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íṧļïḓê">
              <a:extLst>
                <a:ext uri="{FF2B5EF4-FFF2-40B4-BE49-F238E27FC236}">
                  <a16:creationId xmlns:a16="http://schemas.microsoft.com/office/drawing/2014/main" id="{6295DA1F-4280-4435-A065-154FB704DB69}"/>
                </a:ext>
              </a:extLst>
            </p:cNvPr>
            <p:cNvSpPr/>
            <p:nvPr/>
          </p:nvSpPr>
          <p:spPr bwMode="auto">
            <a:xfrm>
              <a:off x="4201787" y="2617501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ïṥḷíḓè">
              <a:extLst>
                <a:ext uri="{FF2B5EF4-FFF2-40B4-BE49-F238E27FC236}">
                  <a16:creationId xmlns:a16="http://schemas.microsoft.com/office/drawing/2014/main" id="{40B7091F-66A6-45EA-8D7A-9D07A9020603}"/>
                </a:ext>
              </a:extLst>
            </p:cNvPr>
            <p:cNvSpPr/>
            <p:nvPr/>
          </p:nvSpPr>
          <p:spPr bwMode="auto">
            <a:xfrm>
              <a:off x="4201787" y="2617501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íSḷïḓé">
              <a:extLst>
                <a:ext uri="{FF2B5EF4-FFF2-40B4-BE49-F238E27FC236}">
                  <a16:creationId xmlns:a16="http://schemas.microsoft.com/office/drawing/2014/main" id="{9FB1ABB6-E666-4585-A84B-CFBDF3BF4F60}"/>
                </a:ext>
              </a:extLst>
            </p:cNvPr>
            <p:cNvSpPr/>
            <p:nvPr/>
          </p:nvSpPr>
          <p:spPr bwMode="auto">
            <a:xfrm>
              <a:off x="4420999" y="2617501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iSľiḑe">
              <a:extLst>
                <a:ext uri="{FF2B5EF4-FFF2-40B4-BE49-F238E27FC236}">
                  <a16:creationId xmlns:a16="http://schemas.microsoft.com/office/drawing/2014/main" id="{4E757A0A-76C4-4D5D-B719-BB0946ABE3D8}"/>
                </a:ext>
              </a:extLst>
            </p:cNvPr>
            <p:cNvSpPr/>
            <p:nvPr/>
          </p:nvSpPr>
          <p:spPr bwMode="auto">
            <a:xfrm>
              <a:off x="4420999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iṡḷïḓê">
              <a:extLst>
                <a:ext uri="{FF2B5EF4-FFF2-40B4-BE49-F238E27FC236}">
                  <a16:creationId xmlns:a16="http://schemas.microsoft.com/office/drawing/2014/main" id="{686ED9BD-766F-46C3-9201-8FB63CC2A67D}"/>
                </a:ext>
              </a:extLst>
            </p:cNvPr>
            <p:cNvSpPr/>
            <p:nvPr/>
          </p:nvSpPr>
          <p:spPr bwMode="auto">
            <a:xfrm>
              <a:off x="4640211" y="2617501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ïṩļïḑè">
              <a:extLst>
                <a:ext uri="{FF2B5EF4-FFF2-40B4-BE49-F238E27FC236}">
                  <a16:creationId xmlns:a16="http://schemas.microsoft.com/office/drawing/2014/main" id="{ACF636E0-E090-4223-8090-83BE58F6812A}"/>
                </a:ext>
              </a:extLst>
            </p:cNvPr>
            <p:cNvSpPr/>
            <p:nvPr/>
          </p:nvSpPr>
          <p:spPr bwMode="auto">
            <a:xfrm>
              <a:off x="4640211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ïṡḻíḑè">
              <a:extLst>
                <a:ext uri="{FF2B5EF4-FFF2-40B4-BE49-F238E27FC236}">
                  <a16:creationId xmlns:a16="http://schemas.microsoft.com/office/drawing/2014/main" id="{40543CB8-60F8-4F3A-8AC6-687E62F4BFAB}"/>
                </a:ext>
              </a:extLst>
            </p:cNvPr>
            <p:cNvSpPr/>
            <p:nvPr/>
          </p:nvSpPr>
          <p:spPr bwMode="auto">
            <a:xfrm>
              <a:off x="4860828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îṣḷîḋé">
              <a:extLst>
                <a:ext uri="{FF2B5EF4-FFF2-40B4-BE49-F238E27FC236}">
                  <a16:creationId xmlns:a16="http://schemas.microsoft.com/office/drawing/2014/main" id="{945CEA6D-4584-465A-8E19-08E70CC9F103}"/>
                </a:ext>
              </a:extLst>
            </p:cNvPr>
            <p:cNvSpPr/>
            <p:nvPr/>
          </p:nvSpPr>
          <p:spPr bwMode="auto">
            <a:xfrm>
              <a:off x="4860828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ïšľíḋé">
              <a:extLst>
                <a:ext uri="{FF2B5EF4-FFF2-40B4-BE49-F238E27FC236}">
                  <a16:creationId xmlns:a16="http://schemas.microsoft.com/office/drawing/2014/main" id="{E205EF4F-7195-4316-81E4-5B346C003EA7}"/>
                </a:ext>
              </a:extLst>
            </p:cNvPr>
            <p:cNvSpPr/>
            <p:nvPr/>
          </p:nvSpPr>
          <p:spPr bwMode="auto">
            <a:xfrm>
              <a:off x="5080039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$lîḓè">
              <a:extLst>
                <a:ext uri="{FF2B5EF4-FFF2-40B4-BE49-F238E27FC236}">
                  <a16:creationId xmlns:a16="http://schemas.microsoft.com/office/drawing/2014/main" id="{A2B67C2C-7584-4D03-97B6-04CF883B0C6D}"/>
                </a:ext>
              </a:extLst>
            </p:cNvPr>
            <p:cNvSpPr/>
            <p:nvPr/>
          </p:nvSpPr>
          <p:spPr bwMode="auto">
            <a:xfrm>
              <a:off x="5080039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şḷïḋè">
              <a:extLst>
                <a:ext uri="{FF2B5EF4-FFF2-40B4-BE49-F238E27FC236}">
                  <a16:creationId xmlns:a16="http://schemas.microsoft.com/office/drawing/2014/main" id="{1A8BAFE5-1921-4D89-B18A-7A93E993BB86}"/>
                </a:ext>
              </a:extLst>
            </p:cNvPr>
            <p:cNvSpPr/>
            <p:nvPr/>
          </p:nvSpPr>
          <p:spPr bwMode="auto">
            <a:xfrm>
              <a:off x="5299251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ïṩļídè">
              <a:extLst>
                <a:ext uri="{FF2B5EF4-FFF2-40B4-BE49-F238E27FC236}">
                  <a16:creationId xmlns:a16="http://schemas.microsoft.com/office/drawing/2014/main" id="{C5C09E26-372C-40EA-A276-FAD69C16184A}"/>
                </a:ext>
              </a:extLst>
            </p:cNvPr>
            <p:cNvSpPr/>
            <p:nvPr/>
          </p:nvSpPr>
          <p:spPr bwMode="auto">
            <a:xfrm>
              <a:off x="5518463" y="2617501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îšľiḍê">
              <a:extLst>
                <a:ext uri="{FF2B5EF4-FFF2-40B4-BE49-F238E27FC236}">
                  <a16:creationId xmlns:a16="http://schemas.microsoft.com/office/drawing/2014/main" id="{CF167742-429D-4172-88AA-DC89BAE59824}"/>
                </a:ext>
              </a:extLst>
            </p:cNvPr>
            <p:cNvSpPr/>
            <p:nvPr/>
          </p:nvSpPr>
          <p:spPr bwMode="auto">
            <a:xfrm>
              <a:off x="5518463" y="2617501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íṥ1iďê">
              <a:extLst>
                <a:ext uri="{FF2B5EF4-FFF2-40B4-BE49-F238E27FC236}">
                  <a16:creationId xmlns:a16="http://schemas.microsoft.com/office/drawing/2014/main" id="{01C72B1F-EA04-4960-89F3-7D37BB7C39E2}"/>
                </a:ext>
              </a:extLst>
            </p:cNvPr>
            <p:cNvSpPr/>
            <p:nvPr/>
          </p:nvSpPr>
          <p:spPr bwMode="auto">
            <a:xfrm>
              <a:off x="5739079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íŝlidè">
              <a:extLst>
                <a:ext uri="{FF2B5EF4-FFF2-40B4-BE49-F238E27FC236}">
                  <a16:creationId xmlns:a16="http://schemas.microsoft.com/office/drawing/2014/main" id="{A3FAC80E-56EB-4A59-AFB4-AB770B608EA9}"/>
                </a:ext>
              </a:extLst>
            </p:cNvPr>
            <p:cNvSpPr/>
            <p:nvPr/>
          </p:nvSpPr>
          <p:spPr bwMode="auto">
            <a:xfrm>
              <a:off x="5739079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iṡļîḋé">
              <a:extLst>
                <a:ext uri="{FF2B5EF4-FFF2-40B4-BE49-F238E27FC236}">
                  <a16:creationId xmlns:a16="http://schemas.microsoft.com/office/drawing/2014/main" id="{A34BCD3C-FD89-4948-BFE5-3A66E4D419CD}"/>
                </a:ext>
              </a:extLst>
            </p:cNvPr>
            <p:cNvSpPr/>
            <p:nvPr/>
          </p:nvSpPr>
          <p:spPr bwMode="auto">
            <a:xfrm>
              <a:off x="5958291" y="2617501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îšlíḓê">
              <a:extLst>
                <a:ext uri="{FF2B5EF4-FFF2-40B4-BE49-F238E27FC236}">
                  <a16:creationId xmlns:a16="http://schemas.microsoft.com/office/drawing/2014/main" id="{0DA55804-965E-47B3-A1F6-3AC310B2A07E}"/>
                </a:ext>
              </a:extLst>
            </p:cNvPr>
            <p:cNvSpPr/>
            <p:nvPr/>
          </p:nvSpPr>
          <p:spPr bwMode="auto">
            <a:xfrm>
              <a:off x="6178908" y="2617501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iŝḷiḑè">
              <a:extLst>
                <a:ext uri="{FF2B5EF4-FFF2-40B4-BE49-F238E27FC236}">
                  <a16:creationId xmlns:a16="http://schemas.microsoft.com/office/drawing/2014/main" id="{D68A134A-0DF2-4100-A911-71EA2F5373E7}"/>
                </a:ext>
              </a:extLst>
            </p:cNvPr>
            <p:cNvSpPr/>
            <p:nvPr/>
          </p:nvSpPr>
          <p:spPr bwMode="auto">
            <a:xfrm>
              <a:off x="6178908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iṧḻiḋe">
              <a:extLst>
                <a:ext uri="{FF2B5EF4-FFF2-40B4-BE49-F238E27FC236}">
                  <a16:creationId xmlns:a16="http://schemas.microsoft.com/office/drawing/2014/main" id="{3F6AE89D-E0A7-4E7D-9A0A-6689F7702DF0}"/>
                </a:ext>
              </a:extLst>
            </p:cNvPr>
            <p:cNvSpPr/>
            <p:nvPr/>
          </p:nvSpPr>
          <p:spPr bwMode="auto">
            <a:xfrm>
              <a:off x="6398120" y="2617501"/>
              <a:ext cx="160193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102 h 102"/>
                <a:gd name="T6" fmla="*/ 95 w 102"/>
                <a:gd name="T7" fmla="*/ 102 h 102"/>
                <a:gd name="T8" fmla="*/ 102 w 102"/>
                <a:gd name="T9" fmla="*/ 72 h 102"/>
                <a:gd name="T10" fmla="*/ 102 w 102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95" y="102"/>
                    <a:pt x="95" y="102"/>
                    <a:pt x="95" y="102"/>
                  </a:cubicBezTo>
                  <a:cubicBezTo>
                    <a:pt x="97" y="92"/>
                    <a:pt x="99" y="82"/>
                    <a:pt x="102" y="72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íṧ1ïḍé">
              <a:extLst>
                <a:ext uri="{FF2B5EF4-FFF2-40B4-BE49-F238E27FC236}">
                  <a16:creationId xmlns:a16="http://schemas.microsoft.com/office/drawing/2014/main" id="{8F82EFB0-F058-490B-806B-D0F1F056A745}"/>
                </a:ext>
              </a:extLst>
            </p:cNvPr>
            <p:cNvSpPr/>
            <p:nvPr/>
          </p:nvSpPr>
          <p:spPr bwMode="auto">
            <a:xfrm>
              <a:off x="6618736" y="2617501"/>
              <a:ext cx="21078" cy="15458"/>
            </a:xfrm>
            <a:custGeom>
              <a:avLst/>
              <a:gdLst>
                <a:gd name="T0" fmla="*/ 14 w 14"/>
                <a:gd name="T1" fmla="*/ 0 h 10"/>
                <a:gd name="T2" fmla="*/ 0 w 14"/>
                <a:gd name="T3" fmla="*/ 0 h 10"/>
                <a:gd name="T4" fmla="*/ 0 w 14"/>
                <a:gd name="T5" fmla="*/ 10 h 10"/>
                <a:gd name="T6" fmla="*/ 14 w 1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0">
                  <a:moveTo>
                    <a:pt x="1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6"/>
                    <a:pt x="9" y="3"/>
                    <a:pt x="14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iŝľidê">
              <a:extLst>
                <a:ext uri="{FF2B5EF4-FFF2-40B4-BE49-F238E27FC236}">
                  <a16:creationId xmlns:a16="http://schemas.microsoft.com/office/drawing/2014/main" id="{BB8AED89-FC02-4670-9961-B291D8FB17CA}"/>
                </a:ext>
              </a:extLst>
            </p:cNvPr>
            <p:cNvSpPr/>
            <p:nvPr/>
          </p:nvSpPr>
          <p:spPr bwMode="auto">
            <a:xfrm>
              <a:off x="6836543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ïsļïḍè">
              <a:extLst>
                <a:ext uri="{FF2B5EF4-FFF2-40B4-BE49-F238E27FC236}">
                  <a16:creationId xmlns:a16="http://schemas.microsoft.com/office/drawing/2014/main" id="{31DF992F-4F6E-4F08-9564-CBCAE8C58AD7}"/>
                </a:ext>
              </a:extLst>
            </p:cNvPr>
            <p:cNvSpPr/>
            <p:nvPr/>
          </p:nvSpPr>
          <p:spPr bwMode="auto">
            <a:xfrm>
              <a:off x="7409865" y="2617501"/>
              <a:ext cx="26699" cy="25294"/>
            </a:xfrm>
            <a:custGeom>
              <a:avLst/>
              <a:gdLst>
                <a:gd name="T0" fmla="*/ 17 w 17"/>
                <a:gd name="T1" fmla="*/ 0 h 16"/>
                <a:gd name="T2" fmla="*/ 0 w 17"/>
                <a:gd name="T3" fmla="*/ 0 h 16"/>
                <a:gd name="T4" fmla="*/ 0 w 17"/>
                <a:gd name="T5" fmla="*/ 1 h 16"/>
                <a:gd name="T6" fmla="*/ 17 w 17"/>
                <a:gd name="T7" fmla="*/ 16 h 16"/>
                <a:gd name="T8" fmla="*/ 17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6" y="5"/>
                    <a:pt x="12" y="11"/>
                    <a:pt x="17" y="16"/>
                  </a:cubicBezTo>
                  <a:cubicBezTo>
                    <a:pt x="17" y="0"/>
                    <a:pt x="17" y="0"/>
                    <a:pt x="17" y="0"/>
                  </a:cubicBezTo>
                </a:path>
              </a:pathLst>
            </a:cu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îşḷíḋe">
              <a:extLst>
                <a:ext uri="{FF2B5EF4-FFF2-40B4-BE49-F238E27FC236}">
                  <a16:creationId xmlns:a16="http://schemas.microsoft.com/office/drawing/2014/main" id="{DDDDEB8A-4DB8-4B15-8446-9D561E638EC2}"/>
                </a:ext>
              </a:extLst>
            </p:cNvPr>
            <p:cNvSpPr/>
            <p:nvPr/>
          </p:nvSpPr>
          <p:spPr bwMode="auto">
            <a:xfrm>
              <a:off x="7495582" y="2617501"/>
              <a:ext cx="161599" cy="160193"/>
            </a:xfrm>
            <a:custGeom>
              <a:avLst/>
              <a:gdLst>
                <a:gd name="T0" fmla="*/ 103 w 103"/>
                <a:gd name="T1" fmla="*/ 0 h 102"/>
                <a:gd name="T2" fmla="*/ 0 w 103"/>
                <a:gd name="T3" fmla="*/ 0 h 102"/>
                <a:gd name="T4" fmla="*/ 0 w 103"/>
                <a:gd name="T5" fmla="*/ 71 h 102"/>
                <a:gd name="T6" fmla="*/ 15 w 103"/>
                <a:gd name="T7" fmla="*/ 102 h 102"/>
                <a:gd name="T8" fmla="*/ 103 w 103"/>
                <a:gd name="T9" fmla="*/ 102 h 102"/>
                <a:gd name="T10" fmla="*/ 103 w 103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81"/>
                    <a:pt x="11" y="92"/>
                    <a:pt x="15" y="102"/>
                  </a:cubicBezTo>
                  <a:cubicBezTo>
                    <a:pt x="103" y="102"/>
                    <a:pt x="103" y="102"/>
                    <a:pt x="103" y="102"/>
                  </a:cubicBezTo>
                  <a:cubicBezTo>
                    <a:pt x="103" y="0"/>
                    <a:pt x="103" y="0"/>
                    <a:pt x="103" y="0"/>
                  </a:cubicBezTo>
                </a:path>
              </a:pathLst>
            </a:cu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iṡ1ïdè">
              <a:extLst>
                <a:ext uri="{FF2B5EF4-FFF2-40B4-BE49-F238E27FC236}">
                  <a16:creationId xmlns:a16="http://schemas.microsoft.com/office/drawing/2014/main" id="{8CA97FF5-5A70-4591-A81E-CACE2CB8D693}"/>
                </a:ext>
              </a:extLst>
            </p:cNvPr>
            <p:cNvSpPr/>
            <p:nvPr/>
          </p:nvSpPr>
          <p:spPr bwMode="auto">
            <a:xfrm>
              <a:off x="7716200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íşlíḋé">
              <a:extLst>
                <a:ext uri="{FF2B5EF4-FFF2-40B4-BE49-F238E27FC236}">
                  <a16:creationId xmlns:a16="http://schemas.microsoft.com/office/drawing/2014/main" id="{5BFB096B-A258-420D-9C22-3207CCE83284}"/>
                </a:ext>
              </a:extLst>
            </p:cNvPr>
            <p:cNvSpPr/>
            <p:nvPr/>
          </p:nvSpPr>
          <p:spPr bwMode="auto">
            <a:xfrm>
              <a:off x="7716200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îṥľîḍe">
              <a:extLst>
                <a:ext uri="{FF2B5EF4-FFF2-40B4-BE49-F238E27FC236}">
                  <a16:creationId xmlns:a16="http://schemas.microsoft.com/office/drawing/2014/main" id="{64FB8885-523E-4022-84A3-72954CC8AE98}"/>
                </a:ext>
              </a:extLst>
            </p:cNvPr>
            <p:cNvSpPr/>
            <p:nvPr/>
          </p:nvSpPr>
          <p:spPr bwMode="auto">
            <a:xfrm>
              <a:off x="7934006" y="2617501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íšļiḋè">
              <a:extLst>
                <a:ext uri="{FF2B5EF4-FFF2-40B4-BE49-F238E27FC236}">
                  <a16:creationId xmlns:a16="http://schemas.microsoft.com/office/drawing/2014/main" id="{386C4B06-8AF9-4FB3-9AD9-58163B9F07AE}"/>
                </a:ext>
              </a:extLst>
            </p:cNvPr>
            <p:cNvSpPr/>
            <p:nvPr/>
          </p:nvSpPr>
          <p:spPr bwMode="auto">
            <a:xfrm>
              <a:off x="7934006" y="2617501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ï$líḑe">
              <a:extLst>
                <a:ext uri="{FF2B5EF4-FFF2-40B4-BE49-F238E27FC236}">
                  <a16:creationId xmlns:a16="http://schemas.microsoft.com/office/drawing/2014/main" id="{2C9CD0BF-34EA-469E-8A75-18E8BF315B9E}"/>
                </a:ext>
              </a:extLst>
            </p:cNvPr>
            <p:cNvSpPr/>
            <p:nvPr/>
          </p:nvSpPr>
          <p:spPr bwMode="auto">
            <a:xfrm>
              <a:off x="8154623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îşļïďe">
              <a:extLst>
                <a:ext uri="{FF2B5EF4-FFF2-40B4-BE49-F238E27FC236}">
                  <a16:creationId xmlns:a16="http://schemas.microsoft.com/office/drawing/2014/main" id="{39CF22C4-2CAC-43B0-BC49-185A9BE53F53}"/>
                </a:ext>
              </a:extLst>
            </p:cNvPr>
            <p:cNvSpPr/>
            <p:nvPr/>
          </p:nvSpPr>
          <p:spPr bwMode="auto">
            <a:xfrm>
              <a:off x="8373834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ísļiḑe">
              <a:extLst>
                <a:ext uri="{FF2B5EF4-FFF2-40B4-BE49-F238E27FC236}">
                  <a16:creationId xmlns:a16="http://schemas.microsoft.com/office/drawing/2014/main" id="{5BBB9117-9B62-4859-A6F2-73CE8F6E8C5F}"/>
                </a:ext>
              </a:extLst>
            </p:cNvPr>
            <p:cNvSpPr/>
            <p:nvPr/>
          </p:nvSpPr>
          <p:spPr bwMode="auto">
            <a:xfrm>
              <a:off x="8594451" y="2617501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îṩḷiḋê">
              <a:extLst>
                <a:ext uri="{FF2B5EF4-FFF2-40B4-BE49-F238E27FC236}">
                  <a16:creationId xmlns:a16="http://schemas.microsoft.com/office/drawing/2014/main" id="{B2ECC2D5-CAB9-422C-A9F5-B5F670A8A02A}"/>
                </a:ext>
              </a:extLst>
            </p:cNvPr>
            <p:cNvSpPr/>
            <p:nvPr/>
          </p:nvSpPr>
          <p:spPr bwMode="auto">
            <a:xfrm>
              <a:off x="3102919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iSļîďè">
              <a:extLst>
                <a:ext uri="{FF2B5EF4-FFF2-40B4-BE49-F238E27FC236}">
                  <a16:creationId xmlns:a16="http://schemas.microsoft.com/office/drawing/2014/main" id="{6695CB9F-CB3B-4981-93A3-90F4F503F7CB}"/>
                </a:ext>
              </a:extLst>
            </p:cNvPr>
            <p:cNvSpPr/>
            <p:nvPr/>
          </p:nvSpPr>
          <p:spPr bwMode="auto">
            <a:xfrm>
              <a:off x="310291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îSlïdê">
              <a:extLst>
                <a:ext uri="{FF2B5EF4-FFF2-40B4-BE49-F238E27FC236}">
                  <a16:creationId xmlns:a16="http://schemas.microsoft.com/office/drawing/2014/main" id="{3DD0FEF6-9AA2-443A-9566-CF6A0966FEEA}"/>
                </a:ext>
              </a:extLst>
            </p:cNvPr>
            <p:cNvSpPr/>
            <p:nvPr/>
          </p:nvSpPr>
          <p:spPr bwMode="auto">
            <a:xfrm>
              <a:off x="3323536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ïsľïďè">
              <a:extLst>
                <a:ext uri="{FF2B5EF4-FFF2-40B4-BE49-F238E27FC236}">
                  <a16:creationId xmlns:a16="http://schemas.microsoft.com/office/drawing/2014/main" id="{DC75DBA5-96C6-40D7-A888-48C4A512F96F}"/>
                </a:ext>
              </a:extLst>
            </p:cNvPr>
            <p:cNvSpPr/>
            <p:nvPr/>
          </p:nvSpPr>
          <p:spPr bwMode="auto">
            <a:xfrm>
              <a:off x="3323536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ïṧļídè">
              <a:extLst>
                <a:ext uri="{FF2B5EF4-FFF2-40B4-BE49-F238E27FC236}">
                  <a16:creationId xmlns:a16="http://schemas.microsoft.com/office/drawing/2014/main" id="{53C808FE-43A4-4B2A-975E-13AEF0834DDC}"/>
                </a:ext>
              </a:extLst>
            </p:cNvPr>
            <p:cNvSpPr/>
            <p:nvPr/>
          </p:nvSpPr>
          <p:spPr bwMode="auto">
            <a:xfrm>
              <a:off x="3542748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íślîḍé">
              <a:extLst>
                <a:ext uri="{FF2B5EF4-FFF2-40B4-BE49-F238E27FC236}">
                  <a16:creationId xmlns:a16="http://schemas.microsoft.com/office/drawing/2014/main" id="{192F78D5-FFB4-49A6-B5A3-AA0D5FE7A60A}"/>
                </a:ext>
              </a:extLst>
            </p:cNvPr>
            <p:cNvSpPr/>
            <p:nvPr/>
          </p:nvSpPr>
          <p:spPr bwMode="auto">
            <a:xfrm>
              <a:off x="3542748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îŝḻíḋè">
              <a:extLst>
                <a:ext uri="{FF2B5EF4-FFF2-40B4-BE49-F238E27FC236}">
                  <a16:creationId xmlns:a16="http://schemas.microsoft.com/office/drawing/2014/main" id="{7F2A5A9E-7086-4C50-9F75-B25A426C1A0A}"/>
                </a:ext>
              </a:extLst>
            </p:cNvPr>
            <p:cNvSpPr/>
            <p:nvPr/>
          </p:nvSpPr>
          <p:spPr bwMode="auto">
            <a:xfrm>
              <a:off x="3763364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îş1íḋê">
              <a:extLst>
                <a:ext uri="{FF2B5EF4-FFF2-40B4-BE49-F238E27FC236}">
                  <a16:creationId xmlns:a16="http://schemas.microsoft.com/office/drawing/2014/main" id="{E86A2F5D-03C7-43BD-9E45-19FF2A26F45B}"/>
                </a:ext>
              </a:extLst>
            </p:cNvPr>
            <p:cNvSpPr/>
            <p:nvPr/>
          </p:nvSpPr>
          <p:spPr bwMode="auto">
            <a:xfrm>
              <a:off x="3763364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ïŝ1ïdé">
              <a:extLst>
                <a:ext uri="{FF2B5EF4-FFF2-40B4-BE49-F238E27FC236}">
                  <a16:creationId xmlns:a16="http://schemas.microsoft.com/office/drawing/2014/main" id="{600C2EE8-3C32-442E-93C9-BA5DBA111205}"/>
                </a:ext>
              </a:extLst>
            </p:cNvPr>
            <p:cNvSpPr/>
            <p:nvPr/>
          </p:nvSpPr>
          <p:spPr bwMode="auto">
            <a:xfrm>
              <a:off x="3981171" y="2822660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îṣļídé">
              <a:extLst>
                <a:ext uri="{FF2B5EF4-FFF2-40B4-BE49-F238E27FC236}">
                  <a16:creationId xmlns:a16="http://schemas.microsoft.com/office/drawing/2014/main" id="{A25DCC37-590A-45C4-A9D5-DB9D706AD1C4}"/>
                </a:ext>
              </a:extLst>
            </p:cNvPr>
            <p:cNvSpPr/>
            <p:nvPr/>
          </p:nvSpPr>
          <p:spPr bwMode="auto">
            <a:xfrm>
              <a:off x="4201787" y="2822660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íšḻídé">
              <a:extLst>
                <a:ext uri="{FF2B5EF4-FFF2-40B4-BE49-F238E27FC236}">
                  <a16:creationId xmlns:a16="http://schemas.microsoft.com/office/drawing/2014/main" id="{E17F952D-52C1-401B-8293-43720BB847C0}"/>
                </a:ext>
              </a:extLst>
            </p:cNvPr>
            <p:cNvSpPr/>
            <p:nvPr/>
          </p:nvSpPr>
          <p:spPr bwMode="auto">
            <a:xfrm>
              <a:off x="4201787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isļíḋè">
              <a:extLst>
                <a:ext uri="{FF2B5EF4-FFF2-40B4-BE49-F238E27FC236}">
                  <a16:creationId xmlns:a16="http://schemas.microsoft.com/office/drawing/2014/main" id="{A9583CC7-7B89-4053-AF30-B645059DB8EE}"/>
                </a:ext>
              </a:extLst>
            </p:cNvPr>
            <p:cNvSpPr/>
            <p:nvPr/>
          </p:nvSpPr>
          <p:spPr bwMode="auto">
            <a:xfrm>
              <a:off x="4420999" y="2822660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ṣḻiḋê">
              <a:extLst>
                <a:ext uri="{FF2B5EF4-FFF2-40B4-BE49-F238E27FC236}">
                  <a16:creationId xmlns:a16="http://schemas.microsoft.com/office/drawing/2014/main" id="{A25FA497-24FC-42E8-A7AD-C85991B119D8}"/>
                </a:ext>
              </a:extLst>
            </p:cNvPr>
            <p:cNvSpPr/>
            <p:nvPr/>
          </p:nvSpPr>
          <p:spPr bwMode="auto">
            <a:xfrm>
              <a:off x="442099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ṣļîḋè">
              <a:extLst>
                <a:ext uri="{FF2B5EF4-FFF2-40B4-BE49-F238E27FC236}">
                  <a16:creationId xmlns:a16="http://schemas.microsoft.com/office/drawing/2014/main" id="{2863709E-233F-4C67-9C86-3D223EFEE724}"/>
                </a:ext>
              </a:extLst>
            </p:cNvPr>
            <p:cNvSpPr/>
            <p:nvPr/>
          </p:nvSpPr>
          <p:spPr bwMode="auto">
            <a:xfrm>
              <a:off x="4640211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iŝ1îďê">
              <a:extLst>
                <a:ext uri="{FF2B5EF4-FFF2-40B4-BE49-F238E27FC236}">
                  <a16:creationId xmlns:a16="http://schemas.microsoft.com/office/drawing/2014/main" id="{84B5BFF6-B0BC-4E80-BBD9-AAAB3CECE727}"/>
                </a:ext>
              </a:extLst>
            </p:cNvPr>
            <p:cNvSpPr/>
            <p:nvPr/>
          </p:nvSpPr>
          <p:spPr bwMode="auto">
            <a:xfrm>
              <a:off x="4640211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isļídè">
              <a:extLst>
                <a:ext uri="{FF2B5EF4-FFF2-40B4-BE49-F238E27FC236}">
                  <a16:creationId xmlns:a16="http://schemas.microsoft.com/office/drawing/2014/main" id="{67931150-D95E-4B89-B21F-F15A342F31FD}"/>
                </a:ext>
              </a:extLst>
            </p:cNvPr>
            <p:cNvSpPr/>
            <p:nvPr/>
          </p:nvSpPr>
          <p:spPr bwMode="auto">
            <a:xfrm>
              <a:off x="4860828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íṡḷíde">
              <a:extLst>
                <a:ext uri="{FF2B5EF4-FFF2-40B4-BE49-F238E27FC236}">
                  <a16:creationId xmlns:a16="http://schemas.microsoft.com/office/drawing/2014/main" id="{1AC7126C-96E2-4C53-887B-30F50C205978}"/>
                </a:ext>
              </a:extLst>
            </p:cNvPr>
            <p:cNvSpPr/>
            <p:nvPr/>
          </p:nvSpPr>
          <p:spPr bwMode="auto">
            <a:xfrm>
              <a:off x="4860828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ṥľîďé">
              <a:extLst>
                <a:ext uri="{FF2B5EF4-FFF2-40B4-BE49-F238E27FC236}">
                  <a16:creationId xmlns:a16="http://schemas.microsoft.com/office/drawing/2014/main" id="{075B21BC-41D5-41CD-9547-69E6B76BE8D0}"/>
                </a:ext>
              </a:extLst>
            </p:cNvPr>
            <p:cNvSpPr/>
            <p:nvPr/>
          </p:nvSpPr>
          <p:spPr bwMode="auto">
            <a:xfrm>
              <a:off x="5080039" y="2822660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ṥľîdé">
              <a:extLst>
                <a:ext uri="{FF2B5EF4-FFF2-40B4-BE49-F238E27FC236}">
                  <a16:creationId xmlns:a16="http://schemas.microsoft.com/office/drawing/2014/main" id="{0E7EB2A3-7070-47FE-9729-4E37EFB90106}"/>
                </a:ext>
              </a:extLst>
            </p:cNvPr>
            <p:cNvSpPr/>
            <p:nvPr/>
          </p:nvSpPr>
          <p:spPr bwMode="auto">
            <a:xfrm>
              <a:off x="508003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ïṣļîdè">
              <a:extLst>
                <a:ext uri="{FF2B5EF4-FFF2-40B4-BE49-F238E27FC236}">
                  <a16:creationId xmlns:a16="http://schemas.microsoft.com/office/drawing/2014/main" id="{25FA0E68-E545-4CF5-B69E-FE2DF37AF2D5}"/>
                </a:ext>
              </a:extLst>
            </p:cNvPr>
            <p:cNvSpPr/>
            <p:nvPr/>
          </p:nvSpPr>
          <p:spPr bwMode="auto">
            <a:xfrm>
              <a:off x="5299251" y="2822660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íṩlïḋe">
              <a:extLst>
                <a:ext uri="{FF2B5EF4-FFF2-40B4-BE49-F238E27FC236}">
                  <a16:creationId xmlns:a16="http://schemas.microsoft.com/office/drawing/2014/main" id="{3B6DCF59-F24D-425F-B1AA-A17298486580}"/>
                </a:ext>
              </a:extLst>
            </p:cNvPr>
            <p:cNvSpPr/>
            <p:nvPr/>
          </p:nvSpPr>
          <p:spPr bwMode="auto">
            <a:xfrm>
              <a:off x="5299251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ṩļíḑê">
              <a:extLst>
                <a:ext uri="{FF2B5EF4-FFF2-40B4-BE49-F238E27FC236}">
                  <a16:creationId xmlns:a16="http://schemas.microsoft.com/office/drawing/2014/main" id="{ABD2A0D1-165C-4D84-8070-25991C8E4FD3}"/>
                </a:ext>
              </a:extLst>
            </p:cNvPr>
            <p:cNvSpPr/>
            <p:nvPr/>
          </p:nvSpPr>
          <p:spPr bwMode="auto">
            <a:xfrm>
              <a:off x="5518463" y="2822660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išľíḍê">
              <a:extLst>
                <a:ext uri="{FF2B5EF4-FFF2-40B4-BE49-F238E27FC236}">
                  <a16:creationId xmlns:a16="http://schemas.microsoft.com/office/drawing/2014/main" id="{F6D51B22-EBA0-4D01-84B4-EAAF0712D510}"/>
                </a:ext>
              </a:extLst>
            </p:cNvPr>
            <p:cNvSpPr/>
            <p:nvPr/>
          </p:nvSpPr>
          <p:spPr bwMode="auto">
            <a:xfrm>
              <a:off x="5739079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ïṣḷîďè">
              <a:extLst>
                <a:ext uri="{FF2B5EF4-FFF2-40B4-BE49-F238E27FC236}">
                  <a16:creationId xmlns:a16="http://schemas.microsoft.com/office/drawing/2014/main" id="{AF06DF49-5808-4D55-9F3C-C32CE47F7F65}"/>
                </a:ext>
              </a:extLst>
            </p:cNvPr>
            <p:cNvSpPr/>
            <p:nvPr/>
          </p:nvSpPr>
          <p:spPr bwMode="auto">
            <a:xfrm>
              <a:off x="573907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íṣ1iḑè">
              <a:extLst>
                <a:ext uri="{FF2B5EF4-FFF2-40B4-BE49-F238E27FC236}">
                  <a16:creationId xmlns:a16="http://schemas.microsoft.com/office/drawing/2014/main" id="{65488E50-1E39-4461-940C-E31472E54EC7}"/>
                </a:ext>
              </a:extLst>
            </p:cNvPr>
            <p:cNvSpPr/>
            <p:nvPr/>
          </p:nvSpPr>
          <p:spPr bwMode="auto">
            <a:xfrm>
              <a:off x="5958291" y="2822660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ïşľíďé">
              <a:extLst>
                <a:ext uri="{FF2B5EF4-FFF2-40B4-BE49-F238E27FC236}">
                  <a16:creationId xmlns:a16="http://schemas.microsoft.com/office/drawing/2014/main" id="{6E868944-A60E-4B0E-BD91-3116F5A9D459}"/>
                </a:ext>
              </a:extLst>
            </p:cNvPr>
            <p:cNvSpPr/>
            <p:nvPr/>
          </p:nvSpPr>
          <p:spPr bwMode="auto">
            <a:xfrm>
              <a:off x="5958291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ïṥlíḓè">
              <a:extLst>
                <a:ext uri="{FF2B5EF4-FFF2-40B4-BE49-F238E27FC236}">
                  <a16:creationId xmlns:a16="http://schemas.microsoft.com/office/drawing/2014/main" id="{57BE42A5-6D78-412C-8BDB-6DD2B210B77A}"/>
                </a:ext>
              </a:extLst>
            </p:cNvPr>
            <p:cNvSpPr/>
            <p:nvPr/>
          </p:nvSpPr>
          <p:spPr bwMode="auto">
            <a:xfrm>
              <a:off x="6178908" y="2822660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ïś1îḍe">
              <a:extLst>
                <a:ext uri="{FF2B5EF4-FFF2-40B4-BE49-F238E27FC236}">
                  <a16:creationId xmlns:a16="http://schemas.microsoft.com/office/drawing/2014/main" id="{202ECD66-5EF1-403B-A05E-A8E72FCF89BC}"/>
                </a:ext>
              </a:extLst>
            </p:cNvPr>
            <p:cNvSpPr/>
            <p:nvPr/>
          </p:nvSpPr>
          <p:spPr bwMode="auto">
            <a:xfrm>
              <a:off x="6178908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iṩlîḑè">
              <a:extLst>
                <a:ext uri="{FF2B5EF4-FFF2-40B4-BE49-F238E27FC236}">
                  <a16:creationId xmlns:a16="http://schemas.microsoft.com/office/drawing/2014/main" id="{6ACF329B-FFA5-4EC7-8161-F781770112A8}"/>
                </a:ext>
              </a:extLst>
            </p:cNvPr>
            <p:cNvSpPr/>
            <p:nvPr/>
          </p:nvSpPr>
          <p:spPr bwMode="auto">
            <a:xfrm>
              <a:off x="6398120" y="2822660"/>
              <a:ext cx="139116" cy="160193"/>
            </a:xfrm>
            <a:custGeom>
              <a:avLst/>
              <a:gdLst>
                <a:gd name="T0" fmla="*/ 89 w 89"/>
                <a:gd name="T1" fmla="*/ 0 h 102"/>
                <a:gd name="T2" fmla="*/ 0 w 89"/>
                <a:gd name="T3" fmla="*/ 0 h 102"/>
                <a:gd name="T4" fmla="*/ 0 w 89"/>
                <a:gd name="T5" fmla="*/ 102 h 102"/>
                <a:gd name="T6" fmla="*/ 40 w 89"/>
                <a:gd name="T7" fmla="*/ 102 h 102"/>
                <a:gd name="T8" fmla="*/ 66 w 89"/>
                <a:gd name="T9" fmla="*/ 66 h 102"/>
                <a:gd name="T10" fmla="*/ 89 w 89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102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49" y="90"/>
                    <a:pt x="59" y="79"/>
                    <a:pt x="66" y="66"/>
                  </a:cubicBezTo>
                  <a:cubicBezTo>
                    <a:pt x="78" y="46"/>
                    <a:pt x="84" y="23"/>
                    <a:pt x="89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ṧľïḍé">
              <a:extLst>
                <a:ext uri="{FF2B5EF4-FFF2-40B4-BE49-F238E27FC236}">
                  <a16:creationId xmlns:a16="http://schemas.microsoft.com/office/drawing/2014/main" id="{7BA1EBCF-2A13-4F88-A8FA-13323FF503AC}"/>
                </a:ext>
              </a:extLst>
            </p:cNvPr>
            <p:cNvSpPr/>
            <p:nvPr/>
          </p:nvSpPr>
          <p:spPr bwMode="auto">
            <a:xfrm>
              <a:off x="7536334" y="2822660"/>
              <a:ext cx="120847" cy="160193"/>
            </a:xfrm>
            <a:custGeom>
              <a:avLst/>
              <a:gdLst>
                <a:gd name="T0" fmla="*/ 77 w 77"/>
                <a:gd name="T1" fmla="*/ 0 h 102"/>
                <a:gd name="T2" fmla="*/ 0 w 77"/>
                <a:gd name="T3" fmla="*/ 0 h 102"/>
                <a:gd name="T4" fmla="*/ 21 w 77"/>
                <a:gd name="T5" fmla="*/ 102 h 102"/>
                <a:gd name="T6" fmla="*/ 77 w 77"/>
                <a:gd name="T7" fmla="*/ 102 h 102"/>
                <a:gd name="T8" fmla="*/ 77 w 77"/>
                <a:gd name="T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02">
                  <a:moveTo>
                    <a:pt x="7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33"/>
                    <a:pt x="18" y="67"/>
                    <a:pt x="21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0"/>
                    <a:pt x="77" y="0"/>
                    <a:pt x="77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išḻiḑé">
              <a:extLst>
                <a:ext uri="{FF2B5EF4-FFF2-40B4-BE49-F238E27FC236}">
                  <a16:creationId xmlns:a16="http://schemas.microsoft.com/office/drawing/2014/main" id="{6C093C6B-212E-4F42-BB84-35DB7CEEF15F}"/>
                </a:ext>
              </a:extLst>
            </p:cNvPr>
            <p:cNvSpPr/>
            <p:nvPr/>
          </p:nvSpPr>
          <p:spPr bwMode="auto">
            <a:xfrm>
              <a:off x="7716200" y="2822660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íŝḻïḑê">
              <a:extLst>
                <a:ext uri="{FF2B5EF4-FFF2-40B4-BE49-F238E27FC236}">
                  <a16:creationId xmlns:a16="http://schemas.microsoft.com/office/drawing/2014/main" id="{E9E426DB-7DD5-4A2D-BF64-1292E35C0D2E}"/>
                </a:ext>
              </a:extLst>
            </p:cNvPr>
            <p:cNvSpPr/>
            <p:nvPr/>
          </p:nvSpPr>
          <p:spPr bwMode="auto">
            <a:xfrm>
              <a:off x="7716200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îṣḻíḓé">
              <a:extLst>
                <a:ext uri="{FF2B5EF4-FFF2-40B4-BE49-F238E27FC236}">
                  <a16:creationId xmlns:a16="http://schemas.microsoft.com/office/drawing/2014/main" id="{77E164BC-F687-4E1E-8C85-1E25550CCC1D}"/>
                </a:ext>
              </a:extLst>
            </p:cNvPr>
            <p:cNvSpPr/>
            <p:nvPr/>
          </p:nvSpPr>
          <p:spPr bwMode="auto">
            <a:xfrm>
              <a:off x="7934006" y="2822660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ṧlïde">
              <a:extLst>
                <a:ext uri="{FF2B5EF4-FFF2-40B4-BE49-F238E27FC236}">
                  <a16:creationId xmlns:a16="http://schemas.microsoft.com/office/drawing/2014/main" id="{86ECB9D7-7C70-431B-A2C3-D85ED36D834A}"/>
                </a:ext>
              </a:extLst>
            </p:cNvPr>
            <p:cNvSpPr/>
            <p:nvPr/>
          </p:nvSpPr>
          <p:spPr bwMode="auto">
            <a:xfrm>
              <a:off x="7934006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i$ľïďe">
              <a:extLst>
                <a:ext uri="{FF2B5EF4-FFF2-40B4-BE49-F238E27FC236}">
                  <a16:creationId xmlns:a16="http://schemas.microsoft.com/office/drawing/2014/main" id="{75A63A0A-D5DE-4750-A2C9-09D57916D14A}"/>
                </a:ext>
              </a:extLst>
            </p:cNvPr>
            <p:cNvSpPr/>
            <p:nvPr/>
          </p:nvSpPr>
          <p:spPr bwMode="auto">
            <a:xfrm>
              <a:off x="8154623" y="2822660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Slîḋê">
              <a:extLst>
                <a:ext uri="{FF2B5EF4-FFF2-40B4-BE49-F238E27FC236}">
                  <a16:creationId xmlns:a16="http://schemas.microsoft.com/office/drawing/2014/main" id="{9C6413EA-5B22-40C8-A9E2-B36134D10367}"/>
                </a:ext>
              </a:extLst>
            </p:cNvPr>
            <p:cNvSpPr/>
            <p:nvPr/>
          </p:nvSpPr>
          <p:spPr bwMode="auto">
            <a:xfrm>
              <a:off x="8154623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îṧḷídé">
              <a:extLst>
                <a:ext uri="{FF2B5EF4-FFF2-40B4-BE49-F238E27FC236}">
                  <a16:creationId xmlns:a16="http://schemas.microsoft.com/office/drawing/2014/main" id="{CA641232-2F87-4044-829C-B2A7C1B1DA65}"/>
                </a:ext>
              </a:extLst>
            </p:cNvPr>
            <p:cNvSpPr/>
            <p:nvPr/>
          </p:nvSpPr>
          <p:spPr bwMode="auto">
            <a:xfrm>
              <a:off x="8373834" y="2822660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í$ḷídê">
              <a:extLst>
                <a:ext uri="{FF2B5EF4-FFF2-40B4-BE49-F238E27FC236}">
                  <a16:creationId xmlns:a16="http://schemas.microsoft.com/office/drawing/2014/main" id="{4531F2AC-13C5-4205-908C-D179CE9D5A5E}"/>
                </a:ext>
              </a:extLst>
            </p:cNvPr>
            <p:cNvSpPr/>
            <p:nvPr/>
          </p:nvSpPr>
          <p:spPr bwMode="auto">
            <a:xfrm>
              <a:off x="8373834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î$1ïḑé">
              <a:extLst>
                <a:ext uri="{FF2B5EF4-FFF2-40B4-BE49-F238E27FC236}">
                  <a16:creationId xmlns:a16="http://schemas.microsoft.com/office/drawing/2014/main" id="{E58829AD-FBC2-4AD5-8ADB-BFE75193C721}"/>
                </a:ext>
              </a:extLst>
            </p:cNvPr>
            <p:cNvSpPr/>
            <p:nvPr/>
          </p:nvSpPr>
          <p:spPr bwMode="auto">
            <a:xfrm>
              <a:off x="8594451" y="2822660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íśḷïďè">
              <a:extLst>
                <a:ext uri="{FF2B5EF4-FFF2-40B4-BE49-F238E27FC236}">
                  <a16:creationId xmlns:a16="http://schemas.microsoft.com/office/drawing/2014/main" id="{C991CABD-A58E-4480-9417-410DCB9BFAE3}"/>
                </a:ext>
              </a:extLst>
            </p:cNvPr>
            <p:cNvSpPr/>
            <p:nvPr/>
          </p:nvSpPr>
          <p:spPr bwMode="auto">
            <a:xfrm>
              <a:off x="3102919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iṣḻïḑé">
              <a:extLst>
                <a:ext uri="{FF2B5EF4-FFF2-40B4-BE49-F238E27FC236}">
                  <a16:creationId xmlns:a16="http://schemas.microsoft.com/office/drawing/2014/main" id="{ED036B29-769A-47C8-B344-C7F6BFBB8BB0}"/>
                </a:ext>
              </a:extLst>
            </p:cNvPr>
            <p:cNvSpPr/>
            <p:nvPr/>
          </p:nvSpPr>
          <p:spPr bwMode="auto">
            <a:xfrm>
              <a:off x="3102919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îşľiḓê">
              <a:extLst>
                <a:ext uri="{FF2B5EF4-FFF2-40B4-BE49-F238E27FC236}">
                  <a16:creationId xmlns:a16="http://schemas.microsoft.com/office/drawing/2014/main" id="{3CE89852-39E8-4C7C-955B-62553EF4BD13}"/>
                </a:ext>
              </a:extLst>
            </p:cNvPr>
            <p:cNvSpPr/>
            <p:nvPr/>
          </p:nvSpPr>
          <p:spPr bwMode="auto">
            <a:xfrm>
              <a:off x="3323536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šḷîḑê">
              <a:extLst>
                <a:ext uri="{FF2B5EF4-FFF2-40B4-BE49-F238E27FC236}">
                  <a16:creationId xmlns:a16="http://schemas.microsoft.com/office/drawing/2014/main" id="{5DE06487-6C23-4118-B68F-255CAEC0C1FA}"/>
                </a:ext>
              </a:extLst>
            </p:cNvPr>
            <p:cNvSpPr/>
            <p:nvPr/>
          </p:nvSpPr>
          <p:spPr bwMode="auto">
            <a:xfrm>
              <a:off x="3323536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íṧ1îḍé">
              <a:extLst>
                <a:ext uri="{FF2B5EF4-FFF2-40B4-BE49-F238E27FC236}">
                  <a16:creationId xmlns:a16="http://schemas.microsoft.com/office/drawing/2014/main" id="{CFB91618-01D9-4E72-9AFF-0A85C79AC712}"/>
                </a:ext>
              </a:extLst>
            </p:cNvPr>
            <p:cNvSpPr/>
            <p:nvPr/>
          </p:nvSpPr>
          <p:spPr bwMode="auto">
            <a:xfrm>
              <a:off x="3542748" y="3025009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ṩļîḋe">
              <a:extLst>
                <a:ext uri="{FF2B5EF4-FFF2-40B4-BE49-F238E27FC236}">
                  <a16:creationId xmlns:a16="http://schemas.microsoft.com/office/drawing/2014/main" id="{FAC2A1BC-1635-45C0-9D8C-0DEE2B536F23}"/>
                </a:ext>
              </a:extLst>
            </p:cNvPr>
            <p:cNvSpPr/>
            <p:nvPr/>
          </p:nvSpPr>
          <p:spPr bwMode="auto">
            <a:xfrm>
              <a:off x="3542748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iṧḷíḍè">
              <a:extLst>
                <a:ext uri="{FF2B5EF4-FFF2-40B4-BE49-F238E27FC236}">
                  <a16:creationId xmlns:a16="http://schemas.microsoft.com/office/drawing/2014/main" id="{ECA6DC41-65B0-46EE-9A55-0884DFA8FD1D}"/>
                </a:ext>
              </a:extLst>
            </p:cNvPr>
            <p:cNvSpPr/>
            <p:nvPr/>
          </p:nvSpPr>
          <p:spPr bwMode="auto">
            <a:xfrm>
              <a:off x="3763364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ṥḷíḓe">
              <a:extLst>
                <a:ext uri="{FF2B5EF4-FFF2-40B4-BE49-F238E27FC236}">
                  <a16:creationId xmlns:a16="http://schemas.microsoft.com/office/drawing/2014/main" id="{08011F0B-455E-4EC0-8040-57D89C954F77}"/>
                </a:ext>
              </a:extLst>
            </p:cNvPr>
            <p:cNvSpPr/>
            <p:nvPr/>
          </p:nvSpPr>
          <p:spPr bwMode="auto">
            <a:xfrm>
              <a:off x="3763364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íṩľiďé">
              <a:extLst>
                <a:ext uri="{FF2B5EF4-FFF2-40B4-BE49-F238E27FC236}">
                  <a16:creationId xmlns:a16="http://schemas.microsoft.com/office/drawing/2014/main" id="{8B6A1165-0499-4101-96C2-600447C25DD9}"/>
                </a:ext>
              </a:extLst>
            </p:cNvPr>
            <p:cNvSpPr/>
            <p:nvPr/>
          </p:nvSpPr>
          <p:spPr bwMode="auto">
            <a:xfrm>
              <a:off x="3981171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ïşḷiḑe">
              <a:extLst>
                <a:ext uri="{FF2B5EF4-FFF2-40B4-BE49-F238E27FC236}">
                  <a16:creationId xmlns:a16="http://schemas.microsoft.com/office/drawing/2014/main" id="{921610B9-ABD4-48EB-868F-95E062A4AA1E}"/>
                </a:ext>
              </a:extLst>
            </p:cNvPr>
            <p:cNvSpPr/>
            <p:nvPr/>
          </p:nvSpPr>
          <p:spPr bwMode="auto">
            <a:xfrm>
              <a:off x="3981171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íṩlíḓe">
              <a:extLst>
                <a:ext uri="{FF2B5EF4-FFF2-40B4-BE49-F238E27FC236}">
                  <a16:creationId xmlns:a16="http://schemas.microsoft.com/office/drawing/2014/main" id="{0F52D3A2-A692-4722-BB64-199DA6343D98}"/>
                </a:ext>
              </a:extLst>
            </p:cNvPr>
            <p:cNvSpPr/>
            <p:nvPr/>
          </p:nvSpPr>
          <p:spPr bwMode="auto">
            <a:xfrm>
              <a:off x="4201787" y="3025009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iSḷídê">
              <a:extLst>
                <a:ext uri="{FF2B5EF4-FFF2-40B4-BE49-F238E27FC236}">
                  <a16:creationId xmlns:a16="http://schemas.microsoft.com/office/drawing/2014/main" id="{8F5E0253-48DB-4626-9A8A-F716D9E307CE}"/>
                </a:ext>
              </a:extLst>
            </p:cNvPr>
            <p:cNvSpPr/>
            <p:nvPr/>
          </p:nvSpPr>
          <p:spPr bwMode="auto">
            <a:xfrm>
              <a:off x="4201787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iṡľiḓe">
              <a:extLst>
                <a:ext uri="{FF2B5EF4-FFF2-40B4-BE49-F238E27FC236}">
                  <a16:creationId xmlns:a16="http://schemas.microsoft.com/office/drawing/2014/main" id="{F08CF73F-6C34-46E4-B526-6E1C261C5D2A}"/>
                </a:ext>
              </a:extLst>
            </p:cNvPr>
            <p:cNvSpPr/>
            <p:nvPr/>
          </p:nvSpPr>
          <p:spPr bwMode="auto">
            <a:xfrm>
              <a:off x="4420999" y="3025009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iSḻïdê">
              <a:extLst>
                <a:ext uri="{FF2B5EF4-FFF2-40B4-BE49-F238E27FC236}">
                  <a16:creationId xmlns:a16="http://schemas.microsoft.com/office/drawing/2014/main" id="{C0A5EA3F-2746-42F2-A9EA-9CECB5484843}"/>
                </a:ext>
              </a:extLst>
            </p:cNvPr>
            <p:cNvSpPr/>
            <p:nvPr/>
          </p:nvSpPr>
          <p:spPr bwMode="auto">
            <a:xfrm>
              <a:off x="4420999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iṧļïḓè">
              <a:extLst>
                <a:ext uri="{FF2B5EF4-FFF2-40B4-BE49-F238E27FC236}">
                  <a16:creationId xmlns:a16="http://schemas.microsoft.com/office/drawing/2014/main" id="{4EA78B25-3D7B-43C3-A26F-FDFAE5680A6B}"/>
                </a:ext>
              </a:extLst>
            </p:cNvPr>
            <p:cNvSpPr/>
            <p:nvPr/>
          </p:nvSpPr>
          <p:spPr bwMode="auto">
            <a:xfrm>
              <a:off x="4640211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íSlîdê">
              <a:extLst>
                <a:ext uri="{FF2B5EF4-FFF2-40B4-BE49-F238E27FC236}">
                  <a16:creationId xmlns:a16="http://schemas.microsoft.com/office/drawing/2014/main" id="{0542F8FB-E81E-4471-9A6F-88E633142B6E}"/>
                </a:ext>
              </a:extLst>
            </p:cNvPr>
            <p:cNvSpPr/>
            <p:nvPr/>
          </p:nvSpPr>
          <p:spPr bwMode="auto">
            <a:xfrm>
              <a:off x="4640211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íṥḷîḋê">
              <a:extLst>
                <a:ext uri="{FF2B5EF4-FFF2-40B4-BE49-F238E27FC236}">
                  <a16:creationId xmlns:a16="http://schemas.microsoft.com/office/drawing/2014/main" id="{6F1B7AD1-9840-465E-82F5-46EC39EFAA1D}"/>
                </a:ext>
              </a:extLst>
            </p:cNvPr>
            <p:cNvSpPr/>
            <p:nvPr/>
          </p:nvSpPr>
          <p:spPr bwMode="auto">
            <a:xfrm>
              <a:off x="4860828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sľídè">
              <a:extLst>
                <a:ext uri="{FF2B5EF4-FFF2-40B4-BE49-F238E27FC236}">
                  <a16:creationId xmlns:a16="http://schemas.microsoft.com/office/drawing/2014/main" id="{66901FFD-C9B5-4712-8F0E-6BD938CFF938}"/>
                </a:ext>
              </a:extLst>
            </p:cNvPr>
            <p:cNvSpPr/>
            <p:nvPr/>
          </p:nvSpPr>
          <p:spPr bwMode="auto">
            <a:xfrm>
              <a:off x="4860828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iṣlîďé">
              <a:extLst>
                <a:ext uri="{FF2B5EF4-FFF2-40B4-BE49-F238E27FC236}">
                  <a16:creationId xmlns:a16="http://schemas.microsoft.com/office/drawing/2014/main" id="{7834EEAF-E22F-4429-968C-F1F659FCA631}"/>
                </a:ext>
              </a:extLst>
            </p:cNvPr>
            <p:cNvSpPr/>
            <p:nvPr/>
          </p:nvSpPr>
          <p:spPr bwMode="auto">
            <a:xfrm>
              <a:off x="5080039" y="3025009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íṥľidê">
              <a:extLst>
                <a:ext uri="{FF2B5EF4-FFF2-40B4-BE49-F238E27FC236}">
                  <a16:creationId xmlns:a16="http://schemas.microsoft.com/office/drawing/2014/main" id="{29F48346-1383-437A-9DF4-61CB10F53DC8}"/>
                </a:ext>
              </a:extLst>
            </p:cNvPr>
            <p:cNvSpPr/>
            <p:nvPr/>
          </p:nvSpPr>
          <p:spPr bwMode="auto">
            <a:xfrm>
              <a:off x="5080039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í$lîde">
              <a:extLst>
                <a:ext uri="{FF2B5EF4-FFF2-40B4-BE49-F238E27FC236}">
                  <a16:creationId xmlns:a16="http://schemas.microsoft.com/office/drawing/2014/main" id="{DDBAE4F9-D6FA-43B0-BCC2-4DD139ACE422}"/>
                </a:ext>
              </a:extLst>
            </p:cNvPr>
            <p:cNvSpPr/>
            <p:nvPr/>
          </p:nvSpPr>
          <p:spPr bwMode="auto">
            <a:xfrm>
              <a:off x="5299251" y="3025009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îṥlîďe">
              <a:extLst>
                <a:ext uri="{FF2B5EF4-FFF2-40B4-BE49-F238E27FC236}">
                  <a16:creationId xmlns:a16="http://schemas.microsoft.com/office/drawing/2014/main" id="{66D90034-B1B6-4A2C-B50E-041A11865505}"/>
                </a:ext>
              </a:extLst>
            </p:cNvPr>
            <p:cNvSpPr/>
            <p:nvPr/>
          </p:nvSpPr>
          <p:spPr bwMode="auto">
            <a:xfrm>
              <a:off x="5518463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iṩḷiḍe">
              <a:extLst>
                <a:ext uri="{FF2B5EF4-FFF2-40B4-BE49-F238E27FC236}">
                  <a16:creationId xmlns:a16="http://schemas.microsoft.com/office/drawing/2014/main" id="{C81369B4-0A4D-4697-913F-C56EFD0B7F06}"/>
                </a:ext>
              </a:extLst>
            </p:cNvPr>
            <p:cNvSpPr/>
            <p:nvPr/>
          </p:nvSpPr>
          <p:spPr bwMode="auto">
            <a:xfrm>
              <a:off x="5518463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îṣḷiḑe">
              <a:extLst>
                <a:ext uri="{FF2B5EF4-FFF2-40B4-BE49-F238E27FC236}">
                  <a16:creationId xmlns:a16="http://schemas.microsoft.com/office/drawing/2014/main" id="{59293F74-25FF-4024-8197-DEE8E9546E79}"/>
                </a:ext>
              </a:extLst>
            </p:cNvPr>
            <p:cNvSpPr/>
            <p:nvPr/>
          </p:nvSpPr>
          <p:spPr bwMode="auto">
            <a:xfrm>
              <a:off x="5739079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ṣ1îḋé">
              <a:extLst>
                <a:ext uri="{FF2B5EF4-FFF2-40B4-BE49-F238E27FC236}">
                  <a16:creationId xmlns:a16="http://schemas.microsoft.com/office/drawing/2014/main" id="{4F478FEF-E63F-4D6E-B8E2-B0E8C4D9FDB5}"/>
                </a:ext>
              </a:extLst>
            </p:cNvPr>
            <p:cNvSpPr/>
            <p:nvPr/>
          </p:nvSpPr>
          <p:spPr bwMode="auto">
            <a:xfrm>
              <a:off x="5958291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îsľïdê">
              <a:extLst>
                <a:ext uri="{FF2B5EF4-FFF2-40B4-BE49-F238E27FC236}">
                  <a16:creationId xmlns:a16="http://schemas.microsoft.com/office/drawing/2014/main" id="{9E3B5FC1-DD8D-4609-B5ED-57B49A331818}"/>
                </a:ext>
              </a:extLst>
            </p:cNvPr>
            <p:cNvSpPr/>
            <p:nvPr/>
          </p:nvSpPr>
          <p:spPr bwMode="auto">
            <a:xfrm>
              <a:off x="6178908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îşḻíḓé">
              <a:extLst>
                <a:ext uri="{FF2B5EF4-FFF2-40B4-BE49-F238E27FC236}">
                  <a16:creationId xmlns:a16="http://schemas.microsoft.com/office/drawing/2014/main" id="{ED069018-AE75-4C26-BBCF-E09A88300D92}"/>
                </a:ext>
              </a:extLst>
            </p:cNvPr>
            <p:cNvSpPr/>
            <p:nvPr/>
          </p:nvSpPr>
          <p:spPr bwMode="auto">
            <a:xfrm>
              <a:off x="6398120" y="3025009"/>
              <a:ext cx="26699" cy="42156"/>
            </a:xfrm>
            <a:custGeom>
              <a:avLst/>
              <a:gdLst>
                <a:gd name="T0" fmla="*/ 17 w 17"/>
                <a:gd name="T1" fmla="*/ 0 h 27"/>
                <a:gd name="T2" fmla="*/ 0 w 17"/>
                <a:gd name="T3" fmla="*/ 0 h 27"/>
                <a:gd name="T4" fmla="*/ 0 w 17"/>
                <a:gd name="T5" fmla="*/ 27 h 27"/>
                <a:gd name="T6" fmla="*/ 17 w 17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7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17"/>
                    <a:pt x="10" y="8"/>
                    <a:pt x="17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iŝḷiḍè">
              <a:extLst>
                <a:ext uri="{FF2B5EF4-FFF2-40B4-BE49-F238E27FC236}">
                  <a16:creationId xmlns:a16="http://schemas.microsoft.com/office/drawing/2014/main" id="{F93C2027-A0C0-4BB3-84E2-8EF9DA1379F5}"/>
                </a:ext>
              </a:extLst>
            </p:cNvPr>
            <p:cNvSpPr/>
            <p:nvPr/>
          </p:nvSpPr>
          <p:spPr bwMode="auto">
            <a:xfrm>
              <a:off x="6618736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îslíḓè">
              <a:extLst>
                <a:ext uri="{FF2B5EF4-FFF2-40B4-BE49-F238E27FC236}">
                  <a16:creationId xmlns:a16="http://schemas.microsoft.com/office/drawing/2014/main" id="{B6BDD3FD-9D14-47D2-BE45-BEBC4C9E516C}"/>
                </a:ext>
              </a:extLst>
            </p:cNvPr>
            <p:cNvSpPr/>
            <p:nvPr/>
          </p:nvSpPr>
          <p:spPr bwMode="auto">
            <a:xfrm>
              <a:off x="6618736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iṡļiḑè">
              <a:extLst>
                <a:ext uri="{FF2B5EF4-FFF2-40B4-BE49-F238E27FC236}">
                  <a16:creationId xmlns:a16="http://schemas.microsoft.com/office/drawing/2014/main" id="{E681178B-1788-490D-8009-40F94D714A35}"/>
                </a:ext>
              </a:extLst>
            </p:cNvPr>
            <p:cNvSpPr/>
            <p:nvPr/>
          </p:nvSpPr>
          <p:spPr bwMode="auto">
            <a:xfrm>
              <a:off x="7548980" y="3025009"/>
              <a:ext cx="108201" cy="160193"/>
            </a:xfrm>
            <a:custGeom>
              <a:avLst/>
              <a:gdLst>
                <a:gd name="T0" fmla="*/ 69 w 69"/>
                <a:gd name="T1" fmla="*/ 0 h 102"/>
                <a:gd name="T2" fmla="*/ 14 w 69"/>
                <a:gd name="T3" fmla="*/ 0 h 102"/>
                <a:gd name="T4" fmla="*/ 11 w 69"/>
                <a:gd name="T5" fmla="*/ 47 h 102"/>
                <a:gd name="T6" fmla="*/ 0 w 69"/>
                <a:gd name="T7" fmla="*/ 102 h 102"/>
                <a:gd name="T8" fmla="*/ 69 w 69"/>
                <a:gd name="T9" fmla="*/ 102 h 102"/>
                <a:gd name="T10" fmla="*/ 69 w 69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102">
                  <a:moveTo>
                    <a:pt x="6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16"/>
                    <a:pt x="13" y="31"/>
                    <a:pt x="11" y="47"/>
                  </a:cubicBezTo>
                  <a:cubicBezTo>
                    <a:pt x="9" y="65"/>
                    <a:pt x="6" y="84"/>
                    <a:pt x="0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0"/>
                    <a:pt x="69" y="0"/>
                    <a:pt x="69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ïSlîďê">
              <a:extLst>
                <a:ext uri="{FF2B5EF4-FFF2-40B4-BE49-F238E27FC236}">
                  <a16:creationId xmlns:a16="http://schemas.microsoft.com/office/drawing/2014/main" id="{7325B1EE-6E55-4088-B366-752276822B9C}"/>
                </a:ext>
              </a:extLst>
            </p:cNvPr>
            <p:cNvSpPr/>
            <p:nvPr/>
          </p:nvSpPr>
          <p:spPr bwMode="auto">
            <a:xfrm>
              <a:off x="7716200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ïṡlïḑè">
              <a:extLst>
                <a:ext uri="{FF2B5EF4-FFF2-40B4-BE49-F238E27FC236}">
                  <a16:creationId xmlns:a16="http://schemas.microsoft.com/office/drawing/2014/main" id="{3C52986D-1FA2-4FE2-8D56-C60CB30D3A3D}"/>
                </a:ext>
              </a:extLst>
            </p:cNvPr>
            <p:cNvSpPr/>
            <p:nvPr/>
          </p:nvSpPr>
          <p:spPr bwMode="auto">
            <a:xfrm>
              <a:off x="7716200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isḻíďê">
              <a:extLst>
                <a:ext uri="{FF2B5EF4-FFF2-40B4-BE49-F238E27FC236}">
                  <a16:creationId xmlns:a16="http://schemas.microsoft.com/office/drawing/2014/main" id="{EABF5981-5703-4F1A-A20D-4A8C45006C2C}"/>
                </a:ext>
              </a:extLst>
            </p:cNvPr>
            <p:cNvSpPr/>
            <p:nvPr/>
          </p:nvSpPr>
          <p:spPr bwMode="auto">
            <a:xfrm>
              <a:off x="7934006" y="3025009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íşlîďe">
              <a:extLst>
                <a:ext uri="{FF2B5EF4-FFF2-40B4-BE49-F238E27FC236}">
                  <a16:creationId xmlns:a16="http://schemas.microsoft.com/office/drawing/2014/main" id="{1145566E-32E6-4FC4-84ED-6B3141F49EDD}"/>
                </a:ext>
              </a:extLst>
            </p:cNvPr>
            <p:cNvSpPr/>
            <p:nvPr/>
          </p:nvSpPr>
          <p:spPr bwMode="auto">
            <a:xfrm>
              <a:off x="7934006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śľïḓê">
              <a:extLst>
                <a:ext uri="{FF2B5EF4-FFF2-40B4-BE49-F238E27FC236}">
                  <a16:creationId xmlns:a16="http://schemas.microsoft.com/office/drawing/2014/main" id="{CDF15510-90CA-45F0-8BE1-6339C47202C1}"/>
                </a:ext>
              </a:extLst>
            </p:cNvPr>
            <p:cNvSpPr/>
            <p:nvPr/>
          </p:nvSpPr>
          <p:spPr bwMode="auto">
            <a:xfrm>
              <a:off x="8154623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ṥľîḍé">
              <a:extLst>
                <a:ext uri="{FF2B5EF4-FFF2-40B4-BE49-F238E27FC236}">
                  <a16:creationId xmlns:a16="http://schemas.microsoft.com/office/drawing/2014/main" id="{17E1668C-0222-45D9-A15A-E64B74F85DE0}"/>
                </a:ext>
              </a:extLst>
            </p:cNvPr>
            <p:cNvSpPr/>
            <p:nvPr/>
          </p:nvSpPr>
          <p:spPr bwMode="auto">
            <a:xfrm>
              <a:off x="8154623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ṣḷïḋe">
              <a:extLst>
                <a:ext uri="{FF2B5EF4-FFF2-40B4-BE49-F238E27FC236}">
                  <a16:creationId xmlns:a16="http://schemas.microsoft.com/office/drawing/2014/main" id="{8A39F2C0-75DB-4646-BAC7-69783FC6DFE8}"/>
                </a:ext>
              </a:extLst>
            </p:cNvPr>
            <p:cNvSpPr/>
            <p:nvPr/>
          </p:nvSpPr>
          <p:spPr bwMode="auto">
            <a:xfrm>
              <a:off x="8373834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šļïḋé">
              <a:extLst>
                <a:ext uri="{FF2B5EF4-FFF2-40B4-BE49-F238E27FC236}">
                  <a16:creationId xmlns:a16="http://schemas.microsoft.com/office/drawing/2014/main" id="{EFD0770D-B130-4E09-883E-0AD2D8EA395F}"/>
                </a:ext>
              </a:extLst>
            </p:cNvPr>
            <p:cNvSpPr/>
            <p:nvPr/>
          </p:nvSpPr>
          <p:spPr bwMode="auto">
            <a:xfrm>
              <a:off x="8373834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îšļîḑé">
              <a:extLst>
                <a:ext uri="{FF2B5EF4-FFF2-40B4-BE49-F238E27FC236}">
                  <a16:creationId xmlns:a16="http://schemas.microsoft.com/office/drawing/2014/main" id="{6988A3FD-9418-472F-AB9B-E442C7C0DBBF}"/>
                </a:ext>
              </a:extLst>
            </p:cNvPr>
            <p:cNvSpPr/>
            <p:nvPr/>
          </p:nvSpPr>
          <p:spPr bwMode="auto">
            <a:xfrm>
              <a:off x="8594451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ṡ1iḋé">
              <a:extLst>
                <a:ext uri="{FF2B5EF4-FFF2-40B4-BE49-F238E27FC236}">
                  <a16:creationId xmlns:a16="http://schemas.microsoft.com/office/drawing/2014/main" id="{699AC32B-EEA6-4398-8CAA-1CA4B2397BD5}"/>
                </a:ext>
              </a:extLst>
            </p:cNvPr>
            <p:cNvSpPr/>
            <p:nvPr/>
          </p:nvSpPr>
          <p:spPr bwMode="auto">
            <a:xfrm>
              <a:off x="3102919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íṧļîḍe">
              <a:extLst>
                <a:ext uri="{FF2B5EF4-FFF2-40B4-BE49-F238E27FC236}">
                  <a16:creationId xmlns:a16="http://schemas.microsoft.com/office/drawing/2014/main" id="{9E87A6EB-639D-4DA6-8063-C153CEECE93B}"/>
                </a:ext>
              </a:extLst>
            </p:cNvPr>
            <p:cNvSpPr/>
            <p:nvPr/>
          </p:nvSpPr>
          <p:spPr bwMode="auto">
            <a:xfrm>
              <a:off x="310291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ïṥļiďè">
              <a:extLst>
                <a:ext uri="{FF2B5EF4-FFF2-40B4-BE49-F238E27FC236}">
                  <a16:creationId xmlns:a16="http://schemas.microsoft.com/office/drawing/2014/main" id="{509DB240-3749-42BE-8E14-A72FCD4D86D7}"/>
                </a:ext>
              </a:extLst>
            </p:cNvPr>
            <p:cNvSpPr/>
            <p:nvPr/>
          </p:nvSpPr>
          <p:spPr bwMode="auto">
            <a:xfrm>
              <a:off x="3323536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iṣļiḍe">
              <a:extLst>
                <a:ext uri="{FF2B5EF4-FFF2-40B4-BE49-F238E27FC236}">
                  <a16:creationId xmlns:a16="http://schemas.microsoft.com/office/drawing/2014/main" id="{99EF810B-7845-47CD-9CCD-266FF5ADD55F}"/>
                </a:ext>
              </a:extLst>
            </p:cNvPr>
            <p:cNvSpPr/>
            <p:nvPr/>
          </p:nvSpPr>
          <p:spPr bwMode="auto">
            <a:xfrm>
              <a:off x="3323536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îŝ1ïḍê">
              <a:extLst>
                <a:ext uri="{FF2B5EF4-FFF2-40B4-BE49-F238E27FC236}">
                  <a16:creationId xmlns:a16="http://schemas.microsoft.com/office/drawing/2014/main" id="{80CE5E28-35FF-40EF-B1E7-D48B139BBCE1}"/>
                </a:ext>
              </a:extLst>
            </p:cNvPr>
            <p:cNvSpPr/>
            <p:nvPr/>
          </p:nvSpPr>
          <p:spPr bwMode="auto">
            <a:xfrm>
              <a:off x="3542748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iŝḻïḋe">
              <a:extLst>
                <a:ext uri="{FF2B5EF4-FFF2-40B4-BE49-F238E27FC236}">
                  <a16:creationId xmlns:a16="http://schemas.microsoft.com/office/drawing/2014/main" id="{DD3C97BB-34FF-48E4-BA37-57D3690E2CB5}"/>
                </a:ext>
              </a:extLst>
            </p:cNvPr>
            <p:cNvSpPr/>
            <p:nvPr/>
          </p:nvSpPr>
          <p:spPr bwMode="auto">
            <a:xfrm>
              <a:off x="3542748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îśľiḍè">
              <a:extLst>
                <a:ext uri="{FF2B5EF4-FFF2-40B4-BE49-F238E27FC236}">
                  <a16:creationId xmlns:a16="http://schemas.microsoft.com/office/drawing/2014/main" id="{5CC79D33-98C9-4A70-8B55-FAF45E106B09}"/>
                </a:ext>
              </a:extLst>
            </p:cNvPr>
            <p:cNvSpPr/>
            <p:nvPr/>
          </p:nvSpPr>
          <p:spPr bwMode="auto">
            <a:xfrm>
              <a:off x="3763364" y="3228763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íŝľîḓé">
              <a:extLst>
                <a:ext uri="{FF2B5EF4-FFF2-40B4-BE49-F238E27FC236}">
                  <a16:creationId xmlns:a16="http://schemas.microsoft.com/office/drawing/2014/main" id="{13850FC5-3CDC-46D8-9076-38219376A912}"/>
                </a:ext>
              </a:extLst>
            </p:cNvPr>
            <p:cNvSpPr/>
            <p:nvPr/>
          </p:nvSpPr>
          <p:spPr bwMode="auto">
            <a:xfrm>
              <a:off x="3763364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ïśḻíḍê">
              <a:extLst>
                <a:ext uri="{FF2B5EF4-FFF2-40B4-BE49-F238E27FC236}">
                  <a16:creationId xmlns:a16="http://schemas.microsoft.com/office/drawing/2014/main" id="{809A97DD-E39E-49B3-88E2-A90017899343}"/>
                </a:ext>
              </a:extLst>
            </p:cNvPr>
            <p:cNvSpPr/>
            <p:nvPr/>
          </p:nvSpPr>
          <p:spPr bwMode="auto">
            <a:xfrm>
              <a:off x="3981170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ïsḻiḍè">
              <a:extLst>
                <a:ext uri="{FF2B5EF4-FFF2-40B4-BE49-F238E27FC236}">
                  <a16:creationId xmlns:a16="http://schemas.microsoft.com/office/drawing/2014/main" id="{2480833E-2D56-4E3C-8061-327BE2A00706}"/>
                </a:ext>
              </a:extLst>
            </p:cNvPr>
            <p:cNvSpPr/>
            <p:nvPr/>
          </p:nvSpPr>
          <p:spPr bwMode="auto">
            <a:xfrm>
              <a:off x="3981170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îṩľïḋê">
              <a:extLst>
                <a:ext uri="{FF2B5EF4-FFF2-40B4-BE49-F238E27FC236}">
                  <a16:creationId xmlns:a16="http://schemas.microsoft.com/office/drawing/2014/main" id="{E7B599F8-BDC9-4612-8A47-5C02555871C8}"/>
                </a:ext>
              </a:extLst>
            </p:cNvPr>
            <p:cNvSpPr/>
            <p:nvPr/>
          </p:nvSpPr>
          <p:spPr bwMode="auto">
            <a:xfrm>
              <a:off x="4201787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islíḑé">
              <a:extLst>
                <a:ext uri="{FF2B5EF4-FFF2-40B4-BE49-F238E27FC236}">
                  <a16:creationId xmlns:a16="http://schemas.microsoft.com/office/drawing/2014/main" id="{B3BD6141-7AB6-44C3-A00B-1B53AF555DA8}"/>
                </a:ext>
              </a:extLst>
            </p:cNvPr>
            <p:cNvSpPr/>
            <p:nvPr/>
          </p:nvSpPr>
          <p:spPr bwMode="auto">
            <a:xfrm>
              <a:off x="4201787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ïs1iḓé">
              <a:extLst>
                <a:ext uri="{FF2B5EF4-FFF2-40B4-BE49-F238E27FC236}">
                  <a16:creationId xmlns:a16="http://schemas.microsoft.com/office/drawing/2014/main" id="{0A6E76A9-FF99-4D99-A5E2-F887DF2E9021}"/>
                </a:ext>
              </a:extLst>
            </p:cNvPr>
            <p:cNvSpPr/>
            <p:nvPr/>
          </p:nvSpPr>
          <p:spPr bwMode="auto">
            <a:xfrm>
              <a:off x="4420999" y="322876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îsḻíďe">
              <a:extLst>
                <a:ext uri="{FF2B5EF4-FFF2-40B4-BE49-F238E27FC236}">
                  <a16:creationId xmlns:a16="http://schemas.microsoft.com/office/drawing/2014/main" id="{7A8C5B2E-C0F7-4525-99AE-77B8B79BD593}"/>
                </a:ext>
              </a:extLst>
            </p:cNvPr>
            <p:cNvSpPr/>
            <p:nvPr/>
          </p:nvSpPr>
          <p:spPr bwMode="auto">
            <a:xfrm>
              <a:off x="442099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ïşliďe">
              <a:extLst>
                <a:ext uri="{FF2B5EF4-FFF2-40B4-BE49-F238E27FC236}">
                  <a16:creationId xmlns:a16="http://schemas.microsoft.com/office/drawing/2014/main" id="{E841A87A-6618-4008-9C84-0CE95660D309}"/>
                </a:ext>
              </a:extLst>
            </p:cNvPr>
            <p:cNvSpPr/>
            <p:nvPr/>
          </p:nvSpPr>
          <p:spPr bwMode="auto">
            <a:xfrm>
              <a:off x="4640211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iṥḻïḍe">
              <a:extLst>
                <a:ext uri="{FF2B5EF4-FFF2-40B4-BE49-F238E27FC236}">
                  <a16:creationId xmlns:a16="http://schemas.microsoft.com/office/drawing/2014/main" id="{F41475B0-CBDF-4168-AD05-D4F8DD787CC7}"/>
                </a:ext>
              </a:extLst>
            </p:cNvPr>
            <p:cNvSpPr/>
            <p:nvPr/>
          </p:nvSpPr>
          <p:spPr bwMode="auto">
            <a:xfrm>
              <a:off x="4640211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iṣľîḍé">
              <a:extLst>
                <a:ext uri="{FF2B5EF4-FFF2-40B4-BE49-F238E27FC236}">
                  <a16:creationId xmlns:a16="http://schemas.microsoft.com/office/drawing/2014/main" id="{FA5C964F-4B99-440B-8213-1D0882EFCAD8}"/>
                </a:ext>
              </a:extLst>
            </p:cNvPr>
            <p:cNvSpPr/>
            <p:nvPr/>
          </p:nvSpPr>
          <p:spPr bwMode="auto">
            <a:xfrm>
              <a:off x="4860827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íṡļiḍè">
              <a:extLst>
                <a:ext uri="{FF2B5EF4-FFF2-40B4-BE49-F238E27FC236}">
                  <a16:creationId xmlns:a16="http://schemas.microsoft.com/office/drawing/2014/main" id="{A1E1D57B-AADD-4B15-994E-5C046FB6D13F}"/>
                </a:ext>
              </a:extLst>
            </p:cNvPr>
            <p:cNvSpPr/>
            <p:nvPr/>
          </p:nvSpPr>
          <p:spPr bwMode="auto">
            <a:xfrm>
              <a:off x="4860827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ïṧľiḍè">
              <a:extLst>
                <a:ext uri="{FF2B5EF4-FFF2-40B4-BE49-F238E27FC236}">
                  <a16:creationId xmlns:a16="http://schemas.microsoft.com/office/drawing/2014/main" id="{63637FCF-D5B3-4D4C-A58E-1B85C1D0ABDF}"/>
                </a:ext>
              </a:extLst>
            </p:cNvPr>
            <p:cNvSpPr/>
            <p:nvPr/>
          </p:nvSpPr>
          <p:spPr bwMode="auto">
            <a:xfrm>
              <a:off x="5080039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îṡļíďè">
              <a:extLst>
                <a:ext uri="{FF2B5EF4-FFF2-40B4-BE49-F238E27FC236}">
                  <a16:creationId xmlns:a16="http://schemas.microsoft.com/office/drawing/2014/main" id="{665A91AA-5F24-4865-B933-3DE0474EABEA}"/>
                </a:ext>
              </a:extLst>
            </p:cNvPr>
            <p:cNvSpPr/>
            <p:nvPr/>
          </p:nvSpPr>
          <p:spPr bwMode="auto">
            <a:xfrm>
              <a:off x="508003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îSliḋe">
              <a:extLst>
                <a:ext uri="{FF2B5EF4-FFF2-40B4-BE49-F238E27FC236}">
                  <a16:creationId xmlns:a16="http://schemas.microsoft.com/office/drawing/2014/main" id="{1E8A5E17-DA1D-4FC5-A34D-DFEB7AB35C33}"/>
                </a:ext>
              </a:extLst>
            </p:cNvPr>
            <p:cNvSpPr/>
            <p:nvPr/>
          </p:nvSpPr>
          <p:spPr bwMode="auto">
            <a:xfrm>
              <a:off x="5299250" y="3228763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ïşḷide">
              <a:extLst>
                <a:ext uri="{FF2B5EF4-FFF2-40B4-BE49-F238E27FC236}">
                  <a16:creationId xmlns:a16="http://schemas.microsoft.com/office/drawing/2014/main" id="{D8D09ED4-F7A8-4A97-9CA5-12928B2D884A}"/>
                </a:ext>
              </a:extLst>
            </p:cNvPr>
            <p:cNvSpPr/>
            <p:nvPr/>
          </p:nvSpPr>
          <p:spPr bwMode="auto">
            <a:xfrm>
              <a:off x="5518462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íSļiḓé">
              <a:extLst>
                <a:ext uri="{FF2B5EF4-FFF2-40B4-BE49-F238E27FC236}">
                  <a16:creationId xmlns:a16="http://schemas.microsoft.com/office/drawing/2014/main" id="{801FAFE7-7581-4182-A9EC-283C3265E916}"/>
                </a:ext>
              </a:extLst>
            </p:cNvPr>
            <p:cNvSpPr/>
            <p:nvPr/>
          </p:nvSpPr>
          <p:spPr bwMode="auto">
            <a:xfrm>
              <a:off x="5518462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íŝļïḋe">
              <a:extLst>
                <a:ext uri="{FF2B5EF4-FFF2-40B4-BE49-F238E27FC236}">
                  <a16:creationId xmlns:a16="http://schemas.microsoft.com/office/drawing/2014/main" id="{7DD34FAD-09EE-4A92-8B77-9C03967976A5}"/>
                </a:ext>
              </a:extLst>
            </p:cNvPr>
            <p:cNvSpPr/>
            <p:nvPr/>
          </p:nvSpPr>
          <p:spPr bwMode="auto">
            <a:xfrm>
              <a:off x="5739079" y="322876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îş1îḍe">
              <a:extLst>
                <a:ext uri="{FF2B5EF4-FFF2-40B4-BE49-F238E27FC236}">
                  <a16:creationId xmlns:a16="http://schemas.microsoft.com/office/drawing/2014/main" id="{F1502709-3F3B-4297-8718-80A51911F007}"/>
                </a:ext>
              </a:extLst>
            </p:cNvPr>
            <p:cNvSpPr/>
            <p:nvPr/>
          </p:nvSpPr>
          <p:spPr bwMode="auto">
            <a:xfrm>
              <a:off x="5958291" y="322876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íŝḷiďè">
              <a:extLst>
                <a:ext uri="{FF2B5EF4-FFF2-40B4-BE49-F238E27FC236}">
                  <a16:creationId xmlns:a16="http://schemas.microsoft.com/office/drawing/2014/main" id="{5A4832E2-9E43-4B08-B59A-4FA15F747166}"/>
                </a:ext>
              </a:extLst>
            </p:cNvPr>
            <p:cNvSpPr/>
            <p:nvPr/>
          </p:nvSpPr>
          <p:spPr bwMode="auto">
            <a:xfrm>
              <a:off x="6178907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íś1îḍè">
              <a:extLst>
                <a:ext uri="{FF2B5EF4-FFF2-40B4-BE49-F238E27FC236}">
                  <a16:creationId xmlns:a16="http://schemas.microsoft.com/office/drawing/2014/main" id="{89B8B4BB-8BEB-4032-AE2E-9151169E9826}"/>
                </a:ext>
              </a:extLst>
            </p:cNvPr>
            <p:cNvSpPr/>
            <p:nvPr/>
          </p:nvSpPr>
          <p:spPr bwMode="auto">
            <a:xfrm>
              <a:off x="6178907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îŝḷíďè">
              <a:extLst>
                <a:ext uri="{FF2B5EF4-FFF2-40B4-BE49-F238E27FC236}">
                  <a16:creationId xmlns:a16="http://schemas.microsoft.com/office/drawing/2014/main" id="{59EFC68E-4233-4C94-81FA-9FCD61816319}"/>
                </a:ext>
              </a:extLst>
            </p:cNvPr>
            <p:cNvSpPr/>
            <p:nvPr/>
          </p:nvSpPr>
          <p:spPr bwMode="auto">
            <a:xfrm>
              <a:off x="6398119" y="3228763"/>
              <a:ext cx="160193" cy="160193"/>
            </a:xfrm>
            <a:custGeom>
              <a:avLst/>
              <a:gdLst>
                <a:gd name="T0" fmla="*/ 13 w 102"/>
                <a:gd name="T1" fmla="*/ 0 h 102"/>
                <a:gd name="T2" fmla="*/ 0 w 102"/>
                <a:gd name="T3" fmla="*/ 0 h 102"/>
                <a:gd name="T4" fmla="*/ 0 w 102"/>
                <a:gd name="T5" fmla="*/ 102 h 102"/>
                <a:gd name="T6" fmla="*/ 102 w 102"/>
                <a:gd name="T7" fmla="*/ 102 h 102"/>
                <a:gd name="T8" fmla="*/ 102 w 102"/>
                <a:gd name="T9" fmla="*/ 73 h 102"/>
                <a:gd name="T10" fmla="*/ 20 w 102"/>
                <a:gd name="T11" fmla="*/ 12 h 102"/>
                <a:gd name="T12" fmla="*/ 13 w 102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2">
                  <a:moveTo>
                    <a:pt x="1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70" y="62"/>
                    <a:pt x="41" y="40"/>
                    <a:pt x="20" y="12"/>
                  </a:cubicBezTo>
                  <a:cubicBezTo>
                    <a:pt x="18" y="8"/>
                    <a:pt x="15" y="4"/>
                    <a:pt x="13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ṡļïďe">
              <a:extLst>
                <a:ext uri="{FF2B5EF4-FFF2-40B4-BE49-F238E27FC236}">
                  <a16:creationId xmlns:a16="http://schemas.microsoft.com/office/drawing/2014/main" id="{A61DD3F8-339B-4CC4-8380-1B5BF0F89A22}"/>
                </a:ext>
              </a:extLst>
            </p:cNvPr>
            <p:cNvSpPr/>
            <p:nvPr/>
          </p:nvSpPr>
          <p:spPr bwMode="auto">
            <a:xfrm>
              <a:off x="7495582" y="3228763"/>
              <a:ext cx="161599" cy="160193"/>
            </a:xfrm>
            <a:custGeom>
              <a:avLst/>
              <a:gdLst>
                <a:gd name="T0" fmla="*/ 103 w 103"/>
                <a:gd name="T1" fmla="*/ 0 h 102"/>
                <a:gd name="T2" fmla="*/ 23 w 103"/>
                <a:gd name="T3" fmla="*/ 0 h 102"/>
                <a:gd name="T4" fmla="*/ 19 w 103"/>
                <a:gd name="T5" fmla="*/ 2 h 102"/>
                <a:gd name="T6" fmla="*/ 16 w 103"/>
                <a:gd name="T7" fmla="*/ 2 h 102"/>
                <a:gd name="T8" fmla="*/ 6 w 103"/>
                <a:gd name="T9" fmla="*/ 0 h 102"/>
                <a:gd name="T10" fmla="*/ 6 w 103"/>
                <a:gd name="T11" fmla="*/ 0 h 102"/>
                <a:gd name="T12" fmla="*/ 0 w 103"/>
                <a:gd name="T13" fmla="*/ 0 h 102"/>
                <a:gd name="T14" fmla="*/ 0 w 103"/>
                <a:gd name="T15" fmla="*/ 102 h 102"/>
                <a:gd name="T16" fmla="*/ 103 w 103"/>
                <a:gd name="T17" fmla="*/ 102 h 102"/>
                <a:gd name="T18" fmla="*/ 103 w 103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"/>
                    <a:pt x="20" y="2"/>
                    <a:pt x="19" y="2"/>
                  </a:cubicBezTo>
                  <a:cubicBezTo>
                    <a:pt x="18" y="2"/>
                    <a:pt x="17" y="2"/>
                    <a:pt x="16" y="2"/>
                  </a:cubicBezTo>
                  <a:cubicBezTo>
                    <a:pt x="12" y="2"/>
                    <a:pt x="9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03" y="102"/>
                    <a:pt x="103" y="102"/>
                    <a:pt x="103" y="102"/>
                  </a:cubicBezTo>
                  <a:cubicBezTo>
                    <a:pt x="103" y="0"/>
                    <a:pt x="103" y="0"/>
                    <a:pt x="103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îṧḻiḑè">
              <a:extLst>
                <a:ext uri="{FF2B5EF4-FFF2-40B4-BE49-F238E27FC236}">
                  <a16:creationId xmlns:a16="http://schemas.microsoft.com/office/drawing/2014/main" id="{A763C7EC-234E-4420-BE8C-83584D1F99C6}"/>
                </a:ext>
              </a:extLst>
            </p:cNvPr>
            <p:cNvSpPr/>
            <p:nvPr/>
          </p:nvSpPr>
          <p:spPr bwMode="auto">
            <a:xfrm>
              <a:off x="7716199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ï$ļîḑè">
              <a:extLst>
                <a:ext uri="{FF2B5EF4-FFF2-40B4-BE49-F238E27FC236}">
                  <a16:creationId xmlns:a16="http://schemas.microsoft.com/office/drawing/2014/main" id="{67D28831-61B2-4341-93DB-2929F2470C24}"/>
                </a:ext>
              </a:extLst>
            </p:cNvPr>
            <p:cNvSpPr/>
            <p:nvPr/>
          </p:nvSpPr>
          <p:spPr bwMode="auto">
            <a:xfrm>
              <a:off x="771619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iś1iḓé">
              <a:extLst>
                <a:ext uri="{FF2B5EF4-FFF2-40B4-BE49-F238E27FC236}">
                  <a16:creationId xmlns:a16="http://schemas.microsoft.com/office/drawing/2014/main" id="{C0541D61-CED5-490C-A49D-146982937D48}"/>
                </a:ext>
              </a:extLst>
            </p:cNvPr>
            <p:cNvSpPr/>
            <p:nvPr/>
          </p:nvSpPr>
          <p:spPr bwMode="auto">
            <a:xfrm>
              <a:off x="7934006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íşlidé">
              <a:extLst>
                <a:ext uri="{FF2B5EF4-FFF2-40B4-BE49-F238E27FC236}">
                  <a16:creationId xmlns:a16="http://schemas.microsoft.com/office/drawing/2014/main" id="{B0E46D6E-4B02-46E1-8578-53EFDE0CAB14}"/>
                </a:ext>
              </a:extLst>
            </p:cNvPr>
            <p:cNvSpPr/>
            <p:nvPr/>
          </p:nvSpPr>
          <p:spPr bwMode="auto">
            <a:xfrm>
              <a:off x="7934006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í$1îďê">
              <a:extLst>
                <a:ext uri="{FF2B5EF4-FFF2-40B4-BE49-F238E27FC236}">
                  <a16:creationId xmlns:a16="http://schemas.microsoft.com/office/drawing/2014/main" id="{9094F5F3-4280-49CF-9FAC-ECD56CF61532}"/>
                </a:ext>
              </a:extLst>
            </p:cNvPr>
            <p:cNvSpPr/>
            <p:nvPr/>
          </p:nvSpPr>
          <p:spPr bwMode="auto">
            <a:xfrm>
              <a:off x="8154622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îṥḻîḍe">
              <a:extLst>
                <a:ext uri="{FF2B5EF4-FFF2-40B4-BE49-F238E27FC236}">
                  <a16:creationId xmlns:a16="http://schemas.microsoft.com/office/drawing/2014/main" id="{10D2C6B2-9659-468E-91FE-B905DA41AE20}"/>
                </a:ext>
              </a:extLst>
            </p:cNvPr>
            <p:cNvSpPr/>
            <p:nvPr/>
          </p:nvSpPr>
          <p:spPr bwMode="auto">
            <a:xfrm>
              <a:off x="8154622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îṩḷïḑe">
              <a:extLst>
                <a:ext uri="{FF2B5EF4-FFF2-40B4-BE49-F238E27FC236}">
                  <a16:creationId xmlns:a16="http://schemas.microsoft.com/office/drawing/2014/main" id="{18E4685C-6C53-412A-BE7B-59A336F5D5B5}"/>
                </a:ext>
              </a:extLst>
            </p:cNvPr>
            <p:cNvSpPr/>
            <p:nvPr/>
          </p:nvSpPr>
          <p:spPr bwMode="auto">
            <a:xfrm>
              <a:off x="8373834" y="3228763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ïS1íḋé">
              <a:extLst>
                <a:ext uri="{FF2B5EF4-FFF2-40B4-BE49-F238E27FC236}">
                  <a16:creationId xmlns:a16="http://schemas.microsoft.com/office/drawing/2014/main" id="{2E246DBF-15C4-4909-901B-5833DDD83A70}"/>
                </a:ext>
              </a:extLst>
            </p:cNvPr>
            <p:cNvSpPr/>
            <p:nvPr/>
          </p:nvSpPr>
          <p:spPr bwMode="auto">
            <a:xfrm>
              <a:off x="8373834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íṩļiḍê">
              <a:extLst>
                <a:ext uri="{FF2B5EF4-FFF2-40B4-BE49-F238E27FC236}">
                  <a16:creationId xmlns:a16="http://schemas.microsoft.com/office/drawing/2014/main" id="{0DD5EF28-8809-4D65-A216-63B85DB006E9}"/>
                </a:ext>
              </a:extLst>
            </p:cNvPr>
            <p:cNvSpPr/>
            <p:nvPr/>
          </p:nvSpPr>
          <p:spPr bwMode="auto">
            <a:xfrm>
              <a:off x="8594451" y="322876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ïṥḷíḑè">
              <a:extLst>
                <a:ext uri="{FF2B5EF4-FFF2-40B4-BE49-F238E27FC236}">
                  <a16:creationId xmlns:a16="http://schemas.microsoft.com/office/drawing/2014/main" id="{7E997C52-BA38-4149-A9D0-3D94D2565FDC}"/>
                </a:ext>
              </a:extLst>
            </p:cNvPr>
            <p:cNvSpPr/>
            <p:nvPr/>
          </p:nvSpPr>
          <p:spPr bwMode="auto">
            <a:xfrm>
              <a:off x="3102919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i$lîde">
              <a:extLst>
                <a:ext uri="{FF2B5EF4-FFF2-40B4-BE49-F238E27FC236}">
                  <a16:creationId xmlns:a16="http://schemas.microsoft.com/office/drawing/2014/main" id="{411E4029-7076-4F66-97AB-2367097F7B78}"/>
                </a:ext>
              </a:extLst>
            </p:cNvPr>
            <p:cNvSpPr/>
            <p:nvPr/>
          </p:nvSpPr>
          <p:spPr bwMode="auto">
            <a:xfrm>
              <a:off x="310291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íṥḻïḓè">
              <a:extLst>
                <a:ext uri="{FF2B5EF4-FFF2-40B4-BE49-F238E27FC236}">
                  <a16:creationId xmlns:a16="http://schemas.microsoft.com/office/drawing/2014/main" id="{E1FD1944-3ECA-4BCD-B53F-4102921B2712}"/>
                </a:ext>
              </a:extLst>
            </p:cNvPr>
            <p:cNvSpPr/>
            <p:nvPr/>
          </p:nvSpPr>
          <p:spPr bwMode="auto">
            <a:xfrm>
              <a:off x="3323535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îṣľiḍe">
              <a:extLst>
                <a:ext uri="{FF2B5EF4-FFF2-40B4-BE49-F238E27FC236}">
                  <a16:creationId xmlns:a16="http://schemas.microsoft.com/office/drawing/2014/main" id="{9DDBEC1E-AB9C-4E76-A0FB-F2D530930B94}"/>
                </a:ext>
              </a:extLst>
            </p:cNvPr>
            <p:cNvSpPr/>
            <p:nvPr/>
          </p:nvSpPr>
          <p:spPr bwMode="auto">
            <a:xfrm>
              <a:off x="3323535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íS1îḍè">
              <a:extLst>
                <a:ext uri="{FF2B5EF4-FFF2-40B4-BE49-F238E27FC236}">
                  <a16:creationId xmlns:a16="http://schemas.microsoft.com/office/drawing/2014/main" id="{B11AC286-AE0B-4F6E-BA9B-07791781F2E2}"/>
                </a:ext>
              </a:extLst>
            </p:cNvPr>
            <p:cNvSpPr/>
            <p:nvPr/>
          </p:nvSpPr>
          <p:spPr bwMode="auto">
            <a:xfrm>
              <a:off x="3542747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íṥ1ïḓê">
              <a:extLst>
                <a:ext uri="{FF2B5EF4-FFF2-40B4-BE49-F238E27FC236}">
                  <a16:creationId xmlns:a16="http://schemas.microsoft.com/office/drawing/2014/main" id="{D23B3A54-B67E-4ACA-9D47-384005D92E28}"/>
                </a:ext>
              </a:extLst>
            </p:cNvPr>
            <p:cNvSpPr/>
            <p:nvPr/>
          </p:nvSpPr>
          <p:spPr bwMode="auto">
            <a:xfrm>
              <a:off x="3542747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í$ḷîḑè">
              <a:extLst>
                <a:ext uri="{FF2B5EF4-FFF2-40B4-BE49-F238E27FC236}">
                  <a16:creationId xmlns:a16="http://schemas.microsoft.com/office/drawing/2014/main" id="{A9BF245B-7C46-49BE-89DC-537B418309F6}"/>
                </a:ext>
              </a:extLst>
            </p:cNvPr>
            <p:cNvSpPr/>
            <p:nvPr/>
          </p:nvSpPr>
          <p:spPr bwMode="auto">
            <a:xfrm>
              <a:off x="3763364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ï$ḻïďé">
              <a:extLst>
                <a:ext uri="{FF2B5EF4-FFF2-40B4-BE49-F238E27FC236}">
                  <a16:creationId xmlns:a16="http://schemas.microsoft.com/office/drawing/2014/main" id="{433E32DA-ADA0-439B-B484-6164792992B2}"/>
                </a:ext>
              </a:extLst>
            </p:cNvPr>
            <p:cNvSpPr/>
            <p:nvPr/>
          </p:nvSpPr>
          <p:spPr bwMode="auto">
            <a:xfrm>
              <a:off x="3763364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îṩḷíḋê">
              <a:extLst>
                <a:ext uri="{FF2B5EF4-FFF2-40B4-BE49-F238E27FC236}">
                  <a16:creationId xmlns:a16="http://schemas.microsoft.com/office/drawing/2014/main" id="{B6BD7994-FFBF-4A4C-9FC0-18E1C72C7E7E}"/>
                </a:ext>
              </a:extLst>
            </p:cNvPr>
            <p:cNvSpPr/>
            <p:nvPr/>
          </p:nvSpPr>
          <p:spPr bwMode="auto">
            <a:xfrm>
              <a:off x="3981170" y="3431113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îṧlîḓé">
              <a:extLst>
                <a:ext uri="{FF2B5EF4-FFF2-40B4-BE49-F238E27FC236}">
                  <a16:creationId xmlns:a16="http://schemas.microsoft.com/office/drawing/2014/main" id="{717FDEE1-BF1A-41CD-961D-28107FFDD0E4}"/>
                </a:ext>
              </a:extLst>
            </p:cNvPr>
            <p:cNvSpPr/>
            <p:nvPr/>
          </p:nvSpPr>
          <p:spPr bwMode="auto">
            <a:xfrm>
              <a:off x="3981170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íṣḻïḋè">
              <a:extLst>
                <a:ext uri="{FF2B5EF4-FFF2-40B4-BE49-F238E27FC236}">
                  <a16:creationId xmlns:a16="http://schemas.microsoft.com/office/drawing/2014/main" id="{3221E1E9-29B1-4DA1-9B58-57B4554FBD10}"/>
                </a:ext>
              </a:extLst>
            </p:cNvPr>
            <p:cNvSpPr/>
            <p:nvPr/>
          </p:nvSpPr>
          <p:spPr bwMode="auto">
            <a:xfrm>
              <a:off x="4201787" y="343111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iṩḷiḍè">
              <a:extLst>
                <a:ext uri="{FF2B5EF4-FFF2-40B4-BE49-F238E27FC236}">
                  <a16:creationId xmlns:a16="http://schemas.microsoft.com/office/drawing/2014/main" id="{D61010DA-A3D9-4D63-B95B-7C40875954FA}"/>
                </a:ext>
              </a:extLst>
            </p:cNvPr>
            <p:cNvSpPr/>
            <p:nvPr/>
          </p:nvSpPr>
          <p:spPr bwMode="auto">
            <a:xfrm>
              <a:off x="4201787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î$ḻide">
              <a:extLst>
                <a:ext uri="{FF2B5EF4-FFF2-40B4-BE49-F238E27FC236}">
                  <a16:creationId xmlns:a16="http://schemas.microsoft.com/office/drawing/2014/main" id="{720271D5-B3B2-4BD0-A080-B492C9BE4DBF}"/>
                </a:ext>
              </a:extLst>
            </p:cNvPr>
            <p:cNvSpPr/>
            <p:nvPr/>
          </p:nvSpPr>
          <p:spPr bwMode="auto">
            <a:xfrm>
              <a:off x="4420999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iṥ1íďê">
              <a:extLst>
                <a:ext uri="{FF2B5EF4-FFF2-40B4-BE49-F238E27FC236}">
                  <a16:creationId xmlns:a16="http://schemas.microsoft.com/office/drawing/2014/main" id="{B233F039-B637-4800-B864-5AFB3008A170}"/>
                </a:ext>
              </a:extLst>
            </p:cNvPr>
            <p:cNvSpPr/>
            <p:nvPr/>
          </p:nvSpPr>
          <p:spPr bwMode="auto">
            <a:xfrm>
              <a:off x="442099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ïsliḍê">
              <a:extLst>
                <a:ext uri="{FF2B5EF4-FFF2-40B4-BE49-F238E27FC236}">
                  <a16:creationId xmlns:a16="http://schemas.microsoft.com/office/drawing/2014/main" id="{F80FD803-3F18-40E7-A3A9-02C72E06DC65}"/>
                </a:ext>
              </a:extLst>
            </p:cNvPr>
            <p:cNvSpPr/>
            <p:nvPr/>
          </p:nvSpPr>
          <p:spPr bwMode="auto">
            <a:xfrm>
              <a:off x="4640211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îšľiḋe">
              <a:extLst>
                <a:ext uri="{FF2B5EF4-FFF2-40B4-BE49-F238E27FC236}">
                  <a16:creationId xmlns:a16="http://schemas.microsoft.com/office/drawing/2014/main" id="{A854AE03-4A71-4A4E-BC71-68C2B57E566B}"/>
                </a:ext>
              </a:extLst>
            </p:cNvPr>
            <p:cNvSpPr/>
            <p:nvPr/>
          </p:nvSpPr>
          <p:spPr bwMode="auto">
            <a:xfrm>
              <a:off x="4640211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îSḻîďè">
              <a:extLst>
                <a:ext uri="{FF2B5EF4-FFF2-40B4-BE49-F238E27FC236}">
                  <a16:creationId xmlns:a16="http://schemas.microsoft.com/office/drawing/2014/main" id="{DF018EA0-B1B5-48FB-98DD-3A6EFC539982}"/>
                </a:ext>
              </a:extLst>
            </p:cNvPr>
            <p:cNvSpPr/>
            <p:nvPr/>
          </p:nvSpPr>
          <p:spPr bwMode="auto">
            <a:xfrm>
              <a:off x="4860827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ïṣ1íḓe">
              <a:extLst>
                <a:ext uri="{FF2B5EF4-FFF2-40B4-BE49-F238E27FC236}">
                  <a16:creationId xmlns:a16="http://schemas.microsoft.com/office/drawing/2014/main" id="{3EADC1CB-1DC4-409D-AA59-832F765C7051}"/>
                </a:ext>
              </a:extLst>
            </p:cNvPr>
            <p:cNvSpPr/>
            <p:nvPr/>
          </p:nvSpPr>
          <p:spPr bwMode="auto">
            <a:xfrm>
              <a:off x="4860827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ïṩḷiḍè">
              <a:extLst>
                <a:ext uri="{FF2B5EF4-FFF2-40B4-BE49-F238E27FC236}">
                  <a16:creationId xmlns:a16="http://schemas.microsoft.com/office/drawing/2014/main" id="{52193A81-BFEC-4CDE-B601-C28C84DB104D}"/>
                </a:ext>
              </a:extLst>
            </p:cNvPr>
            <p:cNvSpPr/>
            <p:nvPr/>
          </p:nvSpPr>
          <p:spPr bwMode="auto">
            <a:xfrm>
              <a:off x="5080039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íşḷïde">
              <a:extLst>
                <a:ext uri="{FF2B5EF4-FFF2-40B4-BE49-F238E27FC236}">
                  <a16:creationId xmlns:a16="http://schemas.microsoft.com/office/drawing/2014/main" id="{370B807C-2E15-47BA-95A5-629DDE7CD82C}"/>
                </a:ext>
              </a:extLst>
            </p:cNvPr>
            <p:cNvSpPr/>
            <p:nvPr/>
          </p:nvSpPr>
          <p:spPr bwMode="auto">
            <a:xfrm>
              <a:off x="508003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iṧ1îḍé">
              <a:extLst>
                <a:ext uri="{FF2B5EF4-FFF2-40B4-BE49-F238E27FC236}">
                  <a16:creationId xmlns:a16="http://schemas.microsoft.com/office/drawing/2014/main" id="{0EC0ECEC-A639-4667-9BF8-0971559C31C3}"/>
                </a:ext>
              </a:extLst>
            </p:cNvPr>
            <p:cNvSpPr/>
            <p:nvPr/>
          </p:nvSpPr>
          <p:spPr bwMode="auto">
            <a:xfrm>
              <a:off x="5299250" y="343111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iśḻïḑe">
              <a:extLst>
                <a:ext uri="{FF2B5EF4-FFF2-40B4-BE49-F238E27FC236}">
                  <a16:creationId xmlns:a16="http://schemas.microsoft.com/office/drawing/2014/main" id="{05C8A265-30BC-4326-97D8-94DB80FA7A94}"/>
                </a:ext>
              </a:extLst>
            </p:cNvPr>
            <p:cNvSpPr/>
            <p:nvPr/>
          </p:nvSpPr>
          <p:spPr bwMode="auto">
            <a:xfrm>
              <a:off x="5299250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iṣļîḍè">
              <a:extLst>
                <a:ext uri="{FF2B5EF4-FFF2-40B4-BE49-F238E27FC236}">
                  <a16:creationId xmlns:a16="http://schemas.microsoft.com/office/drawing/2014/main" id="{D52428EC-DDCD-49AE-83CF-87FDE784217D}"/>
                </a:ext>
              </a:extLst>
            </p:cNvPr>
            <p:cNvSpPr/>
            <p:nvPr/>
          </p:nvSpPr>
          <p:spPr bwMode="auto">
            <a:xfrm>
              <a:off x="5518462" y="3431113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ïṥliḋê">
              <a:extLst>
                <a:ext uri="{FF2B5EF4-FFF2-40B4-BE49-F238E27FC236}">
                  <a16:creationId xmlns:a16="http://schemas.microsoft.com/office/drawing/2014/main" id="{9CE53D83-42BE-412A-B7F5-C9231688C2C6}"/>
                </a:ext>
              </a:extLst>
            </p:cNvPr>
            <p:cNvSpPr/>
            <p:nvPr/>
          </p:nvSpPr>
          <p:spPr bwMode="auto">
            <a:xfrm>
              <a:off x="5739079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íṣľiḓè">
              <a:extLst>
                <a:ext uri="{FF2B5EF4-FFF2-40B4-BE49-F238E27FC236}">
                  <a16:creationId xmlns:a16="http://schemas.microsoft.com/office/drawing/2014/main" id="{5FF86B45-BCC9-4A6A-9E2F-7C6BE47B666D}"/>
                </a:ext>
              </a:extLst>
            </p:cNvPr>
            <p:cNvSpPr/>
            <p:nvPr/>
          </p:nvSpPr>
          <p:spPr bwMode="auto">
            <a:xfrm>
              <a:off x="573907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íṣ1ïḋe">
              <a:extLst>
                <a:ext uri="{FF2B5EF4-FFF2-40B4-BE49-F238E27FC236}">
                  <a16:creationId xmlns:a16="http://schemas.microsoft.com/office/drawing/2014/main" id="{6FDD7624-6210-4636-B3B6-DE80AEE92699}"/>
                </a:ext>
              </a:extLst>
            </p:cNvPr>
            <p:cNvSpPr/>
            <p:nvPr/>
          </p:nvSpPr>
          <p:spPr bwMode="auto">
            <a:xfrm>
              <a:off x="5958291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í$1íḋè">
              <a:extLst>
                <a:ext uri="{FF2B5EF4-FFF2-40B4-BE49-F238E27FC236}">
                  <a16:creationId xmlns:a16="http://schemas.microsoft.com/office/drawing/2014/main" id="{1B8052CA-A23D-4502-80E9-01D12D5E1857}"/>
                </a:ext>
              </a:extLst>
            </p:cNvPr>
            <p:cNvSpPr/>
            <p:nvPr/>
          </p:nvSpPr>
          <p:spPr bwMode="auto">
            <a:xfrm>
              <a:off x="5958291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işḻîďê">
              <a:extLst>
                <a:ext uri="{FF2B5EF4-FFF2-40B4-BE49-F238E27FC236}">
                  <a16:creationId xmlns:a16="http://schemas.microsoft.com/office/drawing/2014/main" id="{008F7953-7959-483D-985A-AE41F0AF8DE7}"/>
                </a:ext>
              </a:extLst>
            </p:cNvPr>
            <p:cNvSpPr/>
            <p:nvPr/>
          </p:nvSpPr>
          <p:spPr bwMode="auto">
            <a:xfrm>
              <a:off x="6178907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ïṧļíďé">
              <a:extLst>
                <a:ext uri="{FF2B5EF4-FFF2-40B4-BE49-F238E27FC236}">
                  <a16:creationId xmlns:a16="http://schemas.microsoft.com/office/drawing/2014/main" id="{3D30CD20-0DEF-4C5B-9705-9771067B6F94}"/>
                </a:ext>
              </a:extLst>
            </p:cNvPr>
            <p:cNvSpPr/>
            <p:nvPr/>
          </p:nvSpPr>
          <p:spPr bwMode="auto">
            <a:xfrm>
              <a:off x="6178907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ïSļiḍê">
              <a:extLst>
                <a:ext uri="{FF2B5EF4-FFF2-40B4-BE49-F238E27FC236}">
                  <a16:creationId xmlns:a16="http://schemas.microsoft.com/office/drawing/2014/main" id="{E82F0207-8377-4C33-8A26-5460CC7FB670}"/>
                </a:ext>
              </a:extLst>
            </p:cNvPr>
            <p:cNvSpPr/>
            <p:nvPr/>
          </p:nvSpPr>
          <p:spPr bwMode="auto">
            <a:xfrm>
              <a:off x="6398119" y="343111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iSļîḑê">
              <a:extLst>
                <a:ext uri="{FF2B5EF4-FFF2-40B4-BE49-F238E27FC236}">
                  <a16:creationId xmlns:a16="http://schemas.microsoft.com/office/drawing/2014/main" id="{AB4CB394-0949-43FC-863C-DF6C3D050724}"/>
                </a:ext>
              </a:extLst>
            </p:cNvPr>
            <p:cNvSpPr/>
            <p:nvPr/>
          </p:nvSpPr>
          <p:spPr bwMode="auto">
            <a:xfrm>
              <a:off x="6618736" y="3525262"/>
              <a:ext cx="35131" cy="66045"/>
            </a:xfrm>
            <a:custGeom>
              <a:avLst/>
              <a:gdLst>
                <a:gd name="T0" fmla="*/ 0 w 23"/>
                <a:gd name="T1" fmla="*/ 0 h 42"/>
                <a:gd name="T2" fmla="*/ 0 w 23"/>
                <a:gd name="T3" fmla="*/ 42 h 42"/>
                <a:gd name="T4" fmla="*/ 23 w 23"/>
                <a:gd name="T5" fmla="*/ 42 h 42"/>
                <a:gd name="T6" fmla="*/ 0 w 23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0" y="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4" y="29"/>
                    <a:pt x="6" y="15"/>
                    <a:pt x="0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iślíḋe">
              <a:extLst>
                <a:ext uri="{FF2B5EF4-FFF2-40B4-BE49-F238E27FC236}">
                  <a16:creationId xmlns:a16="http://schemas.microsoft.com/office/drawing/2014/main" id="{717E154D-9B19-4932-8B0B-6543FA06FBA7}"/>
                </a:ext>
              </a:extLst>
            </p:cNvPr>
            <p:cNvSpPr/>
            <p:nvPr/>
          </p:nvSpPr>
          <p:spPr bwMode="auto">
            <a:xfrm>
              <a:off x="7523686" y="3431113"/>
              <a:ext cx="133495" cy="15458"/>
            </a:xfrm>
            <a:custGeom>
              <a:avLst/>
              <a:gdLst>
                <a:gd name="T0" fmla="*/ 85 w 85"/>
                <a:gd name="T1" fmla="*/ 0 h 10"/>
                <a:gd name="T2" fmla="*/ 0 w 85"/>
                <a:gd name="T3" fmla="*/ 0 h 10"/>
                <a:gd name="T4" fmla="*/ 5 w 85"/>
                <a:gd name="T5" fmla="*/ 6 h 10"/>
                <a:gd name="T6" fmla="*/ 6 w 85"/>
                <a:gd name="T7" fmla="*/ 6 h 10"/>
                <a:gd name="T8" fmla="*/ 33 w 85"/>
                <a:gd name="T9" fmla="*/ 10 h 10"/>
                <a:gd name="T10" fmla="*/ 44 w 85"/>
                <a:gd name="T11" fmla="*/ 8 h 10"/>
                <a:gd name="T12" fmla="*/ 80 w 85"/>
                <a:gd name="T13" fmla="*/ 2 h 10"/>
                <a:gd name="T14" fmla="*/ 85 w 85"/>
                <a:gd name="T15" fmla="*/ 2 h 10"/>
                <a:gd name="T16" fmla="*/ 85 w 85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0">
                  <a:moveTo>
                    <a:pt x="8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4" y="4"/>
                    <a:pt x="5" y="6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15" y="8"/>
                    <a:pt x="25" y="10"/>
                    <a:pt x="33" y="10"/>
                  </a:cubicBezTo>
                  <a:cubicBezTo>
                    <a:pt x="38" y="10"/>
                    <a:pt x="41" y="9"/>
                    <a:pt x="44" y="8"/>
                  </a:cubicBezTo>
                  <a:cubicBezTo>
                    <a:pt x="56" y="4"/>
                    <a:pt x="68" y="2"/>
                    <a:pt x="80" y="2"/>
                  </a:cubicBezTo>
                  <a:cubicBezTo>
                    <a:pt x="82" y="2"/>
                    <a:pt x="83" y="2"/>
                    <a:pt x="85" y="2"/>
                  </a:cubicBezTo>
                  <a:cubicBezTo>
                    <a:pt x="85" y="0"/>
                    <a:pt x="85" y="0"/>
                    <a:pt x="85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iṩľïďè">
              <a:extLst>
                <a:ext uri="{FF2B5EF4-FFF2-40B4-BE49-F238E27FC236}">
                  <a16:creationId xmlns:a16="http://schemas.microsoft.com/office/drawing/2014/main" id="{D44ED201-C192-4B9C-A8C8-652D6275AEC5}"/>
                </a:ext>
              </a:extLst>
            </p:cNvPr>
            <p:cNvSpPr/>
            <p:nvPr/>
          </p:nvSpPr>
          <p:spPr bwMode="auto">
            <a:xfrm>
              <a:off x="7716199" y="3431113"/>
              <a:ext cx="160193" cy="36535"/>
            </a:xfrm>
            <a:custGeom>
              <a:avLst/>
              <a:gdLst>
                <a:gd name="T0" fmla="*/ 102 w 102"/>
                <a:gd name="T1" fmla="*/ 0 h 23"/>
                <a:gd name="T2" fmla="*/ 0 w 102"/>
                <a:gd name="T3" fmla="*/ 0 h 23"/>
                <a:gd name="T4" fmla="*/ 0 w 102"/>
                <a:gd name="T5" fmla="*/ 7 h 23"/>
                <a:gd name="T6" fmla="*/ 26 w 102"/>
                <a:gd name="T7" fmla="*/ 15 h 23"/>
                <a:gd name="T8" fmla="*/ 81 w 102"/>
                <a:gd name="T9" fmla="*/ 23 h 23"/>
                <a:gd name="T10" fmla="*/ 102 w 102"/>
                <a:gd name="T11" fmla="*/ 23 h 23"/>
                <a:gd name="T12" fmla="*/ 102 w 102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23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9" y="10"/>
                    <a:pt x="18" y="12"/>
                    <a:pt x="26" y="15"/>
                  </a:cubicBezTo>
                  <a:cubicBezTo>
                    <a:pt x="43" y="22"/>
                    <a:pt x="62" y="22"/>
                    <a:pt x="81" y="23"/>
                  </a:cubicBezTo>
                  <a:cubicBezTo>
                    <a:pt x="88" y="23"/>
                    <a:pt x="95" y="23"/>
                    <a:pt x="102" y="23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ïŝḷíḋê">
              <a:extLst>
                <a:ext uri="{FF2B5EF4-FFF2-40B4-BE49-F238E27FC236}">
                  <a16:creationId xmlns:a16="http://schemas.microsoft.com/office/drawing/2014/main" id="{EEFFA070-A589-46A9-975A-8932CEF48684}"/>
                </a:ext>
              </a:extLst>
            </p:cNvPr>
            <p:cNvSpPr/>
            <p:nvPr/>
          </p:nvSpPr>
          <p:spPr bwMode="auto">
            <a:xfrm>
              <a:off x="7934006" y="3431113"/>
              <a:ext cx="161599" cy="37941"/>
            </a:xfrm>
            <a:custGeom>
              <a:avLst/>
              <a:gdLst>
                <a:gd name="T0" fmla="*/ 102 w 102"/>
                <a:gd name="T1" fmla="*/ 0 h 24"/>
                <a:gd name="T2" fmla="*/ 0 w 102"/>
                <a:gd name="T3" fmla="*/ 0 h 24"/>
                <a:gd name="T4" fmla="*/ 0 w 102"/>
                <a:gd name="T5" fmla="*/ 24 h 24"/>
                <a:gd name="T6" fmla="*/ 51 w 102"/>
                <a:gd name="T7" fmla="*/ 20 h 24"/>
                <a:gd name="T8" fmla="*/ 94 w 102"/>
                <a:gd name="T9" fmla="*/ 16 h 24"/>
                <a:gd name="T10" fmla="*/ 100 w 102"/>
                <a:gd name="T11" fmla="*/ 16 h 24"/>
                <a:gd name="T12" fmla="*/ 102 w 102"/>
                <a:gd name="T13" fmla="*/ 16 h 24"/>
                <a:gd name="T14" fmla="*/ 102 w 102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4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7" y="23"/>
                    <a:pt x="34" y="22"/>
                    <a:pt x="51" y="20"/>
                  </a:cubicBezTo>
                  <a:cubicBezTo>
                    <a:pt x="65" y="18"/>
                    <a:pt x="80" y="16"/>
                    <a:pt x="94" y="16"/>
                  </a:cubicBezTo>
                  <a:cubicBezTo>
                    <a:pt x="96" y="16"/>
                    <a:pt x="98" y="16"/>
                    <a:pt x="100" y="16"/>
                  </a:cubicBezTo>
                  <a:cubicBezTo>
                    <a:pt x="101" y="16"/>
                    <a:pt x="102" y="16"/>
                    <a:pt x="102" y="16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îšļíde">
              <a:extLst>
                <a:ext uri="{FF2B5EF4-FFF2-40B4-BE49-F238E27FC236}">
                  <a16:creationId xmlns:a16="http://schemas.microsoft.com/office/drawing/2014/main" id="{1539BC4B-2BA3-4B84-91D3-6BB051B01DE1}"/>
                </a:ext>
              </a:extLst>
            </p:cNvPr>
            <p:cNvSpPr/>
            <p:nvPr/>
          </p:nvSpPr>
          <p:spPr bwMode="auto">
            <a:xfrm>
              <a:off x="8154622" y="3431113"/>
              <a:ext cx="161599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26 h 102"/>
                <a:gd name="T6" fmla="*/ 63 w 102"/>
                <a:gd name="T7" fmla="*/ 81 h 102"/>
                <a:gd name="T8" fmla="*/ 77 w 102"/>
                <a:gd name="T9" fmla="*/ 102 h 102"/>
                <a:gd name="T10" fmla="*/ 102 w 102"/>
                <a:gd name="T11" fmla="*/ 102 h 102"/>
                <a:gd name="T12" fmla="*/ 102 w 102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5" y="38"/>
                    <a:pt x="46" y="58"/>
                    <a:pt x="63" y="81"/>
                  </a:cubicBezTo>
                  <a:cubicBezTo>
                    <a:pt x="68" y="88"/>
                    <a:pt x="73" y="95"/>
                    <a:pt x="77" y="102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îśḷíḋe">
              <a:extLst>
                <a:ext uri="{FF2B5EF4-FFF2-40B4-BE49-F238E27FC236}">
                  <a16:creationId xmlns:a16="http://schemas.microsoft.com/office/drawing/2014/main" id="{37628476-4175-42D7-9A2B-800D5807E891}"/>
                </a:ext>
              </a:extLst>
            </p:cNvPr>
            <p:cNvSpPr/>
            <p:nvPr/>
          </p:nvSpPr>
          <p:spPr bwMode="auto">
            <a:xfrm>
              <a:off x="8373834" y="343111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ïṥľiḑé">
              <a:extLst>
                <a:ext uri="{FF2B5EF4-FFF2-40B4-BE49-F238E27FC236}">
                  <a16:creationId xmlns:a16="http://schemas.microsoft.com/office/drawing/2014/main" id="{CB3CDDFC-D42D-494D-A6E1-60BA59C2EF3A}"/>
                </a:ext>
              </a:extLst>
            </p:cNvPr>
            <p:cNvSpPr/>
            <p:nvPr/>
          </p:nvSpPr>
          <p:spPr bwMode="auto">
            <a:xfrm>
              <a:off x="8373834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îśļíḋé">
              <a:extLst>
                <a:ext uri="{FF2B5EF4-FFF2-40B4-BE49-F238E27FC236}">
                  <a16:creationId xmlns:a16="http://schemas.microsoft.com/office/drawing/2014/main" id="{9E323123-FD2B-40C8-9C69-23EEDEEA4581}"/>
                </a:ext>
              </a:extLst>
            </p:cNvPr>
            <p:cNvSpPr/>
            <p:nvPr/>
          </p:nvSpPr>
          <p:spPr bwMode="auto">
            <a:xfrm>
              <a:off x="8594451" y="343111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iş1idé">
              <a:extLst>
                <a:ext uri="{FF2B5EF4-FFF2-40B4-BE49-F238E27FC236}">
                  <a16:creationId xmlns:a16="http://schemas.microsoft.com/office/drawing/2014/main" id="{41C1E13C-DDCC-48C7-B264-553D40A10213}"/>
                </a:ext>
              </a:extLst>
            </p:cNvPr>
            <p:cNvSpPr/>
            <p:nvPr/>
          </p:nvSpPr>
          <p:spPr bwMode="auto">
            <a:xfrm>
              <a:off x="6846379" y="3584280"/>
              <a:ext cx="439829" cy="438423"/>
            </a:xfrm>
            <a:prstGeom prst="ellipse">
              <a:avLst/>
            </a:prstGeom>
            <a:solidFill>
              <a:srgbClr val="767D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iŝḷîďé">
              <a:extLst>
                <a:ext uri="{FF2B5EF4-FFF2-40B4-BE49-F238E27FC236}">
                  <a16:creationId xmlns:a16="http://schemas.microsoft.com/office/drawing/2014/main" id="{6B6F01F1-DA44-4F0C-A37A-C78D52C68F83}"/>
                </a:ext>
              </a:extLst>
            </p:cNvPr>
            <p:cNvSpPr/>
            <p:nvPr/>
          </p:nvSpPr>
          <p:spPr bwMode="auto">
            <a:xfrm>
              <a:off x="7043107" y="3355232"/>
              <a:ext cx="656230" cy="732111"/>
            </a:xfrm>
            <a:custGeom>
              <a:avLst/>
              <a:gdLst>
                <a:gd name="T0" fmla="*/ 7 w 417"/>
                <a:gd name="T1" fmla="*/ 107 h 465"/>
                <a:gd name="T2" fmla="*/ 42 w 417"/>
                <a:gd name="T3" fmla="*/ 290 h 465"/>
                <a:gd name="T4" fmla="*/ 41 w 417"/>
                <a:gd name="T5" fmla="*/ 345 h 465"/>
                <a:gd name="T6" fmla="*/ 15 w 417"/>
                <a:gd name="T7" fmla="*/ 384 h 465"/>
                <a:gd name="T8" fmla="*/ 5 w 417"/>
                <a:gd name="T9" fmla="*/ 427 h 465"/>
                <a:gd name="T10" fmla="*/ 41 w 417"/>
                <a:gd name="T11" fmla="*/ 454 h 465"/>
                <a:gd name="T12" fmla="*/ 173 w 417"/>
                <a:gd name="T13" fmla="*/ 444 h 465"/>
                <a:gd name="T14" fmla="*/ 228 w 417"/>
                <a:gd name="T15" fmla="*/ 421 h 465"/>
                <a:gd name="T16" fmla="*/ 275 w 417"/>
                <a:gd name="T17" fmla="*/ 377 h 465"/>
                <a:gd name="T18" fmla="*/ 417 w 417"/>
                <a:gd name="T19" fmla="*/ 120 h 465"/>
                <a:gd name="T20" fmla="*/ 284 w 417"/>
                <a:gd name="T21" fmla="*/ 67 h 465"/>
                <a:gd name="T22" fmla="*/ 266 w 417"/>
                <a:gd name="T23" fmla="*/ 0 h 465"/>
                <a:gd name="T24" fmla="*/ 181 w 417"/>
                <a:gd name="T25" fmla="*/ 25 h 465"/>
                <a:gd name="T26" fmla="*/ 131 w 417"/>
                <a:gd name="T27" fmla="*/ 50 h 465"/>
                <a:gd name="T28" fmla="*/ 74 w 417"/>
                <a:gd name="T29" fmla="*/ 83 h 465"/>
                <a:gd name="T30" fmla="*/ 7 w 417"/>
                <a:gd name="T31" fmla="*/ 10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465">
                  <a:moveTo>
                    <a:pt x="7" y="107"/>
                  </a:moveTo>
                  <a:cubicBezTo>
                    <a:pt x="21" y="168"/>
                    <a:pt x="33" y="229"/>
                    <a:pt x="42" y="290"/>
                  </a:cubicBezTo>
                  <a:cubicBezTo>
                    <a:pt x="45" y="309"/>
                    <a:pt x="48" y="328"/>
                    <a:pt x="41" y="345"/>
                  </a:cubicBezTo>
                  <a:cubicBezTo>
                    <a:pt x="36" y="360"/>
                    <a:pt x="24" y="371"/>
                    <a:pt x="15" y="384"/>
                  </a:cubicBezTo>
                  <a:cubicBezTo>
                    <a:pt x="7" y="396"/>
                    <a:pt x="0" y="413"/>
                    <a:pt x="5" y="427"/>
                  </a:cubicBezTo>
                  <a:cubicBezTo>
                    <a:pt x="11" y="442"/>
                    <a:pt x="26" y="449"/>
                    <a:pt x="41" y="454"/>
                  </a:cubicBezTo>
                  <a:cubicBezTo>
                    <a:pt x="84" y="465"/>
                    <a:pt x="130" y="457"/>
                    <a:pt x="173" y="444"/>
                  </a:cubicBezTo>
                  <a:cubicBezTo>
                    <a:pt x="193" y="439"/>
                    <a:pt x="211" y="431"/>
                    <a:pt x="228" y="421"/>
                  </a:cubicBezTo>
                  <a:cubicBezTo>
                    <a:pt x="247" y="410"/>
                    <a:pt x="261" y="394"/>
                    <a:pt x="275" y="377"/>
                  </a:cubicBezTo>
                  <a:cubicBezTo>
                    <a:pt x="338" y="302"/>
                    <a:pt x="378" y="211"/>
                    <a:pt x="417" y="120"/>
                  </a:cubicBezTo>
                  <a:cubicBezTo>
                    <a:pt x="367" y="125"/>
                    <a:pt x="317" y="105"/>
                    <a:pt x="284" y="67"/>
                  </a:cubicBezTo>
                  <a:cubicBezTo>
                    <a:pt x="269" y="48"/>
                    <a:pt x="257" y="23"/>
                    <a:pt x="266" y="0"/>
                  </a:cubicBezTo>
                  <a:cubicBezTo>
                    <a:pt x="240" y="14"/>
                    <a:pt x="209" y="15"/>
                    <a:pt x="181" y="25"/>
                  </a:cubicBezTo>
                  <a:cubicBezTo>
                    <a:pt x="164" y="32"/>
                    <a:pt x="147" y="40"/>
                    <a:pt x="131" y="50"/>
                  </a:cubicBezTo>
                  <a:cubicBezTo>
                    <a:pt x="112" y="61"/>
                    <a:pt x="93" y="72"/>
                    <a:pt x="74" y="83"/>
                  </a:cubicBezTo>
                  <a:cubicBezTo>
                    <a:pt x="52" y="97"/>
                    <a:pt x="32" y="108"/>
                    <a:pt x="7" y="107"/>
                  </a:cubicBezTo>
                </a:path>
              </a:pathLst>
            </a:cu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íṣliḓe">
              <a:extLst>
                <a:ext uri="{FF2B5EF4-FFF2-40B4-BE49-F238E27FC236}">
                  <a16:creationId xmlns:a16="http://schemas.microsoft.com/office/drawing/2014/main" id="{4C0E4905-B430-4DB5-980C-536D5E644A00}"/>
                </a:ext>
              </a:extLst>
            </p:cNvPr>
            <p:cNvSpPr/>
            <p:nvPr/>
          </p:nvSpPr>
          <p:spPr bwMode="auto">
            <a:xfrm>
              <a:off x="6566743" y="3469053"/>
              <a:ext cx="1455790" cy="1892808"/>
            </a:xfrm>
            <a:custGeom>
              <a:avLst/>
              <a:gdLst>
                <a:gd name="T0" fmla="*/ 602 w 925"/>
                <a:gd name="T1" fmla="*/ 140 h 1203"/>
                <a:gd name="T2" fmla="*/ 500 w 925"/>
                <a:gd name="T3" fmla="*/ 261 h 1203"/>
                <a:gd name="T4" fmla="*/ 348 w 925"/>
                <a:gd name="T5" fmla="*/ 269 h 1203"/>
                <a:gd name="T6" fmla="*/ 289 w 925"/>
                <a:gd name="T7" fmla="*/ 217 h 1203"/>
                <a:gd name="T8" fmla="*/ 219 w 925"/>
                <a:gd name="T9" fmla="*/ 187 h 1203"/>
                <a:gd name="T10" fmla="*/ 148 w 925"/>
                <a:gd name="T11" fmla="*/ 234 h 1203"/>
                <a:gd name="T12" fmla="*/ 69 w 925"/>
                <a:gd name="T13" fmla="*/ 340 h 1203"/>
                <a:gd name="T14" fmla="*/ 21 w 925"/>
                <a:gd name="T15" fmla="*/ 587 h 1203"/>
                <a:gd name="T16" fmla="*/ 36 w 925"/>
                <a:gd name="T17" fmla="*/ 841 h 1203"/>
                <a:gd name="T18" fmla="*/ 0 w 925"/>
                <a:gd name="T19" fmla="*/ 1151 h 1203"/>
                <a:gd name="T20" fmla="*/ 494 w 925"/>
                <a:gd name="T21" fmla="*/ 1192 h 1203"/>
                <a:gd name="T22" fmla="*/ 812 w 925"/>
                <a:gd name="T23" fmla="*/ 1202 h 1203"/>
                <a:gd name="T24" fmla="*/ 866 w 925"/>
                <a:gd name="T25" fmla="*/ 1192 h 1203"/>
                <a:gd name="T26" fmla="*/ 888 w 925"/>
                <a:gd name="T27" fmla="*/ 1165 h 1203"/>
                <a:gd name="T28" fmla="*/ 913 w 925"/>
                <a:gd name="T29" fmla="*/ 1077 h 1203"/>
                <a:gd name="T30" fmla="*/ 924 w 925"/>
                <a:gd name="T31" fmla="*/ 844 h 1203"/>
                <a:gd name="T32" fmla="*/ 901 w 925"/>
                <a:gd name="T33" fmla="*/ 281 h 1203"/>
                <a:gd name="T34" fmla="*/ 870 w 925"/>
                <a:gd name="T35" fmla="*/ 146 h 1203"/>
                <a:gd name="T36" fmla="*/ 784 w 925"/>
                <a:gd name="T37" fmla="*/ 41 h 1203"/>
                <a:gd name="T38" fmla="*/ 668 w 925"/>
                <a:gd name="T39" fmla="*/ 15 h 1203"/>
                <a:gd name="T40" fmla="*/ 602 w 925"/>
                <a:gd name="T41" fmla="*/ 140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25" h="1203">
                  <a:moveTo>
                    <a:pt x="602" y="140"/>
                  </a:moveTo>
                  <a:cubicBezTo>
                    <a:pt x="577" y="187"/>
                    <a:pt x="545" y="233"/>
                    <a:pt x="500" y="261"/>
                  </a:cubicBezTo>
                  <a:cubicBezTo>
                    <a:pt x="455" y="289"/>
                    <a:pt x="393" y="297"/>
                    <a:pt x="348" y="269"/>
                  </a:cubicBezTo>
                  <a:cubicBezTo>
                    <a:pt x="326" y="255"/>
                    <a:pt x="309" y="235"/>
                    <a:pt x="289" y="217"/>
                  </a:cubicBezTo>
                  <a:cubicBezTo>
                    <a:pt x="269" y="200"/>
                    <a:pt x="245" y="185"/>
                    <a:pt x="219" y="187"/>
                  </a:cubicBezTo>
                  <a:cubicBezTo>
                    <a:pt x="190" y="189"/>
                    <a:pt x="167" y="212"/>
                    <a:pt x="148" y="234"/>
                  </a:cubicBezTo>
                  <a:cubicBezTo>
                    <a:pt x="118" y="267"/>
                    <a:pt x="90" y="301"/>
                    <a:pt x="69" y="340"/>
                  </a:cubicBezTo>
                  <a:cubicBezTo>
                    <a:pt x="29" y="415"/>
                    <a:pt x="19" y="502"/>
                    <a:pt x="21" y="587"/>
                  </a:cubicBezTo>
                  <a:cubicBezTo>
                    <a:pt x="23" y="672"/>
                    <a:pt x="35" y="756"/>
                    <a:pt x="36" y="841"/>
                  </a:cubicBezTo>
                  <a:cubicBezTo>
                    <a:pt x="36" y="945"/>
                    <a:pt x="18" y="1049"/>
                    <a:pt x="0" y="1151"/>
                  </a:cubicBezTo>
                  <a:cubicBezTo>
                    <a:pt x="165" y="1131"/>
                    <a:pt x="329" y="1175"/>
                    <a:pt x="494" y="1192"/>
                  </a:cubicBezTo>
                  <a:cubicBezTo>
                    <a:pt x="600" y="1203"/>
                    <a:pt x="706" y="1203"/>
                    <a:pt x="812" y="1202"/>
                  </a:cubicBezTo>
                  <a:cubicBezTo>
                    <a:pt x="830" y="1202"/>
                    <a:pt x="850" y="1202"/>
                    <a:pt x="866" y="1192"/>
                  </a:cubicBezTo>
                  <a:cubicBezTo>
                    <a:pt x="875" y="1185"/>
                    <a:pt x="883" y="1176"/>
                    <a:pt x="888" y="1165"/>
                  </a:cubicBezTo>
                  <a:cubicBezTo>
                    <a:pt x="903" y="1138"/>
                    <a:pt x="909" y="1107"/>
                    <a:pt x="913" y="1077"/>
                  </a:cubicBezTo>
                  <a:cubicBezTo>
                    <a:pt x="923" y="1000"/>
                    <a:pt x="923" y="922"/>
                    <a:pt x="924" y="844"/>
                  </a:cubicBezTo>
                  <a:cubicBezTo>
                    <a:pt x="924" y="656"/>
                    <a:pt x="925" y="468"/>
                    <a:pt x="901" y="281"/>
                  </a:cubicBezTo>
                  <a:cubicBezTo>
                    <a:pt x="895" y="235"/>
                    <a:pt x="888" y="189"/>
                    <a:pt x="870" y="146"/>
                  </a:cubicBezTo>
                  <a:cubicBezTo>
                    <a:pt x="853" y="103"/>
                    <a:pt x="824" y="64"/>
                    <a:pt x="784" y="41"/>
                  </a:cubicBezTo>
                  <a:cubicBezTo>
                    <a:pt x="758" y="26"/>
                    <a:pt x="698" y="0"/>
                    <a:pt x="668" y="15"/>
                  </a:cubicBezTo>
                  <a:cubicBezTo>
                    <a:pt x="634" y="32"/>
                    <a:pt x="618" y="108"/>
                    <a:pt x="602" y="140"/>
                  </a:cubicBezTo>
                </a:path>
              </a:pathLst>
            </a:custGeom>
            <a:solidFill>
              <a:srgbClr val="767D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íṧlidè">
              <a:extLst>
                <a:ext uri="{FF2B5EF4-FFF2-40B4-BE49-F238E27FC236}">
                  <a16:creationId xmlns:a16="http://schemas.microsoft.com/office/drawing/2014/main" id="{4231D5E2-8CFC-457B-B274-0D7FE4DE1102}"/>
                </a:ext>
              </a:extLst>
            </p:cNvPr>
            <p:cNvSpPr/>
            <p:nvPr/>
          </p:nvSpPr>
          <p:spPr bwMode="auto">
            <a:xfrm>
              <a:off x="7473099" y="3425492"/>
              <a:ext cx="1042660" cy="1871730"/>
            </a:xfrm>
            <a:custGeom>
              <a:avLst/>
              <a:gdLst>
                <a:gd name="T0" fmla="*/ 38 w 662"/>
                <a:gd name="T1" fmla="*/ 698 h 1190"/>
                <a:gd name="T2" fmla="*/ 60 w 662"/>
                <a:gd name="T3" fmla="*/ 356 h 1190"/>
                <a:gd name="T4" fmla="*/ 40 w 662"/>
                <a:gd name="T5" fmla="*/ 274 h 1190"/>
                <a:gd name="T6" fmla="*/ 81 w 662"/>
                <a:gd name="T7" fmla="*/ 179 h 1190"/>
                <a:gd name="T8" fmla="*/ 83 w 662"/>
                <a:gd name="T9" fmla="*/ 143 h 1190"/>
                <a:gd name="T10" fmla="*/ 39 w 662"/>
                <a:gd name="T11" fmla="*/ 97 h 1190"/>
                <a:gd name="T12" fmla="*/ 3 w 662"/>
                <a:gd name="T13" fmla="*/ 15 h 1190"/>
                <a:gd name="T14" fmla="*/ 38 w 662"/>
                <a:gd name="T15" fmla="*/ 10 h 1190"/>
                <a:gd name="T16" fmla="*/ 76 w 662"/>
                <a:gd name="T17" fmla="*/ 12 h 1190"/>
                <a:gd name="T18" fmla="*/ 180 w 662"/>
                <a:gd name="T19" fmla="*/ 19 h 1190"/>
                <a:gd name="T20" fmla="*/ 235 w 662"/>
                <a:gd name="T21" fmla="*/ 27 h 1190"/>
                <a:gd name="T22" fmla="*/ 344 w 662"/>
                <a:gd name="T23" fmla="*/ 24 h 1190"/>
                <a:gd name="T24" fmla="*/ 393 w 662"/>
                <a:gd name="T25" fmla="*/ 20 h 1190"/>
                <a:gd name="T26" fmla="*/ 496 w 662"/>
                <a:gd name="T27" fmla="*/ 85 h 1190"/>
                <a:gd name="T28" fmla="*/ 556 w 662"/>
                <a:gd name="T29" fmla="*/ 194 h 1190"/>
                <a:gd name="T30" fmla="*/ 607 w 662"/>
                <a:gd name="T31" fmla="*/ 285 h 1190"/>
                <a:gd name="T32" fmla="*/ 636 w 662"/>
                <a:gd name="T33" fmla="*/ 373 h 1190"/>
                <a:gd name="T34" fmla="*/ 657 w 662"/>
                <a:gd name="T35" fmla="*/ 450 h 1190"/>
                <a:gd name="T36" fmla="*/ 662 w 662"/>
                <a:gd name="T37" fmla="*/ 484 h 1190"/>
                <a:gd name="T38" fmla="*/ 650 w 662"/>
                <a:gd name="T39" fmla="*/ 518 h 1190"/>
                <a:gd name="T40" fmla="*/ 575 w 662"/>
                <a:gd name="T41" fmla="*/ 632 h 1190"/>
                <a:gd name="T42" fmla="*/ 454 w 662"/>
                <a:gd name="T43" fmla="*/ 796 h 1190"/>
                <a:gd name="T44" fmla="*/ 433 w 662"/>
                <a:gd name="T45" fmla="*/ 873 h 1190"/>
                <a:gd name="T46" fmla="*/ 390 w 662"/>
                <a:gd name="T47" fmla="*/ 1190 h 1190"/>
                <a:gd name="T48" fmla="*/ 243 w 662"/>
                <a:gd name="T49" fmla="*/ 1141 h 1190"/>
                <a:gd name="T50" fmla="*/ 167 w 662"/>
                <a:gd name="T51" fmla="*/ 1129 h 1190"/>
                <a:gd name="T52" fmla="*/ 139 w 662"/>
                <a:gd name="T53" fmla="*/ 1128 h 1190"/>
                <a:gd name="T54" fmla="*/ 95 w 662"/>
                <a:gd name="T55" fmla="*/ 1125 h 1190"/>
                <a:gd name="T56" fmla="*/ 50 w 662"/>
                <a:gd name="T57" fmla="*/ 1023 h 1190"/>
                <a:gd name="T58" fmla="*/ 39 w 662"/>
                <a:gd name="T59" fmla="*/ 871 h 1190"/>
                <a:gd name="T60" fmla="*/ 38 w 662"/>
                <a:gd name="T61" fmla="*/ 698 h 1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62" h="1190">
                  <a:moveTo>
                    <a:pt x="38" y="698"/>
                  </a:moveTo>
                  <a:cubicBezTo>
                    <a:pt x="32" y="582"/>
                    <a:pt x="6" y="459"/>
                    <a:pt x="60" y="356"/>
                  </a:cubicBezTo>
                  <a:cubicBezTo>
                    <a:pt x="73" y="330"/>
                    <a:pt x="26" y="299"/>
                    <a:pt x="40" y="274"/>
                  </a:cubicBezTo>
                  <a:cubicBezTo>
                    <a:pt x="58" y="245"/>
                    <a:pt x="72" y="212"/>
                    <a:pt x="81" y="179"/>
                  </a:cubicBezTo>
                  <a:cubicBezTo>
                    <a:pt x="84" y="167"/>
                    <a:pt x="86" y="155"/>
                    <a:pt x="83" y="143"/>
                  </a:cubicBezTo>
                  <a:cubicBezTo>
                    <a:pt x="78" y="122"/>
                    <a:pt x="57" y="109"/>
                    <a:pt x="39" y="97"/>
                  </a:cubicBezTo>
                  <a:cubicBezTo>
                    <a:pt x="20" y="82"/>
                    <a:pt x="10" y="39"/>
                    <a:pt x="3" y="15"/>
                  </a:cubicBezTo>
                  <a:cubicBezTo>
                    <a:pt x="0" y="2"/>
                    <a:pt x="17" y="6"/>
                    <a:pt x="38" y="10"/>
                  </a:cubicBezTo>
                  <a:cubicBezTo>
                    <a:pt x="52" y="13"/>
                    <a:pt x="67" y="15"/>
                    <a:pt x="76" y="12"/>
                  </a:cubicBezTo>
                  <a:cubicBezTo>
                    <a:pt x="108" y="0"/>
                    <a:pt x="148" y="8"/>
                    <a:pt x="180" y="19"/>
                  </a:cubicBezTo>
                  <a:cubicBezTo>
                    <a:pt x="197" y="26"/>
                    <a:pt x="216" y="26"/>
                    <a:pt x="235" y="27"/>
                  </a:cubicBezTo>
                  <a:cubicBezTo>
                    <a:pt x="272" y="28"/>
                    <a:pt x="308" y="29"/>
                    <a:pt x="344" y="24"/>
                  </a:cubicBezTo>
                  <a:cubicBezTo>
                    <a:pt x="361" y="22"/>
                    <a:pt x="377" y="19"/>
                    <a:pt x="393" y="20"/>
                  </a:cubicBezTo>
                  <a:cubicBezTo>
                    <a:pt x="435" y="22"/>
                    <a:pt x="471" y="51"/>
                    <a:pt x="496" y="85"/>
                  </a:cubicBezTo>
                  <a:cubicBezTo>
                    <a:pt x="520" y="118"/>
                    <a:pt x="536" y="158"/>
                    <a:pt x="556" y="194"/>
                  </a:cubicBezTo>
                  <a:cubicBezTo>
                    <a:pt x="573" y="224"/>
                    <a:pt x="593" y="253"/>
                    <a:pt x="607" y="285"/>
                  </a:cubicBezTo>
                  <a:cubicBezTo>
                    <a:pt x="620" y="313"/>
                    <a:pt x="628" y="343"/>
                    <a:pt x="636" y="373"/>
                  </a:cubicBezTo>
                  <a:cubicBezTo>
                    <a:pt x="657" y="450"/>
                    <a:pt x="657" y="450"/>
                    <a:pt x="657" y="450"/>
                  </a:cubicBezTo>
                  <a:cubicBezTo>
                    <a:pt x="660" y="461"/>
                    <a:pt x="662" y="472"/>
                    <a:pt x="662" y="484"/>
                  </a:cubicBezTo>
                  <a:cubicBezTo>
                    <a:pt x="661" y="496"/>
                    <a:pt x="655" y="507"/>
                    <a:pt x="650" y="518"/>
                  </a:cubicBezTo>
                  <a:cubicBezTo>
                    <a:pt x="629" y="559"/>
                    <a:pt x="604" y="597"/>
                    <a:pt x="575" y="632"/>
                  </a:cubicBezTo>
                  <a:cubicBezTo>
                    <a:pt x="532" y="685"/>
                    <a:pt x="479" y="733"/>
                    <a:pt x="454" y="796"/>
                  </a:cubicBezTo>
                  <a:cubicBezTo>
                    <a:pt x="444" y="821"/>
                    <a:pt x="438" y="847"/>
                    <a:pt x="433" y="873"/>
                  </a:cubicBezTo>
                  <a:cubicBezTo>
                    <a:pt x="413" y="978"/>
                    <a:pt x="398" y="1084"/>
                    <a:pt x="390" y="1190"/>
                  </a:cubicBezTo>
                  <a:cubicBezTo>
                    <a:pt x="343" y="1168"/>
                    <a:pt x="294" y="1152"/>
                    <a:pt x="243" y="1141"/>
                  </a:cubicBezTo>
                  <a:cubicBezTo>
                    <a:pt x="218" y="1136"/>
                    <a:pt x="193" y="1132"/>
                    <a:pt x="167" y="1129"/>
                  </a:cubicBezTo>
                  <a:cubicBezTo>
                    <a:pt x="159" y="1128"/>
                    <a:pt x="149" y="1128"/>
                    <a:pt x="139" y="1128"/>
                  </a:cubicBezTo>
                  <a:cubicBezTo>
                    <a:pt x="124" y="1129"/>
                    <a:pt x="108" y="1129"/>
                    <a:pt x="95" y="1125"/>
                  </a:cubicBezTo>
                  <a:cubicBezTo>
                    <a:pt x="59" y="1115"/>
                    <a:pt x="55" y="1055"/>
                    <a:pt x="50" y="1023"/>
                  </a:cubicBezTo>
                  <a:cubicBezTo>
                    <a:pt x="41" y="973"/>
                    <a:pt x="40" y="922"/>
                    <a:pt x="39" y="871"/>
                  </a:cubicBezTo>
                  <a:cubicBezTo>
                    <a:pt x="39" y="813"/>
                    <a:pt x="41" y="756"/>
                    <a:pt x="38" y="698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ïş1iďê">
              <a:extLst>
                <a:ext uri="{FF2B5EF4-FFF2-40B4-BE49-F238E27FC236}">
                  <a16:creationId xmlns:a16="http://schemas.microsoft.com/office/drawing/2014/main" id="{3BB9EAEB-A079-43C1-90AB-A28758CF2BCA}"/>
                </a:ext>
              </a:extLst>
            </p:cNvPr>
            <p:cNvSpPr/>
            <p:nvPr/>
          </p:nvSpPr>
          <p:spPr bwMode="auto">
            <a:xfrm>
              <a:off x="5754536" y="4098584"/>
              <a:ext cx="660445" cy="983642"/>
            </a:xfrm>
            <a:custGeom>
              <a:avLst/>
              <a:gdLst>
                <a:gd name="T0" fmla="*/ 347 w 419"/>
                <a:gd name="T1" fmla="*/ 54 h 625"/>
                <a:gd name="T2" fmla="*/ 419 w 419"/>
                <a:gd name="T3" fmla="*/ 336 h 625"/>
                <a:gd name="T4" fmla="*/ 416 w 419"/>
                <a:gd name="T5" fmla="*/ 338 h 625"/>
                <a:gd name="T6" fmla="*/ 406 w 419"/>
                <a:gd name="T7" fmla="*/ 346 h 625"/>
                <a:gd name="T8" fmla="*/ 382 w 419"/>
                <a:gd name="T9" fmla="*/ 365 h 625"/>
                <a:gd name="T10" fmla="*/ 376 w 419"/>
                <a:gd name="T11" fmla="*/ 374 h 625"/>
                <a:gd name="T12" fmla="*/ 376 w 419"/>
                <a:gd name="T13" fmla="*/ 392 h 625"/>
                <a:gd name="T14" fmla="*/ 313 w 419"/>
                <a:gd name="T15" fmla="*/ 397 h 625"/>
                <a:gd name="T16" fmla="*/ 262 w 419"/>
                <a:gd name="T17" fmla="*/ 407 h 625"/>
                <a:gd name="T18" fmla="*/ 232 w 419"/>
                <a:gd name="T19" fmla="*/ 474 h 625"/>
                <a:gd name="T20" fmla="*/ 229 w 419"/>
                <a:gd name="T21" fmla="*/ 501 h 625"/>
                <a:gd name="T22" fmla="*/ 227 w 419"/>
                <a:gd name="T23" fmla="*/ 526 h 625"/>
                <a:gd name="T24" fmla="*/ 226 w 419"/>
                <a:gd name="T25" fmla="*/ 610 h 625"/>
                <a:gd name="T26" fmla="*/ 227 w 419"/>
                <a:gd name="T27" fmla="*/ 625 h 625"/>
                <a:gd name="T28" fmla="*/ 46 w 419"/>
                <a:gd name="T29" fmla="*/ 557 h 625"/>
                <a:gd name="T30" fmla="*/ 11 w 419"/>
                <a:gd name="T31" fmla="*/ 529 h 625"/>
                <a:gd name="T32" fmla="*/ 2 w 419"/>
                <a:gd name="T33" fmla="*/ 487 h 625"/>
                <a:gd name="T34" fmla="*/ 3 w 419"/>
                <a:gd name="T35" fmla="*/ 481 h 625"/>
                <a:gd name="T36" fmla="*/ 12 w 419"/>
                <a:gd name="T37" fmla="*/ 447 h 625"/>
                <a:gd name="T38" fmla="*/ 89 w 419"/>
                <a:gd name="T39" fmla="*/ 316 h 625"/>
                <a:gd name="T40" fmla="*/ 126 w 419"/>
                <a:gd name="T41" fmla="*/ 262 h 625"/>
                <a:gd name="T42" fmla="*/ 133 w 419"/>
                <a:gd name="T43" fmla="*/ 234 h 625"/>
                <a:gd name="T44" fmla="*/ 210 w 419"/>
                <a:gd name="T45" fmla="*/ 137 h 625"/>
                <a:gd name="T46" fmla="*/ 221 w 419"/>
                <a:gd name="T47" fmla="*/ 109 h 625"/>
                <a:gd name="T48" fmla="*/ 238 w 419"/>
                <a:gd name="T49" fmla="*/ 90 h 625"/>
                <a:gd name="T50" fmla="*/ 247 w 419"/>
                <a:gd name="T51" fmla="*/ 83 h 625"/>
                <a:gd name="T52" fmla="*/ 328 w 419"/>
                <a:gd name="T53" fmla="*/ 13 h 625"/>
                <a:gd name="T54" fmla="*/ 343 w 419"/>
                <a:gd name="T55" fmla="*/ 0 h 625"/>
                <a:gd name="T56" fmla="*/ 347 w 419"/>
                <a:gd name="T57" fmla="*/ 54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9" h="625">
                  <a:moveTo>
                    <a:pt x="347" y="54"/>
                  </a:moveTo>
                  <a:cubicBezTo>
                    <a:pt x="364" y="150"/>
                    <a:pt x="382" y="246"/>
                    <a:pt x="419" y="336"/>
                  </a:cubicBezTo>
                  <a:cubicBezTo>
                    <a:pt x="418" y="337"/>
                    <a:pt x="417" y="338"/>
                    <a:pt x="416" y="338"/>
                  </a:cubicBezTo>
                  <a:cubicBezTo>
                    <a:pt x="413" y="341"/>
                    <a:pt x="410" y="344"/>
                    <a:pt x="406" y="346"/>
                  </a:cubicBezTo>
                  <a:cubicBezTo>
                    <a:pt x="398" y="352"/>
                    <a:pt x="389" y="357"/>
                    <a:pt x="382" y="365"/>
                  </a:cubicBezTo>
                  <a:cubicBezTo>
                    <a:pt x="379" y="368"/>
                    <a:pt x="377" y="371"/>
                    <a:pt x="376" y="374"/>
                  </a:cubicBezTo>
                  <a:cubicBezTo>
                    <a:pt x="374" y="380"/>
                    <a:pt x="374" y="387"/>
                    <a:pt x="376" y="392"/>
                  </a:cubicBezTo>
                  <a:cubicBezTo>
                    <a:pt x="357" y="401"/>
                    <a:pt x="335" y="398"/>
                    <a:pt x="313" y="397"/>
                  </a:cubicBezTo>
                  <a:cubicBezTo>
                    <a:pt x="295" y="397"/>
                    <a:pt x="277" y="397"/>
                    <a:pt x="262" y="407"/>
                  </a:cubicBezTo>
                  <a:cubicBezTo>
                    <a:pt x="242" y="422"/>
                    <a:pt x="236" y="449"/>
                    <a:pt x="232" y="474"/>
                  </a:cubicBezTo>
                  <a:cubicBezTo>
                    <a:pt x="231" y="483"/>
                    <a:pt x="230" y="492"/>
                    <a:pt x="229" y="501"/>
                  </a:cubicBezTo>
                  <a:cubicBezTo>
                    <a:pt x="228" y="509"/>
                    <a:pt x="227" y="517"/>
                    <a:pt x="227" y="526"/>
                  </a:cubicBezTo>
                  <a:cubicBezTo>
                    <a:pt x="225" y="554"/>
                    <a:pt x="225" y="582"/>
                    <a:pt x="226" y="610"/>
                  </a:cubicBezTo>
                  <a:cubicBezTo>
                    <a:pt x="226" y="615"/>
                    <a:pt x="227" y="620"/>
                    <a:pt x="227" y="625"/>
                  </a:cubicBezTo>
                  <a:cubicBezTo>
                    <a:pt x="162" y="624"/>
                    <a:pt x="102" y="590"/>
                    <a:pt x="46" y="557"/>
                  </a:cubicBezTo>
                  <a:cubicBezTo>
                    <a:pt x="33" y="549"/>
                    <a:pt x="20" y="541"/>
                    <a:pt x="11" y="529"/>
                  </a:cubicBezTo>
                  <a:cubicBezTo>
                    <a:pt x="4" y="516"/>
                    <a:pt x="0" y="502"/>
                    <a:pt x="2" y="487"/>
                  </a:cubicBezTo>
                  <a:cubicBezTo>
                    <a:pt x="2" y="485"/>
                    <a:pt x="2" y="483"/>
                    <a:pt x="3" y="481"/>
                  </a:cubicBezTo>
                  <a:cubicBezTo>
                    <a:pt x="4" y="469"/>
                    <a:pt x="8" y="458"/>
                    <a:pt x="12" y="447"/>
                  </a:cubicBezTo>
                  <a:cubicBezTo>
                    <a:pt x="29" y="399"/>
                    <a:pt x="55" y="355"/>
                    <a:pt x="89" y="316"/>
                  </a:cubicBezTo>
                  <a:cubicBezTo>
                    <a:pt x="103" y="299"/>
                    <a:pt x="119" y="283"/>
                    <a:pt x="126" y="262"/>
                  </a:cubicBezTo>
                  <a:cubicBezTo>
                    <a:pt x="129" y="253"/>
                    <a:pt x="130" y="243"/>
                    <a:pt x="133" y="234"/>
                  </a:cubicBezTo>
                  <a:cubicBezTo>
                    <a:pt x="146" y="194"/>
                    <a:pt x="194" y="176"/>
                    <a:pt x="210" y="137"/>
                  </a:cubicBezTo>
                  <a:cubicBezTo>
                    <a:pt x="214" y="128"/>
                    <a:pt x="216" y="118"/>
                    <a:pt x="221" y="109"/>
                  </a:cubicBezTo>
                  <a:cubicBezTo>
                    <a:pt x="226" y="102"/>
                    <a:pt x="231" y="96"/>
                    <a:pt x="238" y="90"/>
                  </a:cubicBezTo>
                  <a:cubicBezTo>
                    <a:pt x="241" y="88"/>
                    <a:pt x="244" y="86"/>
                    <a:pt x="247" y="83"/>
                  </a:cubicBezTo>
                  <a:cubicBezTo>
                    <a:pt x="275" y="61"/>
                    <a:pt x="302" y="38"/>
                    <a:pt x="328" y="13"/>
                  </a:cubicBezTo>
                  <a:cubicBezTo>
                    <a:pt x="333" y="9"/>
                    <a:pt x="338" y="4"/>
                    <a:pt x="343" y="0"/>
                  </a:cubicBezTo>
                  <a:cubicBezTo>
                    <a:pt x="342" y="18"/>
                    <a:pt x="343" y="36"/>
                    <a:pt x="347" y="54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í$ļiḋe">
              <a:extLst>
                <a:ext uri="{FF2B5EF4-FFF2-40B4-BE49-F238E27FC236}">
                  <a16:creationId xmlns:a16="http://schemas.microsoft.com/office/drawing/2014/main" id="{030D3DBA-E011-4E59-9AF0-E9DB8B7ABC60}"/>
                </a:ext>
              </a:extLst>
            </p:cNvPr>
            <p:cNvSpPr/>
            <p:nvPr/>
          </p:nvSpPr>
          <p:spPr bwMode="auto">
            <a:xfrm>
              <a:off x="6295539" y="3598332"/>
              <a:ext cx="705412" cy="1800065"/>
            </a:xfrm>
            <a:custGeom>
              <a:avLst/>
              <a:gdLst>
                <a:gd name="T0" fmla="*/ 407 w 448"/>
                <a:gd name="T1" fmla="*/ 88 h 1144"/>
                <a:gd name="T2" fmla="*/ 389 w 448"/>
                <a:gd name="T3" fmla="*/ 105 h 1144"/>
                <a:gd name="T4" fmla="*/ 387 w 448"/>
                <a:gd name="T5" fmla="*/ 107 h 1144"/>
                <a:gd name="T6" fmla="*/ 381 w 448"/>
                <a:gd name="T7" fmla="*/ 113 h 1144"/>
                <a:gd name="T8" fmla="*/ 351 w 448"/>
                <a:gd name="T9" fmla="*/ 148 h 1144"/>
                <a:gd name="T10" fmla="*/ 350 w 448"/>
                <a:gd name="T11" fmla="*/ 149 h 1144"/>
                <a:gd name="T12" fmla="*/ 343 w 448"/>
                <a:gd name="T13" fmla="*/ 272 h 1144"/>
                <a:gd name="T14" fmla="*/ 352 w 448"/>
                <a:gd name="T15" fmla="*/ 428 h 1144"/>
                <a:gd name="T16" fmla="*/ 343 w 448"/>
                <a:gd name="T17" fmla="*/ 643 h 1144"/>
                <a:gd name="T18" fmla="*/ 344 w 448"/>
                <a:gd name="T19" fmla="*/ 692 h 1144"/>
                <a:gd name="T20" fmla="*/ 349 w 448"/>
                <a:gd name="T21" fmla="*/ 772 h 1144"/>
                <a:gd name="T22" fmla="*/ 358 w 448"/>
                <a:gd name="T23" fmla="*/ 859 h 1144"/>
                <a:gd name="T24" fmla="*/ 364 w 448"/>
                <a:gd name="T25" fmla="*/ 926 h 1144"/>
                <a:gd name="T26" fmla="*/ 367 w 448"/>
                <a:gd name="T27" fmla="*/ 961 h 1144"/>
                <a:gd name="T28" fmla="*/ 369 w 448"/>
                <a:gd name="T29" fmla="*/ 1002 h 1144"/>
                <a:gd name="T30" fmla="*/ 369 w 448"/>
                <a:gd name="T31" fmla="*/ 1027 h 1144"/>
                <a:gd name="T32" fmla="*/ 369 w 448"/>
                <a:gd name="T33" fmla="*/ 1042 h 1144"/>
                <a:gd name="T34" fmla="*/ 368 w 448"/>
                <a:gd name="T35" fmla="*/ 1070 h 1144"/>
                <a:gd name="T36" fmla="*/ 366 w 448"/>
                <a:gd name="T37" fmla="*/ 1106 h 1144"/>
                <a:gd name="T38" fmla="*/ 353 w 448"/>
                <a:gd name="T39" fmla="*/ 1143 h 1144"/>
                <a:gd name="T40" fmla="*/ 351 w 448"/>
                <a:gd name="T41" fmla="*/ 1144 h 1144"/>
                <a:gd name="T42" fmla="*/ 338 w 448"/>
                <a:gd name="T43" fmla="*/ 1143 h 1144"/>
                <a:gd name="T44" fmla="*/ 69 w 448"/>
                <a:gd name="T45" fmla="*/ 1138 h 1144"/>
                <a:gd name="T46" fmla="*/ 75 w 448"/>
                <a:gd name="T47" fmla="*/ 1097 h 1144"/>
                <a:gd name="T48" fmla="*/ 77 w 448"/>
                <a:gd name="T49" fmla="*/ 1078 h 1144"/>
                <a:gd name="T50" fmla="*/ 80 w 448"/>
                <a:gd name="T51" fmla="*/ 1056 h 1144"/>
                <a:gd name="T52" fmla="*/ 82 w 448"/>
                <a:gd name="T53" fmla="*/ 1032 h 1144"/>
                <a:gd name="T54" fmla="*/ 88 w 448"/>
                <a:gd name="T55" fmla="*/ 970 h 1144"/>
                <a:gd name="T56" fmla="*/ 93 w 448"/>
                <a:gd name="T57" fmla="*/ 880 h 1144"/>
                <a:gd name="T58" fmla="*/ 94 w 448"/>
                <a:gd name="T59" fmla="*/ 836 h 1144"/>
                <a:gd name="T60" fmla="*/ 95 w 448"/>
                <a:gd name="T61" fmla="*/ 782 h 1144"/>
                <a:gd name="T62" fmla="*/ 95 w 448"/>
                <a:gd name="T63" fmla="*/ 730 h 1144"/>
                <a:gd name="T64" fmla="*/ 94 w 448"/>
                <a:gd name="T65" fmla="*/ 713 h 1144"/>
                <a:gd name="T66" fmla="*/ 92 w 448"/>
                <a:gd name="T67" fmla="*/ 697 h 1144"/>
                <a:gd name="T68" fmla="*/ 80 w 448"/>
                <a:gd name="T69" fmla="*/ 664 h 1144"/>
                <a:gd name="T70" fmla="*/ 77 w 448"/>
                <a:gd name="T71" fmla="*/ 657 h 1144"/>
                <a:gd name="T72" fmla="*/ 76 w 448"/>
                <a:gd name="T73" fmla="*/ 654 h 1144"/>
                <a:gd name="T74" fmla="*/ 131 w 448"/>
                <a:gd name="T75" fmla="*/ 579 h 1144"/>
                <a:gd name="T76" fmla="*/ 187 w 448"/>
                <a:gd name="T77" fmla="*/ 440 h 1144"/>
                <a:gd name="T78" fmla="*/ 118 w 448"/>
                <a:gd name="T79" fmla="*/ 317 h 1144"/>
                <a:gd name="T80" fmla="*/ 78 w 448"/>
                <a:gd name="T81" fmla="*/ 310 h 1144"/>
                <a:gd name="T82" fmla="*/ 24 w 448"/>
                <a:gd name="T83" fmla="*/ 294 h 1144"/>
                <a:gd name="T84" fmla="*/ 0 w 448"/>
                <a:gd name="T85" fmla="*/ 318 h 1144"/>
                <a:gd name="T86" fmla="*/ 9 w 448"/>
                <a:gd name="T87" fmla="*/ 283 h 1144"/>
                <a:gd name="T88" fmla="*/ 14 w 448"/>
                <a:gd name="T89" fmla="*/ 283 h 1144"/>
                <a:gd name="T90" fmla="*/ 14 w 448"/>
                <a:gd name="T91" fmla="*/ 279 h 1144"/>
                <a:gd name="T92" fmla="*/ 23 w 448"/>
                <a:gd name="T93" fmla="*/ 265 h 1144"/>
                <a:gd name="T94" fmla="*/ 83 w 448"/>
                <a:gd name="T95" fmla="*/ 224 h 1144"/>
                <a:gd name="T96" fmla="*/ 93 w 448"/>
                <a:gd name="T97" fmla="*/ 194 h 1144"/>
                <a:gd name="T98" fmla="*/ 157 w 448"/>
                <a:gd name="T99" fmla="*/ 136 h 1144"/>
                <a:gd name="T100" fmla="*/ 198 w 448"/>
                <a:gd name="T101" fmla="*/ 60 h 1144"/>
                <a:gd name="T102" fmla="*/ 246 w 448"/>
                <a:gd name="T103" fmla="*/ 20 h 1144"/>
                <a:gd name="T104" fmla="*/ 251 w 448"/>
                <a:gd name="T105" fmla="*/ 18 h 1144"/>
                <a:gd name="T106" fmla="*/ 358 w 448"/>
                <a:gd name="T107" fmla="*/ 0 h 1144"/>
                <a:gd name="T108" fmla="*/ 423 w 448"/>
                <a:gd name="T109" fmla="*/ 8 h 1144"/>
                <a:gd name="T110" fmla="*/ 430 w 448"/>
                <a:gd name="T111" fmla="*/ 12 h 1144"/>
                <a:gd name="T112" fmla="*/ 407 w 448"/>
                <a:gd name="T113" fmla="*/ 88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8" h="1144">
                  <a:moveTo>
                    <a:pt x="407" y="88"/>
                  </a:moveTo>
                  <a:cubicBezTo>
                    <a:pt x="401" y="94"/>
                    <a:pt x="395" y="99"/>
                    <a:pt x="389" y="105"/>
                  </a:cubicBezTo>
                  <a:cubicBezTo>
                    <a:pt x="387" y="107"/>
                    <a:pt x="387" y="107"/>
                    <a:pt x="387" y="107"/>
                  </a:cubicBezTo>
                  <a:cubicBezTo>
                    <a:pt x="381" y="113"/>
                    <a:pt x="381" y="113"/>
                    <a:pt x="381" y="113"/>
                  </a:cubicBezTo>
                  <a:cubicBezTo>
                    <a:pt x="369" y="123"/>
                    <a:pt x="359" y="135"/>
                    <a:pt x="351" y="148"/>
                  </a:cubicBezTo>
                  <a:cubicBezTo>
                    <a:pt x="350" y="149"/>
                    <a:pt x="350" y="149"/>
                    <a:pt x="350" y="149"/>
                  </a:cubicBezTo>
                  <a:cubicBezTo>
                    <a:pt x="329" y="185"/>
                    <a:pt x="337" y="230"/>
                    <a:pt x="343" y="272"/>
                  </a:cubicBezTo>
                  <a:cubicBezTo>
                    <a:pt x="350" y="323"/>
                    <a:pt x="353" y="376"/>
                    <a:pt x="352" y="428"/>
                  </a:cubicBezTo>
                  <a:cubicBezTo>
                    <a:pt x="351" y="500"/>
                    <a:pt x="343" y="571"/>
                    <a:pt x="343" y="643"/>
                  </a:cubicBezTo>
                  <a:cubicBezTo>
                    <a:pt x="343" y="660"/>
                    <a:pt x="343" y="676"/>
                    <a:pt x="344" y="692"/>
                  </a:cubicBezTo>
                  <a:cubicBezTo>
                    <a:pt x="345" y="719"/>
                    <a:pt x="347" y="745"/>
                    <a:pt x="349" y="772"/>
                  </a:cubicBezTo>
                  <a:cubicBezTo>
                    <a:pt x="352" y="801"/>
                    <a:pt x="355" y="830"/>
                    <a:pt x="358" y="859"/>
                  </a:cubicBezTo>
                  <a:cubicBezTo>
                    <a:pt x="360" y="881"/>
                    <a:pt x="362" y="904"/>
                    <a:pt x="364" y="926"/>
                  </a:cubicBezTo>
                  <a:cubicBezTo>
                    <a:pt x="365" y="938"/>
                    <a:pt x="366" y="949"/>
                    <a:pt x="367" y="961"/>
                  </a:cubicBezTo>
                  <a:cubicBezTo>
                    <a:pt x="368" y="974"/>
                    <a:pt x="368" y="988"/>
                    <a:pt x="369" y="1002"/>
                  </a:cubicBezTo>
                  <a:cubicBezTo>
                    <a:pt x="369" y="1010"/>
                    <a:pt x="369" y="1019"/>
                    <a:pt x="369" y="1027"/>
                  </a:cubicBezTo>
                  <a:cubicBezTo>
                    <a:pt x="369" y="1032"/>
                    <a:pt x="369" y="1037"/>
                    <a:pt x="369" y="1042"/>
                  </a:cubicBezTo>
                  <a:cubicBezTo>
                    <a:pt x="369" y="1051"/>
                    <a:pt x="369" y="1061"/>
                    <a:pt x="368" y="1070"/>
                  </a:cubicBezTo>
                  <a:cubicBezTo>
                    <a:pt x="368" y="1082"/>
                    <a:pt x="367" y="1094"/>
                    <a:pt x="366" y="1106"/>
                  </a:cubicBezTo>
                  <a:cubicBezTo>
                    <a:pt x="365" y="1119"/>
                    <a:pt x="362" y="1133"/>
                    <a:pt x="353" y="1143"/>
                  </a:cubicBezTo>
                  <a:cubicBezTo>
                    <a:pt x="353" y="1143"/>
                    <a:pt x="352" y="1144"/>
                    <a:pt x="351" y="1144"/>
                  </a:cubicBezTo>
                  <a:cubicBezTo>
                    <a:pt x="338" y="1143"/>
                    <a:pt x="338" y="1143"/>
                    <a:pt x="338" y="1143"/>
                  </a:cubicBezTo>
                  <a:cubicBezTo>
                    <a:pt x="249" y="1132"/>
                    <a:pt x="159" y="1130"/>
                    <a:pt x="69" y="1138"/>
                  </a:cubicBezTo>
                  <a:cubicBezTo>
                    <a:pt x="71" y="1124"/>
                    <a:pt x="73" y="1111"/>
                    <a:pt x="75" y="1097"/>
                  </a:cubicBezTo>
                  <a:cubicBezTo>
                    <a:pt x="76" y="1091"/>
                    <a:pt x="76" y="1084"/>
                    <a:pt x="77" y="1078"/>
                  </a:cubicBezTo>
                  <a:cubicBezTo>
                    <a:pt x="78" y="1071"/>
                    <a:pt x="79" y="1063"/>
                    <a:pt x="80" y="1056"/>
                  </a:cubicBezTo>
                  <a:cubicBezTo>
                    <a:pt x="81" y="1048"/>
                    <a:pt x="81" y="1040"/>
                    <a:pt x="82" y="1032"/>
                  </a:cubicBezTo>
                  <a:cubicBezTo>
                    <a:pt x="84" y="1011"/>
                    <a:pt x="86" y="991"/>
                    <a:pt x="88" y="970"/>
                  </a:cubicBezTo>
                  <a:cubicBezTo>
                    <a:pt x="90" y="940"/>
                    <a:pt x="92" y="910"/>
                    <a:pt x="93" y="880"/>
                  </a:cubicBezTo>
                  <a:cubicBezTo>
                    <a:pt x="94" y="865"/>
                    <a:pt x="94" y="851"/>
                    <a:pt x="94" y="836"/>
                  </a:cubicBezTo>
                  <a:cubicBezTo>
                    <a:pt x="95" y="818"/>
                    <a:pt x="95" y="800"/>
                    <a:pt x="95" y="782"/>
                  </a:cubicBezTo>
                  <a:cubicBezTo>
                    <a:pt x="95" y="765"/>
                    <a:pt x="95" y="748"/>
                    <a:pt x="95" y="730"/>
                  </a:cubicBezTo>
                  <a:cubicBezTo>
                    <a:pt x="95" y="724"/>
                    <a:pt x="94" y="719"/>
                    <a:pt x="94" y="713"/>
                  </a:cubicBezTo>
                  <a:cubicBezTo>
                    <a:pt x="93" y="708"/>
                    <a:pt x="93" y="703"/>
                    <a:pt x="92" y="697"/>
                  </a:cubicBezTo>
                  <a:cubicBezTo>
                    <a:pt x="89" y="686"/>
                    <a:pt x="85" y="674"/>
                    <a:pt x="80" y="664"/>
                  </a:cubicBezTo>
                  <a:cubicBezTo>
                    <a:pt x="79" y="661"/>
                    <a:pt x="78" y="660"/>
                    <a:pt x="77" y="657"/>
                  </a:cubicBezTo>
                  <a:cubicBezTo>
                    <a:pt x="77" y="656"/>
                    <a:pt x="76" y="655"/>
                    <a:pt x="76" y="654"/>
                  </a:cubicBezTo>
                  <a:cubicBezTo>
                    <a:pt x="99" y="634"/>
                    <a:pt x="115" y="606"/>
                    <a:pt x="131" y="579"/>
                  </a:cubicBezTo>
                  <a:cubicBezTo>
                    <a:pt x="157" y="535"/>
                    <a:pt x="183" y="490"/>
                    <a:pt x="187" y="440"/>
                  </a:cubicBezTo>
                  <a:cubicBezTo>
                    <a:pt x="191" y="389"/>
                    <a:pt x="166" y="333"/>
                    <a:pt x="118" y="317"/>
                  </a:cubicBezTo>
                  <a:cubicBezTo>
                    <a:pt x="105" y="313"/>
                    <a:pt x="91" y="312"/>
                    <a:pt x="78" y="310"/>
                  </a:cubicBezTo>
                  <a:cubicBezTo>
                    <a:pt x="65" y="308"/>
                    <a:pt x="39" y="303"/>
                    <a:pt x="24" y="294"/>
                  </a:cubicBezTo>
                  <a:cubicBezTo>
                    <a:pt x="16" y="302"/>
                    <a:pt x="8" y="310"/>
                    <a:pt x="0" y="318"/>
                  </a:cubicBezTo>
                  <a:cubicBezTo>
                    <a:pt x="0" y="306"/>
                    <a:pt x="3" y="294"/>
                    <a:pt x="9" y="283"/>
                  </a:cubicBezTo>
                  <a:cubicBezTo>
                    <a:pt x="14" y="283"/>
                    <a:pt x="14" y="283"/>
                    <a:pt x="14" y="283"/>
                  </a:cubicBezTo>
                  <a:cubicBezTo>
                    <a:pt x="14" y="282"/>
                    <a:pt x="14" y="281"/>
                    <a:pt x="14" y="279"/>
                  </a:cubicBezTo>
                  <a:cubicBezTo>
                    <a:pt x="14" y="275"/>
                    <a:pt x="17" y="270"/>
                    <a:pt x="23" y="265"/>
                  </a:cubicBezTo>
                  <a:cubicBezTo>
                    <a:pt x="42" y="249"/>
                    <a:pt x="71" y="245"/>
                    <a:pt x="83" y="224"/>
                  </a:cubicBezTo>
                  <a:cubicBezTo>
                    <a:pt x="88" y="215"/>
                    <a:pt x="89" y="204"/>
                    <a:pt x="93" y="194"/>
                  </a:cubicBezTo>
                  <a:cubicBezTo>
                    <a:pt x="104" y="167"/>
                    <a:pt x="137" y="158"/>
                    <a:pt x="157" y="136"/>
                  </a:cubicBezTo>
                  <a:cubicBezTo>
                    <a:pt x="177" y="114"/>
                    <a:pt x="182" y="84"/>
                    <a:pt x="198" y="60"/>
                  </a:cubicBezTo>
                  <a:cubicBezTo>
                    <a:pt x="210" y="42"/>
                    <a:pt x="227" y="29"/>
                    <a:pt x="246" y="20"/>
                  </a:cubicBezTo>
                  <a:cubicBezTo>
                    <a:pt x="248" y="19"/>
                    <a:pt x="249" y="18"/>
                    <a:pt x="251" y="18"/>
                  </a:cubicBezTo>
                  <a:cubicBezTo>
                    <a:pt x="284" y="4"/>
                    <a:pt x="324" y="0"/>
                    <a:pt x="358" y="0"/>
                  </a:cubicBezTo>
                  <a:cubicBezTo>
                    <a:pt x="371" y="0"/>
                    <a:pt x="406" y="1"/>
                    <a:pt x="423" y="8"/>
                  </a:cubicBezTo>
                  <a:cubicBezTo>
                    <a:pt x="426" y="9"/>
                    <a:pt x="428" y="10"/>
                    <a:pt x="430" y="12"/>
                  </a:cubicBezTo>
                  <a:cubicBezTo>
                    <a:pt x="448" y="32"/>
                    <a:pt x="420" y="73"/>
                    <a:pt x="407" y="88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iṩliḋè">
              <a:extLst>
                <a:ext uri="{FF2B5EF4-FFF2-40B4-BE49-F238E27FC236}">
                  <a16:creationId xmlns:a16="http://schemas.microsoft.com/office/drawing/2014/main" id="{111DCC8E-2443-46EC-9DE5-9026AC58F485}"/>
                </a:ext>
              </a:extLst>
            </p:cNvPr>
            <p:cNvSpPr/>
            <p:nvPr/>
          </p:nvSpPr>
          <p:spPr bwMode="auto">
            <a:xfrm>
              <a:off x="6181717" y="4008651"/>
              <a:ext cx="571918" cy="642178"/>
            </a:xfrm>
            <a:custGeom>
              <a:avLst/>
              <a:gdLst>
                <a:gd name="T0" fmla="*/ 82 w 363"/>
                <a:gd name="T1" fmla="*/ 19 h 408"/>
                <a:gd name="T2" fmla="*/ 269 w 363"/>
                <a:gd name="T3" fmla="*/ 39 h 408"/>
                <a:gd name="T4" fmla="*/ 339 w 363"/>
                <a:gd name="T5" fmla="*/ 106 h 408"/>
                <a:gd name="T6" fmla="*/ 360 w 363"/>
                <a:gd name="T7" fmla="*/ 250 h 408"/>
                <a:gd name="T8" fmla="*/ 348 w 363"/>
                <a:gd name="T9" fmla="*/ 323 h 408"/>
                <a:gd name="T10" fmla="*/ 287 w 363"/>
                <a:gd name="T11" fmla="*/ 380 h 408"/>
                <a:gd name="T12" fmla="*/ 238 w 363"/>
                <a:gd name="T13" fmla="*/ 402 h 408"/>
                <a:gd name="T14" fmla="*/ 156 w 363"/>
                <a:gd name="T15" fmla="*/ 398 h 408"/>
                <a:gd name="T16" fmla="*/ 74 w 363"/>
                <a:gd name="T17" fmla="*/ 364 h 408"/>
                <a:gd name="T18" fmla="*/ 49 w 363"/>
                <a:gd name="T19" fmla="*/ 318 h 408"/>
                <a:gd name="T20" fmla="*/ 21 w 363"/>
                <a:gd name="T21" fmla="*/ 248 h 408"/>
                <a:gd name="T22" fmla="*/ 21 w 363"/>
                <a:gd name="T23" fmla="*/ 135 h 408"/>
                <a:gd name="T24" fmla="*/ 52 w 363"/>
                <a:gd name="T25" fmla="*/ 82 h 408"/>
                <a:gd name="T26" fmla="*/ 82 w 363"/>
                <a:gd name="T27" fmla="*/ 1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3" h="408">
                  <a:moveTo>
                    <a:pt x="82" y="19"/>
                  </a:moveTo>
                  <a:cubicBezTo>
                    <a:pt x="144" y="0"/>
                    <a:pt x="212" y="7"/>
                    <a:pt x="269" y="39"/>
                  </a:cubicBezTo>
                  <a:cubicBezTo>
                    <a:pt x="298" y="55"/>
                    <a:pt x="323" y="77"/>
                    <a:pt x="339" y="106"/>
                  </a:cubicBezTo>
                  <a:cubicBezTo>
                    <a:pt x="363" y="149"/>
                    <a:pt x="362" y="201"/>
                    <a:pt x="360" y="250"/>
                  </a:cubicBezTo>
                  <a:cubicBezTo>
                    <a:pt x="360" y="275"/>
                    <a:pt x="358" y="301"/>
                    <a:pt x="348" y="323"/>
                  </a:cubicBezTo>
                  <a:cubicBezTo>
                    <a:pt x="335" y="348"/>
                    <a:pt x="311" y="366"/>
                    <a:pt x="287" y="380"/>
                  </a:cubicBezTo>
                  <a:cubicBezTo>
                    <a:pt x="272" y="390"/>
                    <a:pt x="255" y="397"/>
                    <a:pt x="238" y="402"/>
                  </a:cubicBezTo>
                  <a:cubicBezTo>
                    <a:pt x="211" y="408"/>
                    <a:pt x="183" y="403"/>
                    <a:pt x="156" y="398"/>
                  </a:cubicBezTo>
                  <a:cubicBezTo>
                    <a:pt x="126" y="392"/>
                    <a:pt x="95" y="386"/>
                    <a:pt x="74" y="364"/>
                  </a:cubicBezTo>
                  <a:cubicBezTo>
                    <a:pt x="62" y="351"/>
                    <a:pt x="56" y="335"/>
                    <a:pt x="49" y="318"/>
                  </a:cubicBezTo>
                  <a:cubicBezTo>
                    <a:pt x="40" y="295"/>
                    <a:pt x="31" y="272"/>
                    <a:pt x="21" y="248"/>
                  </a:cubicBezTo>
                  <a:cubicBezTo>
                    <a:pt x="5" y="208"/>
                    <a:pt x="0" y="174"/>
                    <a:pt x="21" y="135"/>
                  </a:cubicBezTo>
                  <a:cubicBezTo>
                    <a:pt x="31" y="117"/>
                    <a:pt x="43" y="100"/>
                    <a:pt x="52" y="82"/>
                  </a:cubicBezTo>
                  <a:cubicBezTo>
                    <a:pt x="57" y="73"/>
                    <a:pt x="74" y="21"/>
                    <a:pt x="82" y="19"/>
                  </a:cubicBezTo>
                  <a:close/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ísļîḓê">
              <a:extLst>
                <a:ext uri="{FF2B5EF4-FFF2-40B4-BE49-F238E27FC236}">
                  <a16:creationId xmlns:a16="http://schemas.microsoft.com/office/drawing/2014/main" id="{46A7BB72-B4AD-4769-B783-8D6E2447969E}"/>
                </a:ext>
              </a:extLst>
            </p:cNvPr>
            <p:cNvSpPr/>
            <p:nvPr/>
          </p:nvSpPr>
          <p:spPr bwMode="auto">
            <a:xfrm>
              <a:off x="3125402" y="4756219"/>
              <a:ext cx="5832997" cy="642178"/>
            </a:xfrm>
            <a:custGeom>
              <a:avLst/>
              <a:gdLst>
                <a:gd name="T0" fmla="*/ 3704 w 3704"/>
                <a:gd name="T1" fmla="*/ 236 h 408"/>
                <a:gd name="T2" fmla="*/ 3704 w 3704"/>
                <a:gd name="T3" fmla="*/ 355 h 408"/>
                <a:gd name="T4" fmla="*/ 3445 w 3704"/>
                <a:gd name="T5" fmla="*/ 406 h 408"/>
                <a:gd name="T6" fmla="*/ 2366 w 3704"/>
                <a:gd name="T7" fmla="*/ 406 h 408"/>
                <a:gd name="T8" fmla="*/ 2365 w 3704"/>
                <a:gd name="T9" fmla="*/ 408 h 408"/>
                <a:gd name="T10" fmla="*/ 2352 w 3704"/>
                <a:gd name="T11" fmla="*/ 406 h 408"/>
                <a:gd name="T12" fmla="*/ 433 w 3704"/>
                <a:gd name="T13" fmla="*/ 406 h 408"/>
                <a:gd name="T14" fmla="*/ 0 w 3704"/>
                <a:gd name="T15" fmla="*/ 289 h 408"/>
                <a:gd name="T16" fmla="*/ 0 w 3704"/>
                <a:gd name="T17" fmla="*/ 106 h 408"/>
                <a:gd name="T18" fmla="*/ 923 w 3704"/>
                <a:gd name="T19" fmla="*/ 0 h 408"/>
                <a:gd name="T20" fmla="*/ 924 w 3704"/>
                <a:gd name="T21" fmla="*/ 0 h 408"/>
                <a:gd name="T22" fmla="*/ 1461 w 3704"/>
                <a:gd name="T23" fmla="*/ 45 h 408"/>
                <a:gd name="T24" fmla="*/ 1600 w 3704"/>
                <a:gd name="T25" fmla="*/ 57 h 408"/>
                <a:gd name="T26" fmla="*/ 1672 w 3704"/>
                <a:gd name="T27" fmla="*/ 63 h 408"/>
                <a:gd name="T28" fmla="*/ 1822 w 3704"/>
                <a:gd name="T29" fmla="*/ 76 h 408"/>
                <a:gd name="T30" fmla="*/ 1899 w 3704"/>
                <a:gd name="T31" fmla="*/ 83 h 408"/>
                <a:gd name="T32" fmla="*/ 2011 w 3704"/>
                <a:gd name="T33" fmla="*/ 92 h 408"/>
                <a:gd name="T34" fmla="*/ 2027 w 3704"/>
                <a:gd name="T35" fmla="*/ 94 h 408"/>
                <a:gd name="T36" fmla="*/ 2107 w 3704"/>
                <a:gd name="T37" fmla="*/ 100 h 408"/>
                <a:gd name="T38" fmla="*/ 2217 w 3704"/>
                <a:gd name="T39" fmla="*/ 109 h 408"/>
                <a:gd name="T40" fmla="*/ 2371 w 3704"/>
                <a:gd name="T41" fmla="*/ 122 h 408"/>
                <a:gd name="T42" fmla="*/ 2628 w 3704"/>
                <a:gd name="T43" fmla="*/ 144 h 408"/>
                <a:gd name="T44" fmla="*/ 2808 w 3704"/>
                <a:gd name="T45" fmla="*/ 160 h 408"/>
                <a:gd name="T46" fmla="*/ 3105 w 3704"/>
                <a:gd name="T47" fmla="*/ 185 h 408"/>
                <a:gd name="T48" fmla="*/ 3161 w 3704"/>
                <a:gd name="T49" fmla="*/ 189 h 408"/>
                <a:gd name="T50" fmla="*/ 3167 w 3704"/>
                <a:gd name="T51" fmla="*/ 190 h 408"/>
                <a:gd name="T52" fmla="*/ 3173 w 3704"/>
                <a:gd name="T53" fmla="*/ 190 h 408"/>
                <a:gd name="T54" fmla="*/ 3247 w 3704"/>
                <a:gd name="T55" fmla="*/ 197 h 408"/>
                <a:gd name="T56" fmla="*/ 3329 w 3704"/>
                <a:gd name="T57" fmla="*/ 204 h 408"/>
                <a:gd name="T58" fmla="*/ 3338 w 3704"/>
                <a:gd name="T59" fmla="*/ 204 h 408"/>
                <a:gd name="T60" fmla="*/ 3704 w 3704"/>
                <a:gd name="T61" fmla="*/ 23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04" h="408">
                  <a:moveTo>
                    <a:pt x="3704" y="236"/>
                  </a:moveTo>
                  <a:cubicBezTo>
                    <a:pt x="3704" y="355"/>
                    <a:pt x="3704" y="355"/>
                    <a:pt x="3704" y="355"/>
                  </a:cubicBezTo>
                  <a:cubicBezTo>
                    <a:pt x="3622" y="389"/>
                    <a:pt x="3534" y="407"/>
                    <a:pt x="3445" y="406"/>
                  </a:cubicBezTo>
                  <a:cubicBezTo>
                    <a:pt x="2366" y="406"/>
                    <a:pt x="2366" y="406"/>
                    <a:pt x="2366" y="406"/>
                  </a:cubicBezTo>
                  <a:cubicBezTo>
                    <a:pt x="2366" y="407"/>
                    <a:pt x="2365" y="407"/>
                    <a:pt x="2365" y="408"/>
                  </a:cubicBezTo>
                  <a:cubicBezTo>
                    <a:pt x="2352" y="406"/>
                    <a:pt x="2352" y="406"/>
                    <a:pt x="2352" y="406"/>
                  </a:cubicBezTo>
                  <a:cubicBezTo>
                    <a:pt x="433" y="406"/>
                    <a:pt x="433" y="406"/>
                    <a:pt x="433" y="406"/>
                  </a:cubicBezTo>
                  <a:cubicBezTo>
                    <a:pt x="272" y="406"/>
                    <a:pt x="122" y="363"/>
                    <a:pt x="0" y="289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923" y="0"/>
                    <a:pt x="923" y="0"/>
                    <a:pt x="923" y="0"/>
                  </a:cubicBezTo>
                  <a:cubicBezTo>
                    <a:pt x="924" y="0"/>
                    <a:pt x="924" y="0"/>
                    <a:pt x="924" y="0"/>
                  </a:cubicBezTo>
                  <a:cubicBezTo>
                    <a:pt x="1461" y="45"/>
                    <a:pt x="1461" y="45"/>
                    <a:pt x="1461" y="45"/>
                  </a:cubicBezTo>
                  <a:cubicBezTo>
                    <a:pt x="1600" y="57"/>
                    <a:pt x="1600" y="57"/>
                    <a:pt x="1600" y="57"/>
                  </a:cubicBezTo>
                  <a:cubicBezTo>
                    <a:pt x="1672" y="63"/>
                    <a:pt x="1672" y="63"/>
                    <a:pt x="1672" y="63"/>
                  </a:cubicBezTo>
                  <a:cubicBezTo>
                    <a:pt x="1822" y="76"/>
                    <a:pt x="1822" y="76"/>
                    <a:pt x="1822" y="76"/>
                  </a:cubicBezTo>
                  <a:cubicBezTo>
                    <a:pt x="1899" y="83"/>
                    <a:pt x="1899" y="83"/>
                    <a:pt x="1899" y="83"/>
                  </a:cubicBezTo>
                  <a:cubicBezTo>
                    <a:pt x="2011" y="92"/>
                    <a:pt x="2011" y="92"/>
                    <a:pt x="2011" y="92"/>
                  </a:cubicBezTo>
                  <a:cubicBezTo>
                    <a:pt x="2027" y="94"/>
                    <a:pt x="2027" y="94"/>
                    <a:pt x="2027" y="94"/>
                  </a:cubicBezTo>
                  <a:cubicBezTo>
                    <a:pt x="2107" y="100"/>
                    <a:pt x="2107" y="100"/>
                    <a:pt x="2107" y="100"/>
                  </a:cubicBezTo>
                  <a:cubicBezTo>
                    <a:pt x="2217" y="109"/>
                    <a:pt x="2217" y="109"/>
                    <a:pt x="2217" y="109"/>
                  </a:cubicBezTo>
                  <a:cubicBezTo>
                    <a:pt x="2371" y="122"/>
                    <a:pt x="2371" y="122"/>
                    <a:pt x="2371" y="122"/>
                  </a:cubicBezTo>
                  <a:cubicBezTo>
                    <a:pt x="2628" y="144"/>
                    <a:pt x="2628" y="144"/>
                    <a:pt x="2628" y="144"/>
                  </a:cubicBezTo>
                  <a:cubicBezTo>
                    <a:pt x="2808" y="160"/>
                    <a:pt x="2808" y="160"/>
                    <a:pt x="2808" y="160"/>
                  </a:cubicBezTo>
                  <a:cubicBezTo>
                    <a:pt x="3105" y="185"/>
                    <a:pt x="3105" y="185"/>
                    <a:pt x="3105" y="185"/>
                  </a:cubicBezTo>
                  <a:cubicBezTo>
                    <a:pt x="3161" y="189"/>
                    <a:pt x="3161" y="189"/>
                    <a:pt x="3161" y="189"/>
                  </a:cubicBezTo>
                  <a:cubicBezTo>
                    <a:pt x="3167" y="190"/>
                    <a:pt x="3167" y="190"/>
                    <a:pt x="3167" y="190"/>
                  </a:cubicBezTo>
                  <a:cubicBezTo>
                    <a:pt x="3173" y="190"/>
                    <a:pt x="3173" y="190"/>
                    <a:pt x="3173" y="190"/>
                  </a:cubicBezTo>
                  <a:cubicBezTo>
                    <a:pt x="3247" y="197"/>
                    <a:pt x="3247" y="197"/>
                    <a:pt x="3247" y="197"/>
                  </a:cubicBezTo>
                  <a:cubicBezTo>
                    <a:pt x="3329" y="204"/>
                    <a:pt x="3329" y="204"/>
                    <a:pt x="3329" y="204"/>
                  </a:cubicBezTo>
                  <a:cubicBezTo>
                    <a:pt x="3338" y="204"/>
                    <a:pt x="3338" y="204"/>
                    <a:pt x="3338" y="204"/>
                  </a:cubicBezTo>
                  <a:cubicBezTo>
                    <a:pt x="3704" y="236"/>
                    <a:pt x="3704" y="236"/>
                    <a:pt x="3704" y="236"/>
                  </a:cubicBezTo>
                </a:path>
              </a:pathLst>
            </a:custGeom>
            <a:solidFill>
              <a:srgbClr val="504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iṩļîḋè">
              <a:extLst>
                <a:ext uri="{FF2B5EF4-FFF2-40B4-BE49-F238E27FC236}">
                  <a16:creationId xmlns:a16="http://schemas.microsoft.com/office/drawing/2014/main" id="{D7220B86-11BE-47DA-968A-7068E9FA829C}"/>
                </a:ext>
              </a:extLst>
            </p:cNvPr>
            <p:cNvSpPr/>
            <p:nvPr/>
          </p:nvSpPr>
          <p:spPr bwMode="auto">
            <a:xfrm>
              <a:off x="5359674" y="4809617"/>
              <a:ext cx="1891403" cy="487606"/>
            </a:xfrm>
            <a:custGeom>
              <a:avLst/>
              <a:gdLst>
                <a:gd name="T0" fmla="*/ 1346 w 1346"/>
                <a:gd name="T1" fmla="*/ 221 h 347"/>
                <a:gd name="T2" fmla="*/ 49 w 1346"/>
                <a:gd name="T3" fmla="*/ 0 h 347"/>
                <a:gd name="T4" fmla="*/ 0 w 1346"/>
                <a:gd name="T5" fmla="*/ 254 h 347"/>
                <a:gd name="T6" fmla="*/ 594 w 1346"/>
                <a:gd name="T7" fmla="*/ 325 h 347"/>
                <a:gd name="T8" fmla="*/ 777 w 1346"/>
                <a:gd name="T9" fmla="*/ 347 h 347"/>
                <a:gd name="T10" fmla="*/ 1280 w 1346"/>
                <a:gd name="T11" fmla="*/ 249 h 347"/>
                <a:gd name="T12" fmla="*/ 1346 w 1346"/>
                <a:gd name="T13" fmla="*/ 22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6" h="347">
                  <a:moveTo>
                    <a:pt x="1346" y="221"/>
                  </a:moveTo>
                  <a:lnTo>
                    <a:pt x="49" y="0"/>
                  </a:lnTo>
                  <a:lnTo>
                    <a:pt x="0" y="254"/>
                  </a:lnTo>
                  <a:lnTo>
                    <a:pt x="594" y="325"/>
                  </a:lnTo>
                  <a:lnTo>
                    <a:pt x="777" y="347"/>
                  </a:lnTo>
                  <a:lnTo>
                    <a:pt x="1280" y="249"/>
                  </a:lnTo>
                  <a:lnTo>
                    <a:pt x="1346" y="221"/>
                  </a:lnTo>
                  <a:close/>
                </a:path>
              </a:pathLst>
            </a:custGeom>
            <a:solidFill>
              <a:srgbClr val="9C9C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iSḻîḋe">
              <a:extLst>
                <a:ext uri="{FF2B5EF4-FFF2-40B4-BE49-F238E27FC236}">
                  <a16:creationId xmlns:a16="http://schemas.microsoft.com/office/drawing/2014/main" id="{04229E5B-2A1B-460F-A000-285893FF23AF}"/>
                </a:ext>
              </a:extLst>
            </p:cNvPr>
            <p:cNvSpPr/>
            <p:nvPr/>
          </p:nvSpPr>
          <p:spPr bwMode="auto">
            <a:xfrm>
              <a:off x="5359674" y="4809617"/>
              <a:ext cx="1891403" cy="487606"/>
            </a:xfrm>
            <a:custGeom>
              <a:avLst/>
              <a:gdLst>
                <a:gd name="T0" fmla="*/ 1346 w 1346"/>
                <a:gd name="T1" fmla="*/ 221 h 347"/>
                <a:gd name="T2" fmla="*/ 49 w 1346"/>
                <a:gd name="T3" fmla="*/ 0 h 347"/>
                <a:gd name="T4" fmla="*/ 0 w 1346"/>
                <a:gd name="T5" fmla="*/ 254 h 347"/>
                <a:gd name="T6" fmla="*/ 594 w 1346"/>
                <a:gd name="T7" fmla="*/ 325 h 347"/>
                <a:gd name="T8" fmla="*/ 777 w 1346"/>
                <a:gd name="T9" fmla="*/ 347 h 347"/>
                <a:gd name="T10" fmla="*/ 1280 w 1346"/>
                <a:gd name="T11" fmla="*/ 249 h 347"/>
                <a:gd name="T12" fmla="*/ 1346 w 1346"/>
                <a:gd name="T13" fmla="*/ 22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6" h="347">
                  <a:moveTo>
                    <a:pt x="1346" y="221"/>
                  </a:moveTo>
                  <a:lnTo>
                    <a:pt x="49" y="0"/>
                  </a:lnTo>
                  <a:lnTo>
                    <a:pt x="0" y="254"/>
                  </a:lnTo>
                  <a:lnTo>
                    <a:pt x="594" y="325"/>
                  </a:lnTo>
                  <a:lnTo>
                    <a:pt x="777" y="347"/>
                  </a:lnTo>
                  <a:lnTo>
                    <a:pt x="1280" y="249"/>
                  </a:lnTo>
                  <a:lnTo>
                    <a:pt x="1346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îšḷîḍé">
              <a:extLst>
                <a:ext uri="{FF2B5EF4-FFF2-40B4-BE49-F238E27FC236}">
                  <a16:creationId xmlns:a16="http://schemas.microsoft.com/office/drawing/2014/main" id="{5572172E-B414-47AF-AB0B-5D8083823225}"/>
                </a:ext>
              </a:extLst>
            </p:cNvPr>
            <p:cNvSpPr/>
            <p:nvPr/>
          </p:nvSpPr>
          <p:spPr bwMode="auto">
            <a:xfrm>
              <a:off x="6308186" y="5106114"/>
              <a:ext cx="951323" cy="233264"/>
            </a:xfrm>
            <a:custGeom>
              <a:avLst/>
              <a:gdLst>
                <a:gd name="T0" fmla="*/ 0 w 604"/>
                <a:gd name="T1" fmla="*/ 111 h 148"/>
                <a:gd name="T2" fmla="*/ 580 w 604"/>
                <a:gd name="T3" fmla="*/ 2 h 148"/>
                <a:gd name="T4" fmla="*/ 603 w 604"/>
                <a:gd name="T5" fmla="*/ 18 h 148"/>
                <a:gd name="T6" fmla="*/ 604 w 604"/>
                <a:gd name="T7" fmla="*/ 22 h 148"/>
                <a:gd name="T8" fmla="*/ 587 w 604"/>
                <a:gd name="T9" fmla="*/ 42 h 148"/>
                <a:gd name="T10" fmla="*/ 21 w 604"/>
                <a:gd name="T11" fmla="*/ 148 h 148"/>
                <a:gd name="T12" fmla="*/ 0 w 604"/>
                <a:gd name="T13" fmla="*/ 11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148">
                  <a:moveTo>
                    <a:pt x="0" y="111"/>
                  </a:moveTo>
                  <a:cubicBezTo>
                    <a:pt x="580" y="2"/>
                    <a:pt x="580" y="2"/>
                    <a:pt x="580" y="2"/>
                  </a:cubicBezTo>
                  <a:cubicBezTo>
                    <a:pt x="591" y="0"/>
                    <a:pt x="601" y="7"/>
                    <a:pt x="603" y="18"/>
                  </a:cubicBezTo>
                  <a:cubicBezTo>
                    <a:pt x="603" y="19"/>
                    <a:pt x="604" y="21"/>
                    <a:pt x="604" y="22"/>
                  </a:cubicBezTo>
                  <a:cubicBezTo>
                    <a:pt x="604" y="32"/>
                    <a:pt x="597" y="40"/>
                    <a:pt x="587" y="42"/>
                  </a:cubicBezTo>
                  <a:cubicBezTo>
                    <a:pt x="21" y="148"/>
                    <a:pt x="21" y="148"/>
                    <a:pt x="21" y="148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9C9C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i$ľiďè">
              <a:extLst>
                <a:ext uri="{FF2B5EF4-FFF2-40B4-BE49-F238E27FC236}">
                  <a16:creationId xmlns:a16="http://schemas.microsoft.com/office/drawing/2014/main" id="{3329D630-73BF-484B-A7FA-FF442FDCC357}"/>
                </a:ext>
              </a:extLst>
            </p:cNvPr>
            <p:cNvSpPr/>
            <p:nvPr/>
          </p:nvSpPr>
          <p:spPr bwMode="auto">
            <a:xfrm>
              <a:off x="5990610" y="4610078"/>
              <a:ext cx="1333538" cy="536787"/>
            </a:xfrm>
            <a:custGeom>
              <a:avLst/>
              <a:gdLst>
                <a:gd name="T0" fmla="*/ 453 w 846"/>
                <a:gd name="T1" fmla="*/ 84 h 341"/>
                <a:gd name="T2" fmla="*/ 505 w 846"/>
                <a:gd name="T3" fmla="*/ 71 h 341"/>
                <a:gd name="T4" fmla="*/ 559 w 846"/>
                <a:gd name="T5" fmla="*/ 31 h 341"/>
                <a:gd name="T6" fmla="*/ 701 w 846"/>
                <a:gd name="T7" fmla="*/ 16 h 341"/>
                <a:gd name="T8" fmla="*/ 814 w 846"/>
                <a:gd name="T9" fmla="*/ 107 h 341"/>
                <a:gd name="T10" fmla="*/ 833 w 846"/>
                <a:gd name="T11" fmla="*/ 200 h 341"/>
                <a:gd name="T12" fmla="*/ 817 w 846"/>
                <a:gd name="T13" fmla="*/ 226 h 341"/>
                <a:gd name="T14" fmla="*/ 783 w 846"/>
                <a:gd name="T15" fmla="*/ 269 h 341"/>
                <a:gd name="T16" fmla="*/ 761 w 846"/>
                <a:gd name="T17" fmla="*/ 294 h 341"/>
                <a:gd name="T18" fmla="*/ 717 w 846"/>
                <a:gd name="T19" fmla="*/ 309 h 341"/>
                <a:gd name="T20" fmla="*/ 594 w 846"/>
                <a:gd name="T21" fmla="*/ 314 h 341"/>
                <a:gd name="T22" fmla="*/ 385 w 846"/>
                <a:gd name="T23" fmla="*/ 340 h 341"/>
                <a:gd name="T24" fmla="*/ 265 w 846"/>
                <a:gd name="T25" fmla="*/ 324 h 341"/>
                <a:gd name="T26" fmla="*/ 90 w 846"/>
                <a:gd name="T27" fmla="*/ 288 h 341"/>
                <a:gd name="T28" fmla="*/ 11 w 846"/>
                <a:gd name="T29" fmla="*/ 245 h 341"/>
                <a:gd name="T30" fmla="*/ 2 w 846"/>
                <a:gd name="T31" fmla="*/ 204 h 341"/>
                <a:gd name="T32" fmla="*/ 29 w 846"/>
                <a:gd name="T33" fmla="*/ 95 h 341"/>
                <a:gd name="T34" fmla="*/ 124 w 846"/>
                <a:gd name="T35" fmla="*/ 41 h 341"/>
                <a:gd name="T36" fmla="*/ 211 w 846"/>
                <a:gd name="T37" fmla="*/ 43 h 341"/>
                <a:gd name="T38" fmla="*/ 453 w 846"/>
                <a:gd name="T39" fmla="*/ 84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46" h="341">
                  <a:moveTo>
                    <a:pt x="453" y="84"/>
                  </a:moveTo>
                  <a:cubicBezTo>
                    <a:pt x="471" y="82"/>
                    <a:pt x="489" y="79"/>
                    <a:pt x="505" y="71"/>
                  </a:cubicBezTo>
                  <a:cubicBezTo>
                    <a:pt x="525" y="61"/>
                    <a:pt x="541" y="44"/>
                    <a:pt x="559" y="31"/>
                  </a:cubicBezTo>
                  <a:cubicBezTo>
                    <a:pt x="600" y="3"/>
                    <a:pt x="655" y="0"/>
                    <a:pt x="701" y="16"/>
                  </a:cubicBezTo>
                  <a:cubicBezTo>
                    <a:pt x="748" y="32"/>
                    <a:pt x="787" y="66"/>
                    <a:pt x="814" y="107"/>
                  </a:cubicBezTo>
                  <a:cubicBezTo>
                    <a:pt x="832" y="135"/>
                    <a:pt x="846" y="170"/>
                    <a:pt x="833" y="200"/>
                  </a:cubicBezTo>
                  <a:cubicBezTo>
                    <a:pt x="829" y="209"/>
                    <a:pt x="823" y="218"/>
                    <a:pt x="817" y="226"/>
                  </a:cubicBezTo>
                  <a:cubicBezTo>
                    <a:pt x="783" y="269"/>
                    <a:pt x="783" y="269"/>
                    <a:pt x="783" y="269"/>
                  </a:cubicBezTo>
                  <a:cubicBezTo>
                    <a:pt x="777" y="278"/>
                    <a:pt x="769" y="287"/>
                    <a:pt x="761" y="294"/>
                  </a:cubicBezTo>
                  <a:cubicBezTo>
                    <a:pt x="748" y="303"/>
                    <a:pt x="733" y="306"/>
                    <a:pt x="717" y="309"/>
                  </a:cubicBezTo>
                  <a:cubicBezTo>
                    <a:pt x="677" y="315"/>
                    <a:pt x="635" y="311"/>
                    <a:pt x="594" y="314"/>
                  </a:cubicBezTo>
                  <a:cubicBezTo>
                    <a:pt x="524" y="319"/>
                    <a:pt x="456" y="341"/>
                    <a:pt x="385" y="340"/>
                  </a:cubicBezTo>
                  <a:cubicBezTo>
                    <a:pt x="345" y="340"/>
                    <a:pt x="305" y="332"/>
                    <a:pt x="265" y="324"/>
                  </a:cubicBezTo>
                  <a:cubicBezTo>
                    <a:pt x="90" y="288"/>
                    <a:pt x="90" y="288"/>
                    <a:pt x="90" y="288"/>
                  </a:cubicBezTo>
                  <a:cubicBezTo>
                    <a:pt x="60" y="281"/>
                    <a:pt x="25" y="272"/>
                    <a:pt x="11" y="245"/>
                  </a:cubicBezTo>
                  <a:cubicBezTo>
                    <a:pt x="4" y="232"/>
                    <a:pt x="3" y="218"/>
                    <a:pt x="2" y="204"/>
                  </a:cubicBezTo>
                  <a:cubicBezTo>
                    <a:pt x="0" y="165"/>
                    <a:pt x="2" y="122"/>
                    <a:pt x="29" y="95"/>
                  </a:cubicBezTo>
                  <a:cubicBezTo>
                    <a:pt x="54" y="69"/>
                    <a:pt x="94" y="60"/>
                    <a:pt x="124" y="41"/>
                  </a:cubicBezTo>
                  <a:cubicBezTo>
                    <a:pt x="161" y="17"/>
                    <a:pt x="173" y="25"/>
                    <a:pt x="211" y="43"/>
                  </a:cubicBezTo>
                  <a:cubicBezTo>
                    <a:pt x="287" y="77"/>
                    <a:pt x="370" y="91"/>
                    <a:pt x="453" y="84"/>
                  </a:cubicBezTo>
                </a:path>
              </a:pathLst>
            </a:cu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ï$ļïḓê">
              <a:extLst>
                <a:ext uri="{FF2B5EF4-FFF2-40B4-BE49-F238E27FC236}">
                  <a16:creationId xmlns:a16="http://schemas.microsoft.com/office/drawing/2014/main" id="{57AE5DC7-1950-4CB9-BA7E-DE094B127669}"/>
                </a:ext>
              </a:extLst>
            </p:cNvPr>
            <p:cNvSpPr/>
            <p:nvPr/>
          </p:nvSpPr>
          <p:spPr bwMode="auto">
            <a:xfrm>
              <a:off x="5994826" y="4619914"/>
              <a:ext cx="1273114" cy="452475"/>
            </a:xfrm>
            <a:custGeom>
              <a:avLst/>
              <a:gdLst>
                <a:gd name="T0" fmla="*/ 643 w 809"/>
                <a:gd name="T1" fmla="*/ 0 h 288"/>
                <a:gd name="T2" fmla="*/ 557 w 809"/>
                <a:gd name="T3" fmla="*/ 25 h 288"/>
                <a:gd name="T4" fmla="*/ 535 w 809"/>
                <a:gd name="T5" fmla="*/ 43 h 288"/>
                <a:gd name="T6" fmla="*/ 503 w 809"/>
                <a:gd name="T7" fmla="*/ 65 h 288"/>
                <a:gd name="T8" fmla="*/ 451 w 809"/>
                <a:gd name="T9" fmla="*/ 78 h 288"/>
                <a:gd name="T10" fmla="*/ 407 w 809"/>
                <a:gd name="T11" fmla="*/ 80 h 288"/>
                <a:gd name="T12" fmla="*/ 285 w 809"/>
                <a:gd name="T13" fmla="*/ 64 h 288"/>
                <a:gd name="T14" fmla="*/ 209 w 809"/>
                <a:gd name="T15" fmla="*/ 37 h 288"/>
                <a:gd name="T16" fmla="*/ 161 w 809"/>
                <a:gd name="T17" fmla="*/ 20 h 288"/>
                <a:gd name="T18" fmla="*/ 122 w 809"/>
                <a:gd name="T19" fmla="*/ 35 h 288"/>
                <a:gd name="T20" fmla="*/ 27 w 809"/>
                <a:gd name="T21" fmla="*/ 89 h 288"/>
                <a:gd name="T22" fmla="*/ 0 w 809"/>
                <a:gd name="T23" fmla="*/ 163 h 288"/>
                <a:gd name="T24" fmla="*/ 0 w 809"/>
                <a:gd name="T25" fmla="*/ 177 h 288"/>
                <a:gd name="T26" fmla="*/ 0 w 809"/>
                <a:gd name="T27" fmla="*/ 198 h 288"/>
                <a:gd name="T28" fmla="*/ 9 w 809"/>
                <a:gd name="T29" fmla="*/ 239 h 288"/>
                <a:gd name="T30" fmla="*/ 88 w 809"/>
                <a:gd name="T31" fmla="*/ 282 h 288"/>
                <a:gd name="T32" fmla="*/ 119 w 809"/>
                <a:gd name="T33" fmla="*/ 288 h 288"/>
                <a:gd name="T34" fmla="*/ 129 w 809"/>
                <a:gd name="T35" fmla="*/ 264 h 288"/>
                <a:gd name="T36" fmla="*/ 210 w 809"/>
                <a:gd name="T37" fmla="*/ 176 h 288"/>
                <a:gd name="T38" fmla="*/ 426 w 809"/>
                <a:gd name="T39" fmla="*/ 109 h 288"/>
                <a:gd name="T40" fmla="*/ 544 w 809"/>
                <a:gd name="T41" fmla="*/ 123 h 288"/>
                <a:gd name="T42" fmla="*/ 605 w 809"/>
                <a:gd name="T43" fmla="*/ 136 h 288"/>
                <a:gd name="T44" fmla="*/ 618 w 809"/>
                <a:gd name="T45" fmla="*/ 137 h 288"/>
                <a:gd name="T46" fmla="*/ 742 w 809"/>
                <a:gd name="T47" fmla="*/ 110 h 288"/>
                <a:gd name="T48" fmla="*/ 809 w 809"/>
                <a:gd name="T49" fmla="*/ 97 h 288"/>
                <a:gd name="T50" fmla="*/ 699 w 809"/>
                <a:gd name="T51" fmla="*/ 10 h 288"/>
                <a:gd name="T52" fmla="*/ 643 w 809"/>
                <a:gd name="T53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09" h="288">
                  <a:moveTo>
                    <a:pt x="643" y="0"/>
                  </a:moveTo>
                  <a:cubicBezTo>
                    <a:pt x="612" y="0"/>
                    <a:pt x="582" y="8"/>
                    <a:pt x="557" y="25"/>
                  </a:cubicBezTo>
                  <a:cubicBezTo>
                    <a:pt x="549" y="31"/>
                    <a:pt x="542" y="37"/>
                    <a:pt x="535" y="43"/>
                  </a:cubicBezTo>
                  <a:cubicBezTo>
                    <a:pt x="525" y="51"/>
                    <a:pt x="515" y="59"/>
                    <a:pt x="503" y="65"/>
                  </a:cubicBezTo>
                  <a:cubicBezTo>
                    <a:pt x="487" y="73"/>
                    <a:pt x="469" y="76"/>
                    <a:pt x="451" y="78"/>
                  </a:cubicBezTo>
                  <a:cubicBezTo>
                    <a:pt x="436" y="79"/>
                    <a:pt x="422" y="80"/>
                    <a:pt x="407" y="80"/>
                  </a:cubicBezTo>
                  <a:cubicBezTo>
                    <a:pt x="366" y="80"/>
                    <a:pt x="325" y="74"/>
                    <a:pt x="285" y="64"/>
                  </a:cubicBezTo>
                  <a:cubicBezTo>
                    <a:pt x="259" y="57"/>
                    <a:pt x="234" y="48"/>
                    <a:pt x="209" y="37"/>
                  </a:cubicBezTo>
                  <a:cubicBezTo>
                    <a:pt x="188" y="27"/>
                    <a:pt x="175" y="20"/>
                    <a:pt x="161" y="20"/>
                  </a:cubicBezTo>
                  <a:cubicBezTo>
                    <a:pt x="150" y="20"/>
                    <a:pt x="138" y="25"/>
                    <a:pt x="122" y="35"/>
                  </a:cubicBezTo>
                  <a:cubicBezTo>
                    <a:pt x="92" y="54"/>
                    <a:pt x="52" y="63"/>
                    <a:pt x="27" y="89"/>
                  </a:cubicBezTo>
                  <a:cubicBezTo>
                    <a:pt x="8" y="108"/>
                    <a:pt x="2" y="135"/>
                    <a:pt x="0" y="163"/>
                  </a:cubicBezTo>
                  <a:cubicBezTo>
                    <a:pt x="0" y="168"/>
                    <a:pt x="0" y="173"/>
                    <a:pt x="0" y="177"/>
                  </a:cubicBezTo>
                  <a:cubicBezTo>
                    <a:pt x="0" y="184"/>
                    <a:pt x="0" y="191"/>
                    <a:pt x="0" y="198"/>
                  </a:cubicBezTo>
                  <a:cubicBezTo>
                    <a:pt x="1" y="212"/>
                    <a:pt x="2" y="226"/>
                    <a:pt x="9" y="239"/>
                  </a:cubicBezTo>
                  <a:cubicBezTo>
                    <a:pt x="23" y="266"/>
                    <a:pt x="58" y="275"/>
                    <a:pt x="88" y="282"/>
                  </a:cubicBezTo>
                  <a:cubicBezTo>
                    <a:pt x="119" y="288"/>
                    <a:pt x="119" y="288"/>
                    <a:pt x="119" y="288"/>
                  </a:cubicBezTo>
                  <a:cubicBezTo>
                    <a:pt x="120" y="280"/>
                    <a:pt x="124" y="272"/>
                    <a:pt x="129" y="264"/>
                  </a:cubicBezTo>
                  <a:cubicBezTo>
                    <a:pt x="152" y="232"/>
                    <a:pt x="178" y="201"/>
                    <a:pt x="210" y="176"/>
                  </a:cubicBezTo>
                  <a:cubicBezTo>
                    <a:pt x="271" y="129"/>
                    <a:pt x="348" y="109"/>
                    <a:pt x="426" y="109"/>
                  </a:cubicBezTo>
                  <a:cubicBezTo>
                    <a:pt x="466" y="109"/>
                    <a:pt x="506" y="114"/>
                    <a:pt x="544" y="123"/>
                  </a:cubicBezTo>
                  <a:cubicBezTo>
                    <a:pt x="564" y="128"/>
                    <a:pt x="584" y="135"/>
                    <a:pt x="605" y="136"/>
                  </a:cubicBezTo>
                  <a:cubicBezTo>
                    <a:pt x="609" y="137"/>
                    <a:pt x="613" y="137"/>
                    <a:pt x="618" y="137"/>
                  </a:cubicBezTo>
                  <a:cubicBezTo>
                    <a:pt x="660" y="137"/>
                    <a:pt x="701" y="120"/>
                    <a:pt x="742" y="110"/>
                  </a:cubicBezTo>
                  <a:cubicBezTo>
                    <a:pt x="764" y="104"/>
                    <a:pt x="787" y="100"/>
                    <a:pt x="809" y="97"/>
                  </a:cubicBezTo>
                  <a:cubicBezTo>
                    <a:pt x="782" y="58"/>
                    <a:pt x="744" y="25"/>
                    <a:pt x="699" y="10"/>
                  </a:cubicBezTo>
                  <a:cubicBezTo>
                    <a:pt x="681" y="3"/>
                    <a:pt x="662" y="0"/>
                    <a:pt x="643" y="0"/>
                  </a:cubicBezTo>
                </a:path>
              </a:pathLst>
            </a:custGeom>
            <a:solidFill>
              <a:srgbClr val="A56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ïśliďè">
              <a:extLst>
                <a:ext uri="{FF2B5EF4-FFF2-40B4-BE49-F238E27FC236}">
                  <a16:creationId xmlns:a16="http://schemas.microsoft.com/office/drawing/2014/main" id="{123B74B3-23A8-4096-8A48-440CAB9A59F8}"/>
                </a:ext>
              </a:extLst>
            </p:cNvPr>
            <p:cNvSpPr/>
            <p:nvPr/>
          </p:nvSpPr>
          <p:spPr bwMode="auto">
            <a:xfrm>
              <a:off x="6167665" y="4612888"/>
              <a:ext cx="2151366" cy="615479"/>
            </a:xfrm>
            <a:custGeom>
              <a:avLst/>
              <a:gdLst>
                <a:gd name="T0" fmla="*/ 1044 w 1366"/>
                <a:gd name="T1" fmla="*/ 27 h 391"/>
                <a:gd name="T2" fmla="*/ 894 w 1366"/>
                <a:gd name="T3" fmla="*/ 76 h 391"/>
                <a:gd name="T4" fmla="*/ 632 w 1366"/>
                <a:gd name="T5" fmla="*/ 114 h 391"/>
                <a:gd name="T6" fmla="*/ 495 w 1366"/>
                <a:gd name="T7" fmla="*/ 140 h 391"/>
                <a:gd name="T8" fmla="*/ 434 w 1366"/>
                <a:gd name="T9" fmla="*/ 127 h 391"/>
                <a:gd name="T10" fmla="*/ 100 w 1366"/>
                <a:gd name="T11" fmla="*/ 180 h 391"/>
                <a:gd name="T12" fmla="*/ 19 w 1366"/>
                <a:gd name="T13" fmla="*/ 268 h 391"/>
                <a:gd name="T14" fmla="*/ 33 w 1366"/>
                <a:gd name="T15" fmla="*/ 350 h 391"/>
                <a:gd name="T16" fmla="*/ 42 w 1366"/>
                <a:gd name="T17" fmla="*/ 356 h 391"/>
                <a:gd name="T18" fmla="*/ 156 w 1366"/>
                <a:gd name="T19" fmla="*/ 386 h 391"/>
                <a:gd name="T20" fmla="*/ 314 w 1366"/>
                <a:gd name="T21" fmla="*/ 376 h 391"/>
                <a:gd name="T22" fmla="*/ 546 w 1366"/>
                <a:gd name="T23" fmla="*/ 342 h 391"/>
                <a:gd name="T24" fmla="*/ 629 w 1366"/>
                <a:gd name="T25" fmla="*/ 329 h 391"/>
                <a:gd name="T26" fmla="*/ 944 w 1366"/>
                <a:gd name="T27" fmla="*/ 320 h 391"/>
                <a:gd name="T28" fmla="*/ 1236 w 1366"/>
                <a:gd name="T29" fmla="*/ 313 h 391"/>
                <a:gd name="T30" fmla="*/ 1296 w 1366"/>
                <a:gd name="T31" fmla="*/ 300 h 391"/>
                <a:gd name="T32" fmla="*/ 1356 w 1366"/>
                <a:gd name="T33" fmla="*/ 169 h 391"/>
                <a:gd name="T34" fmla="*/ 1264 w 1366"/>
                <a:gd name="T35" fmla="*/ 49 h 391"/>
                <a:gd name="T36" fmla="*/ 1144 w 1366"/>
                <a:gd name="T37" fmla="*/ 9 h 391"/>
                <a:gd name="T38" fmla="*/ 1044 w 1366"/>
                <a:gd name="T39" fmla="*/ 27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66" h="391">
                  <a:moveTo>
                    <a:pt x="1044" y="27"/>
                  </a:moveTo>
                  <a:cubicBezTo>
                    <a:pt x="995" y="46"/>
                    <a:pt x="945" y="65"/>
                    <a:pt x="894" y="76"/>
                  </a:cubicBezTo>
                  <a:cubicBezTo>
                    <a:pt x="808" y="95"/>
                    <a:pt x="717" y="92"/>
                    <a:pt x="632" y="114"/>
                  </a:cubicBezTo>
                  <a:cubicBezTo>
                    <a:pt x="587" y="125"/>
                    <a:pt x="542" y="144"/>
                    <a:pt x="495" y="140"/>
                  </a:cubicBezTo>
                  <a:cubicBezTo>
                    <a:pt x="474" y="139"/>
                    <a:pt x="454" y="132"/>
                    <a:pt x="434" y="127"/>
                  </a:cubicBezTo>
                  <a:cubicBezTo>
                    <a:pt x="321" y="99"/>
                    <a:pt x="192" y="108"/>
                    <a:pt x="100" y="180"/>
                  </a:cubicBezTo>
                  <a:cubicBezTo>
                    <a:pt x="68" y="205"/>
                    <a:pt x="42" y="236"/>
                    <a:pt x="19" y="268"/>
                  </a:cubicBezTo>
                  <a:cubicBezTo>
                    <a:pt x="0" y="295"/>
                    <a:pt x="6" y="332"/>
                    <a:pt x="33" y="350"/>
                  </a:cubicBezTo>
                  <a:cubicBezTo>
                    <a:pt x="36" y="353"/>
                    <a:pt x="39" y="354"/>
                    <a:pt x="42" y="356"/>
                  </a:cubicBezTo>
                  <a:cubicBezTo>
                    <a:pt x="78" y="372"/>
                    <a:pt x="117" y="383"/>
                    <a:pt x="156" y="386"/>
                  </a:cubicBezTo>
                  <a:cubicBezTo>
                    <a:pt x="209" y="391"/>
                    <a:pt x="261" y="383"/>
                    <a:pt x="314" y="376"/>
                  </a:cubicBezTo>
                  <a:cubicBezTo>
                    <a:pt x="391" y="365"/>
                    <a:pt x="469" y="354"/>
                    <a:pt x="546" y="342"/>
                  </a:cubicBezTo>
                  <a:cubicBezTo>
                    <a:pt x="574" y="337"/>
                    <a:pt x="601" y="333"/>
                    <a:pt x="629" y="329"/>
                  </a:cubicBezTo>
                  <a:cubicBezTo>
                    <a:pt x="734" y="316"/>
                    <a:pt x="839" y="318"/>
                    <a:pt x="944" y="320"/>
                  </a:cubicBezTo>
                  <a:cubicBezTo>
                    <a:pt x="1042" y="322"/>
                    <a:pt x="1139" y="324"/>
                    <a:pt x="1236" y="313"/>
                  </a:cubicBezTo>
                  <a:cubicBezTo>
                    <a:pt x="1257" y="311"/>
                    <a:pt x="1277" y="308"/>
                    <a:pt x="1296" y="300"/>
                  </a:cubicBezTo>
                  <a:cubicBezTo>
                    <a:pt x="1343" y="278"/>
                    <a:pt x="1366" y="220"/>
                    <a:pt x="1356" y="169"/>
                  </a:cubicBezTo>
                  <a:cubicBezTo>
                    <a:pt x="1347" y="118"/>
                    <a:pt x="1309" y="75"/>
                    <a:pt x="1264" y="49"/>
                  </a:cubicBezTo>
                  <a:cubicBezTo>
                    <a:pt x="1227" y="28"/>
                    <a:pt x="1186" y="19"/>
                    <a:pt x="1144" y="9"/>
                  </a:cubicBezTo>
                  <a:cubicBezTo>
                    <a:pt x="1105" y="0"/>
                    <a:pt x="1081" y="12"/>
                    <a:pt x="1044" y="27"/>
                  </a:cubicBezTo>
                </a:path>
              </a:pathLst>
            </a:cu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íšḻiďe">
              <a:extLst>
                <a:ext uri="{FF2B5EF4-FFF2-40B4-BE49-F238E27FC236}">
                  <a16:creationId xmlns:a16="http://schemas.microsoft.com/office/drawing/2014/main" id="{28A013C2-FBDC-4E6C-B90B-ACBE8820B144}"/>
                </a:ext>
              </a:extLst>
            </p:cNvPr>
            <p:cNvSpPr/>
            <p:nvPr/>
          </p:nvSpPr>
          <p:spPr bwMode="auto">
            <a:xfrm>
              <a:off x="8178511" y="4209595"/>
              <a:ext cx="352706" cy="868415"/>
            </a:xfrm>
            <a:custGeom>
              <a:avLst/>
              <a:gdLst>
                <a:gd name="T0" fmla="*/ 210 w 224"/>
                <a:gd name="T1" fmla="*/ 0 h 551"/>
                <a:gd name="T2" fmla="*/ 202 w 224"/>
                <a:gd name="T3" fmla="*/ 19 h 551"/>
                <a:gd name="T4" fmla="*/ 127 w 224"/>
                <a:gd name="T5" fmla="*/ 133 h 551"/>
                <a:gd name="T6" fmla="*/ 6 w 224"/>
                <a:gd name="T7" fmla="*/ 297 h 551"/>
                <a:gd name="T8" fmla="*/ 0 w 224"/>
                <a:gd name="T9" fmla="*/ 313 h 551"/>
                <a:gd name="T10" fmla="*/ 79 w 224"/>
                <a:gd name="T11" fmla="*/ 425 h 551"/>
                <a:gd name="T12" fmla="*/ 38 w 224"/>
                <a:gd name="T13" fmla="*/ 544 h 551"/>
                <a:gd name="T14" fmla="*/ 120 w 224"/>
                <a:gd name="T15" fmla="*/ 551 h 551"/>
                <a:gd name="T16" fmla="*/ 120 w 224"/>
                <a:gd name="T17" fmla="*/ 551 h 551"/>
                <a:gd name="T18" fmla="*/ 134 w 224"/>
                <a:gd name="T19" fmla="*/ 545 h 551"/>
                <a:gd name="T20" fmla="*/ 199 w 224"/>
                <a:gd name="T21" fmla="*/ 444 h 551"/>
                <a:gd name="T22" fmla="*/ 218 w 224"/>
                <a:gd name="T23" fmla="*/ 341 h 551"/>
                <a:gd name="T24" fmla="*/ 210 w 224"/>
                <a:gd name="T25" fmla="*/ 191 h 551"/>
                <a:gd name="T26" fmla="*/ 222 w 224"/>
                <a:gd name="T27" fmla="*/ 82 h 551"/>
                <a:gd name="T28" fmla="*/ 210 w 224"/>
                <a:gd name="T29" fmla="*/ 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551">
                  <a:moveTo>
                    <a:pt x="210" y="0"/>
                  </a:moveTo>
                  <a:cubicBezTo>
                    <a:pt x="208" y="6"/>
                    <a:pt x="205" y="13"/>
                    <a:pt x="202" y="19"/>
                  </a:cubicBezTo>
                  <a:cubicBezTo>
                    <a:pt x="181" y="60"/>
                    <a:pt x="156" y="98"/>
                    <a:pt x="127" y="133"/>
                  </a:cubicBezTo>
                  <a:cubicBezTo>
                    <a:pt x="84" y="186"/>
                    <a:pt x="31" y="234"/>
                    <a:pt x="6" y="297"/>
                  </a:cubicBezTo>
                  <a:cubicBezTo>
                    <a:pt x="4" y="302"/>
                    <a:pt x="2" y="308"/>
                    <a:pt x="0" y="313"/>
                  </a:cubicBezTo>
                  <a:cubicBezTo>
                    <a:pt x="39" y="340"/>
                    <a:pt x="71" y="379"/>
                    <a:pt x="79" y="425"/>
                  </a:cubicBezTo>
                  <a:cubicBezTo>
                    <a:pt x="88" y="468"/>
                    <a:pt x="72" y="517"/>
                    <a:pt x="38" y="544"/>
                  </a:cubicBezTo>
                  <a:cubicBezTo>
                    <a:pt x="120" y="551"/>
                    <a:pt x="120" y="551"/>
                    <a:pt x="120" y="551"/>
                  </a:cubicBezTo>
                  <a:cubicBezTo>
                    <a:pt x="120" y="551"/>
                    <a:pt x="120" y="551"/>
                    <a:pt x="120" y="551"/>
                  </a:cubicBezTo>
                  <a:cubicBezTo>
                    <a:pt x="125" y="549"/>
                    <a:pt x="130" y="547"/>
                    <a:pt x="134" y="545"/>
                  </a:cubicBezTo>
                  <a:cubicBezTo>
                    <a:pt x="170" y="526"/>
                    <a:pt x="187" y="483"/>
                    <a:pt x="199" y="444"/>
                  </a:cubicBezTo>
                  <a:cubicBezTo>
                    <a:pt x="208" y="410"/>
                    <a:pt x="217" y="376"/>
                    <a:pt x="218" y="341"/>
                  </a:cubicBezTo>
                  <a:cubicBezTo>
                    <a:pt x="220" y="291"/>
                    <a:pt x="208" y="241"/>
                    <a:pt x="210" y="191"/>
                  </a:cubicBezTo>
                  <a:cubicBezTo>
                    <a:pt x="211" y="155"/>
                    <a:pt x="220" y="119"/>
                    <a:pt x="222" y="82"/>
                  </a:cubicBezTo>
                  <a:cubicBezTo>
                    <a:pt x="224" y="55"/>
                    <a:pt x="222" y="25"/>
                    <a:pt x="21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iṩliḍè">
              <a:extLst>
                <a:ext uri="{FF2B5EF4-FFF2-40B4-BE49-F238E27FC236}">
                  <a16:creationId xmlns:a16="http://schemas.microsoft.com/office/drawing/2014/main" id="{7A281E2C-9CD3-4549-864F-29CBEA72D741}"/>
                </a:ext>
              </a:extLst>
            </p:cNvPr>
            <p:cNvSpPr/>
            <p:nvPr/>
          </p:nvSpPr>
          <p:spPr bwMode="auto">
            <a:xfrm>
              <a:off x="7658586" y="3907477"/>
              <a:ext cx="851553" cy="795345"/>
            </a:xfrm>
            <a:custGeom>
              <a:avLst/>
              <a:gdLst>
                <a:gd name="T0" fmla="*/ 175 w 540"/>
                <a:gd name="T1" fmla="*/ 0 h 505"/>
                <a:gd name="T2" fmla="*/ 170 w 540"/>
                <a:gd name="T3" fmla="*/ 3 h 505"/>
                <a:gd name="T4" fmla="*/ 166 w 540"/>
                <a:gd name="T5" fmla="*/ 70 h 505"/>
                <a:gd name="T6" fmla="*/ 166 w 540"/>
                <a:gd name="T7" fmla="*/ 178 h 505"/>
                <a:gd name="T8" fmla="*/ 151 w 540"/>
                <a:gd name="T9" fmla="*/ 211 h 505"/>
                <a:gd name="T10" fmla="*/ 160 w 540"/>
                <a:gd name="T11" fmla="*/ 307 h 505"/>
                <a:gd name="T12" fmla="*/ 145 w 540"/>
                <a:gd name="T13" fmla="*/ 365 h 505"/>
                <a:gd name="T14" fmla="*/ 139 w 540"/>
                <a:gd name="T15" fmla="*/ 437 h 505"/>
                <a:gd name="T16" fmla="*/ 100 w 540"/>
                <a:gd name="T17" fmla="*/ 447 h 505"/>
                <a:gd name="T18" fmla="*/ 4 w 540"/>
                <a:gd name="T19" fmla="*/ 505 h 505"/>
                <a:gd name="T20" fmla="*/ 81 w 540"/>
                <a:gd name="T21" fmla="*/ 481 h 505"/>
                <a:gd name="T22" fmla="*/ 97 w 540"/>
                <a:gd name="T23" fmla="*/ 475 h 505"/>
                <a:gd name="T24" fmla="*/ 171 w 540"/>
                <a:gd name="T25" fmla="*/ 454 h 505"/>
                <a:gd name="T26" fmla="*/ 197 w 540"/>
                <a:gd name="T27" fmla="*/ 457 h 505"/>
                <a:gd name="T28" fmla="*/ 317 w 540"/>
                <a:gd name="T29" fmla="*/ 497 h 505"/>
                <a:gd name="T30" fmla="*/ 330 w 540"/>
                <a:gd name="T31" fmla="*/ 505 h 505"/>
                <a:gd name="T32" fmla="*/ 336 w 540"/>
                <a:gd name="T33" fmla="*/ 489 h 505"/>
                <a:gd name="T34" fmla="*/ 457 w 540"/>
                <a:gd name="T35" fmla="*/ 325 h 505"/>
                <a:gd name="T36" fmla="*/ 532 w 540"/>
                <a:gd name="T37" fmla="*/ 211 h 505"/>
                <a:gd name="T38" fmla="*/ 540 w 540"/>
                <a:gd name="T39" fmla="*/ 192 h 505"/>
                <a:gd name="T40" fmla="*/ 528 w 540"/>
                <a:gd name="T41" fmla="*/ 170 h 505"/>
                <a:gd name="T42" fmla="*/ 469 w 540"/>
                <a:gd name="T43" fmla="*/ 101 h 505"/>
                <a:gd name="T44" fmla="*/ 425 w 540"/>
                <a:gd name="T45" fmla="*/ 27 h 505"/>
                <a:gd name="T46" fmla="*/ 375 w 540"/>
                <a:gd name="T47" fmla="*/ 10 h 505"/>
                <a:gd name="T48" fmla="*/ 235 w 540"/>
                <a:gd name="T49" fmla="*/ 46 h 505"/>
                <a:gd name="T50" fmla="*/ 234 w 540"/>
                <a:gd name="T51" fmla="*/ 46 h 505"/>
                <a:gd name="T52" fmla="*/ 203 w 540"/>
                <a:gd name="T53" fmla="*/ 23 h 505"/>
                <a:gd name="T54" fmla="*/ 175 w 540"/>
                <a:gd name="T55" fmla="*/ 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40" h="505">
                  <a:moveTo>
                    <a:pt x="175" y="0"/>
                  </a:moveTo>
                  <a:cubicBezTo>
                    <a:pt x="173" y="0"/>
                    <a:pt x="171" y="1"/>
                    <a:pt x="170" y="3"/>
                  </a:cubicBezTo>
                  <a:cubicBezTo>
                    <a:pt x="157" y="22"/>
                    <a:pt x="162" y="47"/>
                    <a:pt x="166" y="70"/>
                  </a:cubicBezTo>
                  <a:cubicBezTo>
                    <a:pt x="174" y="106"/>
                    <a:pt x="180" y="144"/>
                    <a:pt x="166" y="178"/>
                  </a:cubicBezTo>
                  <a:cubicBezTo>
                    <a:pt x="161" y="189"/>
                    <a:pt x="154" y="199"/>
                    <a:pt x="151" y="211"/>
                  </a:cubicBezTo>
                  <a:cubicBezTo>
                    <a:pt x="143" y="242"/>
                    <a:pt x="164" y="275"/>
                    <a:pt x="160" y="307"/>
                  </a:cubicBezTo>
                  <a:cubicBezTo>
                    <a:pt x="158" y="327"/>
                    <a:pt x="146" y="345"/>
                    <a:pt x="145" y="365"/>
                  </a:cubicBezTo>
                  <a:cubicBezTo>
                    <a:pt x="144" y="390"/>
                    <a:pt x="159" y="422"/>
                    <a:pt x="139" y="437"/>
                  </a:cubicBezTo>
                  <a:cubicBezTo>
                    <a:pt x="128" y="446"/>
                    <a:pt x="113" y="444"/>
                    <a:pt x="100" y="447"/>
                  </a:cubicBezTo>
                  <a:cubicBezTo>
                    <a:pt x="74" y="453"/>
                    <a:pt x="0" y="478"/>
                    <a:pt x="4" y="505"/>
                  </a:cubicBezTo>
                  <a:cubicBezTo>
                    <a:pt x="19" y="493"/>
                    <a:pt x="49" y="485"/>
                    <a:pt x="81" y="481"/>
                  </a:cubicBezTo>
                  <a:cubicBezTo>
                    <a:pt x="86" y="479"/>
                    <a:pt x="91" y="477"/>
                    <a:pt x="97" y="475"/>
                  </a:cubicBezTo>
                  <a:cubicBezTo>
                    <a:pt x="125" y="464"/>
                    <a:pt x="146" y="454"/>
                    <a:pt x="171" y="454"/>
                  </a:cubicBezTo>
                  <a:cubicBezTo>
                    <a:pt x="179" y="454"/>
                    <a:pt x="188" y="455"/>
                    <a:pt x="197" y="457"/>
                  </a:cubicBezTo>
                  <a:cubicBezTo>
                    <a:pt x="239" y="467"/>
                    <a:pt x="280" y="476"/>
                    <a:pt x="317" y="497"/>
                  </a:cubicBezTo>
                  <a:cubicBezTo>
                    <a:pt x="322" y="500"/>
                    <a:pt x="326" y="503"/>
                    <a:pt x="330" y="505"/>
                  </a:cubicBezTo>
                  <a:cubicBezTo>
                    <a:pt x="332" y="500"/>
                    <a:pt x="334" y="494"/>
                    <a:pt x="336" y="489"/>
                  </a:cubicBezTo>
                  <a:cubicBezTo>
                    <a:pt x="361" y="426"/>
                    <a:pt x="414" y="378"/>
                    <a:pt x="457" y="325"/>
                  </a:cubicBezTo>
                  <a:cubicBezTo>
                    <a:pt x="486" y="290"/>
                    <a:pt x="511" y="252"/>
                    <a:pt x="532" y="211"/>
                  </a:cubicBezTo>
                  <a:cubicBezTo>
                    <a:pt x="535" y="205"/>
                    <a:pt x="538" y="198"/>
                    <a:pt x="540" y="192"/>
                  </a:cubicBezTo>
                  <a:cubicBezTo>
                    <a:pt x="537" y="184"/>
                    <a:pt x="533" y="177"/>
                    <a:pt x="528" y="170"/>
                  </a:cubicBezTo>
                  <a:cubicBezTo>
                    <a:pt x="509" y="146"/>
                    <a:pt x="480" y="131"/>
                    <a:pt x="469" y="101"/>
                  </a:cubicBezTo>
                  <a:cubicBezTo>
                    <a:pt x="457" y="71"/>
                    <a:pt x="454" y="48"/>
                    <a:pt x="425" y="27"/>
                  </a:cubicBezTo>
                  <a:cubicBezTo>
                    <a:pt x="409" y="15"/>
                    <a:pt x="392" y="10"/>
                    <a:pt x="375" y="10"/>
                  </a:cubicBezTo>
                  <a:cubicBezTo>
                    <a:pt x="332" y="10"/>
                    <a:pt x="285" y="39"/>
                    <a:pt x="235" y="46"/>
                  </a:cubicBezTo>
                  <a:cubicBezTo>
                    <a:pt x="235" y="46"/>
                    <a:pt x="234" y="46"/>
                    <a:pt x="234" y="46"/>
                  </a:cubicBezTo>
                  <a:cubicBezTo>
                    <a:pt x="225" y="46"/>
                    <a:pt x="213" y="34"/>
                    <a:pt x="203" y="23"/>
                  </a:cubicBezTo>
                  <a:cubicBezTo>
                    <a:pt x="192" y="11"/>
                    <a:pt x="182" y="0"/>
                    <a:pt x="175" y="0"/>
                  </a:cubicBezTo>
                </a:path>
              </a:pathLst>
            </a:custGeom>
            <a:solidFill>
              <a:srgbClr val="4442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îṧḷïḑè">
              <a:extLst>
                <a:ext uri="{FF2B5EF4-FFF2-40B4-BE49-F238E27FC236}">
                  <a16:creationId xmlns:a16="http://schemas.microsoft.com/office/drawing/2014/main" id="{3970A5F8-4587-492B-B6A8-89E7C64E7157}"/>
                </a:ext>
              </a:extLst>
            </p:cNvPr>
            <p:cNvSpPr/>
            <p:nvPr/>
          </p:nvSpPr>
          <p:spPr bwMode="auto">
            <a:xfrm>
              <a:off x="8073120" y="5066768"/>
              <a:ext cx="295093" cy="50587"/>
            </a:xfrm>
            <a:custGeom>
              <a:avLst/>
              <a:gdLst>
                <a:gd name="T0" fmla="*/ 20 w 187"/>
                <a:gd name="T1" fmla="*/ 26 h 32"/>
                <a:gd name="T2" fmla="*/ 1 w 187"/>
                <a:gd name="T3" fmla="*/ 28 h 32"/>
                <a:gd name="T4" fmla="*/ 0 w 187"/>
                <a:gd name="T5" fmla="*/ 32 h 32"/>
                <a:gd name="T6" fmla="*/ 20 w 187"/>
                <a:gd name="T7" fmla="*/ 26 h 32"/>
                <a:gd name="T8" fmla="*/ 105 w 187"/>
                <a:gd name="T9" fmla="*/ 0 h 32"/>
                <a:gd name="T10" fmla="*/ 86 w 187"/>
                <a:gd name="T11" fmla="*/ 12 h 32"/>
                <a:gd name="T12" fmla="*/ 55 w 187"/>
                <a:gd name="T13" fmla="*/ 21 h 32"/>
                <a:gd name="T14" fmla="*/ 187 w 187"/>
                <a:gd name="T15" fmla="*/ 7 h 32"/>
                <a:gd name="T16" fmla="*/ 187 w 187"/>
                <a:gd name="T17" fmla="*/ 7 h 32"/>
                <a:gd name="T18" fmla="*/ 105 w 187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" h="32">
                  <a:moveTo>
                    <a:pt x="20" y="26"/>
                  </a:moveTo>
                  <a:cubicBezTo>
                    <a:pt x="14" y="27"/>
                    <a:pt x="7" y="27"/>
                    <a:pt x="1" y="28"/>
                  </a:cubicBezTo>
                  <a:cubicBezTo>
                    <a:pt x="0" y="29"/>
                    <a:pt x="0" y="30"/>
                    <a:pt x="0" y="32"/>
                  </a:cubicBezTo>
                  <a:cubicBezTo>
                    <a:pt x="6" y="29"/>
                    <a:pt x="13" y="28"/>
                    <a:pt x="20" y="26"/>
                  </a:cubicBezTo>
                  <a:moveTo>
                    <a:pt x="105" y="0"/>
                  </a:moveTo>
                  <a:cubicBezTo>
                    <a:pt x="99" y="4"/>
                    <a:pt x="93" y="8"/>
                    <a:pt x="86" y="12"/>
                  </a:cubicBezTo>
                  <a:cubicBezTo>
                    <a:pt x="76" y="16"/>
                    <a:pt x="66" y="19"/>
                    <a:pt x="55" y="21"/>
                  </a:cubicBezTo>
                  <a:cubicBezTo>
                    <a:pt x="100" y="18"/>
                    <a:pt x="152" y="18"/>
                    <a:pt x="187" y="7"/>
                  </a:cubicBezTo>
                  <a:cubicBezTo>
                    <a:pt x="187" y="7"/>
                    <a:pt x="187" y="7"/>
                    <a:pt x="187" y="7"/>
                  </a:cubicBezTo>
                  <a:cubicBezTo>
                    <a:pt x="105" y="0"/>
                    <a:pt x="105" y="0"/>
                    <a:pt x="105" y="0"/>
                  </a:cubicBezTo>
                </a:path>
              </a:pathLst>
            </a:custGeom>
            <a:solidFill>
              <a:srgbClr val="484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îsľiḓe">
              <a:extLst>
                <a:ext uri="{FF2B5EF4-FFF2-40B4-BE49-F238E27FC236}">
                  <a16:creationId xmlns:a16="http://schemas.microsoft.com/office/drawing/2014/main" id="{04C3698B-2CD1-4F2B-A9FC-C21641470AC4}"/>
                </a:ext>
              </a:extLst>
            </p:cNvPr>
            <p:cNvSpPr/>
            <p:nvPr/>
          </p:nvSpPr>
          <p:spPr bwMode="auto">
            <a:xfrm>
              <a:off x="7786459" y="4622724"/>
              <a:ext cx="531167" cy="487606"/>
            </a:xfrm>
            <a:custGeom>
              <a:avLst/>
              <a:gdLst>
                <a:gd name="T0" fmla="*/ 90 w 337"/>
                <a:gd name="T1" fmla="*/ 0 h 310"/>
                <a:gd name="T2" fmla="*/ 16 w 337"/>
                <a:gd name="T3" fmla="*/ 21 h 310"/>
                <a:gd name="T4" fmla="*/ 0 w 337"/>
                <a:gd name="T5" fmla="*/ 27 h 310"/>
                <a:gd name="T6" fmla="*/ 54 w 337"/>
                <a:gd name="T7" fmla="*/ 23 h 310"/>
                <a:gd name="T8" fmla="*/ 95 w 337"/>
                <a:gd name="T9" fmla="*/ 26 h 310"/>
                <a:gd name="T10" fmla="*/ 201 w 337"/>
                <a:gd name="T11" fmla="*/ 86 h 310"/>
                <a:gd name="T12" fmla="*/ 238 w 337"/>
                <a:gd name="T13" fmla="*/ 153 h 310"/>
                <a:gd name="T14" fmla="*/ 235 w 337"/>
                <a:gd name="T15" fmla="*/ 214 h 310"/>
                <a:gd name="T16" fmla="*/ 183 w 337"/>
                <a:gd name="T17" fmla="*/ 310 h 310"/>
                <a:gd name="T18" fmla="*/ 202 w 337"/>
                <a:gd name="T19" fmla="*/ 308 h 310"/>
                <a:gd name="T20" fmla="*/ 237 w 337"/>
                <a:gd name="T21" fmla="*/ 303 h 310"/>
                <a:gd name="T22" fmla="*/ 268 w 337"/>
                <a:gd name="T23" fmla="*/ 294 h 310"/>
                <a:gd name="T24" fmla="*/ 287 w 337"/>
                <a:gd name="T25" fmla="*/ 282 h 310"/>
                <a:gd name="T26" fmla="*/ 328 w 337"/>
                <a:gd name="T27" fmla="*/ 163 h 310"/>
                <a:gd name="T28" fmla="*/ 249 w 337"/>
                <a:gd name="T29" fmla="*/ 51 h 310"/>
                <a:gd name="T30" fmla="*/ 236 w 337"/>
                <a:gd name="T31" fmla="*/ 43 h 310"/>
                <a:gd name="T32" fmla="*/ 116 w 337"/>
                <a:gd name="T33" fmla="*/ 3 h 310"/>
                <a:gd name="T34" fmla="*/ 90 w 337"/>
                <a:gd name="T35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7" h="310">
                  <a:moveTo>
                    <a:pt x="90" y="0"/>
                  </a:moveTo>
                  <a:cubicBezTo>
                    <a:pt x="65" y="0"/>
                    <a:pt x="44" y="10"/>
                    <a:pt x="16" y="21"/>
                  </a:cubicBezTo>
                  <a:cubicBezTo>
                    <a:pt x="10" y="23"/>
                    <a:pt x="5" y="25"/>
                    <a:pt x="0" y="27"/>
                  </a:cubicBezTo>
                  <a:cubicBezTo>
                    <a:pt x="18" y="25"/>
                    <a:pt x="37" y="23"/>
                    <a:pt x="54" y="23"/>
                  </a:cubicBezTo>
                  <a:cubicBezTo>
                    <a:pt x="70" y="23"/>
                    <a:pt x="85" y="24"/>
                    <a:pt x="95" y="26"/>
                  </a:cubicBezTo>
                  <a:cubicBezTo>
                    <a:pt x="136" y="34"/>
                    <a:pt x="173" y="56"/>
                    <a:pt x="201" y="86"/>
                  </a:cubicBezTo>
                  <a:cubicBezTo>
                    <a:pt x="219" y="105"/>
                    <a:pt x="234" y="128"/>
                    <a:pt x="238" y="153"/>
                  </a:cubicBezTo>
                  <a:cubicBezTo>
                    <a:pt x="242" y="174"/>
                    <a:pt x="239" y="194"/>
                    <a:pt x="235" y="214"/>
                  </a:cubicBezTo>
                  <a:cubicBezTo>
                    <a:pt x="231" y="242"/>
                    <a:pt x="190" y="281"/>
                    <a:pt x="183" y="310"/>
                  </a:cubicBezTo>
                  <a:cubicBezTo>
                    <a:pt x="189" y="309"/>
                    <a:pt x="196" y="309"/>
                    <a:pt x="202" y="308"/>
                  </a:cubicBezTo>
                  <a:cubicBezTo>
                    <a:pt x="213" y="306"/>
                    <a:pt x="225" y="304"/>
                    <a:pt x="237" y="303"/>
                  </a:cubicBezTo>
                  <a:cubicBezTo>
                    <a:pt x="248" y="301"/>
                    <a:pt x="258" y="298"/>
                    <a:pt x="268" y="294"/>
                  </a:cubicBezTo>
                  <a:cubicBezTo>
                    <a:pt x="275" y="290"/>
                    <a:pt x="281" y="286"/>
                    <a:pt x="287" y="282"/>
                  </a:cubicBezTo>
                  <a:cubicBezTo>
                    <a:pt x="321" y="255"/>
                    <a:pt x="337" y="206"/>
                    <a:pt x="328" y="163"/>
                  </a:cubicBezTo>
                  <a:cubicBezTo>
                    <a:pt x="320" y="117"/>
                    <a:pt x="288" y="78"/>
                    <a:pt x="249" y="51"/>
                  </a:cubicBezTo>
                  <a:cubicBezTo>
                    <a:pt x="245" y="49"/>
                    <a:pt x="241" y="46"/>
                    <a:pt x="236" y="43"/>
                  </a:cubicBezTo>
                  <a:cubicBezTo>
                    <a:pt x="199" y="22"/>
                    <a:pt x="158" y="13"/>
                    <a:pt x="116" y="3"/>
                  </a:cubicBezTo>
                  <a:cubicBezTo>
                    <a:pt x="107" y="1"/>
                    <a:pt x="98" y="0"/>
                    <a:pt x="90" y="0"/>
                  </a:cubicBezTo>
                </a:path>
              </a:pathLst>
            </a:custGeom>
            <a:solidFill>
              <a:srgbClr val="9C63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ïṩľïďê">
              <a:extLst>
                <a:ext uri="{FF2B5EF4-FFF2-40B4-BE49-F238E27FC236}">
                  <a16:creationId xmlns:a16="http://schemas.microsoft.com/office/drawing/2014/main" id="{262D75C7-896C-4E46-9FE1-DFC4319A246C}"/>
                </a:ext>
              </a:extLst>
            </p:cNvPr>
            <p:cNvSpPr/>
            <p:nvPr/>
          </p:nvSpPr>
          <p:spPr bwMode="auto">
            <a:xfrm>
              <a:off x="7678259" y="3852673"/>
              <a:ext cx="874036" cy="1264682"/>
            </a:xfrm>
            <a:custGeom>
              <a:avLst/>
              <a:gdLst>
                <a:gd name="T0" fmla="*/ 528 w 555"/>
                <a:gd name="T1" fmla="*/ 205 h 803"/>
                <a:gd name="T2" fmla="*/ 552 w 555"/>
                <a:gd name="T3" fmla="*/ 309 h 803"/>
                <a:gd name="T4" fmla="*/ 540 w 555"/>
                <a:gd name="T5" fmla="*/ 418 h 803"/>
                <a:gd name="T6" fmla="*/ 548 w 555"/>
                <a:gd name="T7" fmla="*/ 568 h 803"/>
                <a:gd name="T8" fmla="*/ 529 w 555"/>
                <a:gd name="T9" fmla="*/ 671 h 803"/>
                <a:gd name="T10" fmla="*/ 464 w 555"/>
                <a:gd name="T11" fmla="*/ 772 h 803"/>
                <a:gd name="T12" fmla="*/ 263 w 555"/>
                <a:gd name="T13" fmla="*/ 803 h 803"/>
                <a:gd name="T14" fmla="*/ 316 w 555"/>
                <a:gd name="T15" fmla="*/ 703 h 803"/>
                <a:gd name="T16" fmla="*/ 319 w 555"/>
                <a:gd name="T17" fmla="*/ 642 h 803"/>
                <a:gd name="T18" fmla="*/ 282 w 555"/>
                <a:gd name="T19" fmla="*/ 575 h 803"/>
                <a:gd name="T20" fmla="*/ 176 w 555"/>
                <a:gd name="T21" fmla="*/ 515 h 803"/>
                <a:gd name="T22" fmla="*/ 4 w 555"/>
                <a:gd name="T23" fmla="*/ 540 h 803"/>
                <a:gd name="T24" fmla="*/ 100 w 555"/>
                <a:gd name="T25" fmla="*/ 482 h 803"/>
                <a:gd name="T26" fmla="*/ 139 w 555"/>
                <a:gd name="T27" fmla="*/ 472 h 803"/>
                <a:gd name="T28" fmla="*/ 145 w 555"/>
                <a:gd name="T29" fmla="*/ 400 h 803"/>
                <a:gd name="T30" fmla="*/ 160 w 555"/>
                <a:gd name="T31" fmla="*/ 342 h 803"/>
                <a:gd name="T32" fmla="*/ 151 w 555"/>
                <a:gd name="T33" fmla="*/ 246 h 803"/>
                <a:gd name="T34" fmla="*/ 166 w 555"/>
                <a:gd name="T35" fmla="*/ 213 h 803"/>
                <a:gd name="T36" fmla="*/ 166 w 555"/>
                <a:gd name="T37" fmla="*/ 105 h 803"/>
                <a:gd name="T38" fmla="*/ 170 w 555"/>
                <a:gd name="T39" fmla="*/ 38 h 803"/>
                <a:gd name="T40" fmla="*/ 225 w 555"/>
                <a:gd name="T41" fmla="*/ 10 h 803"/>
                <a:gd name="T42" fmla="*/ 425 w 555"/>
                <a:gd name="T43" fmla="*/ 62 h 803"/>
                <a:gd name="T44" fmla="*/ 469 w 555"/>
                <a:gd name="T45" fmla="*/ 136 h 803"/>
                <a:gd name="T46" fmla="*/ 528 w 555"/>
                <a:gd name="T47" fmla="*/ 205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55" h="803">
                  <a:moveTo>
                    <a:pt x="528" y="205"/>
                  </a:moveTo>
                  <a:cubicBezTo>
                    <a:pt x="550" y="234"/>
                    <a:pt x="555" y="273"/>
                    <a:pt x="552" y="309"/>
                  </a:cubicBezTo>
                  <a:cubicBezTo>
                    <a:pt x="550" y="346"/>
                    <a:pt x="541" y="382"/>
                    <a:pt x="540" y="418"/>
                  </a:cubicBezTo>
                  <a:cubicBezTo>
                    <a:pt x="538" y="468"/>
                    <a:pt x="550" y="518"/>
                    <a:pt x="548" y="568"/>
                  </a:cubicBezTo>
                  <a:cubicBezTo>
                    <a:pt x="547" y="603"/>
                    <a:pt x="538" y="637"/>
                    <a:pt x="529" y="671"/>
                  </a:cubicBezTo>
                  <a:cubicBezTo>
                    <a:pt x="517" y="710"/>
                    <a:pt x="500" y="753"/>
                    <a:pt x="464" y="772"/>
                  </a:cubicBezTo>
                  <a:cubicBezTo>
                    <a:pt x="415" y="797"/>
                    <a:pt x="314" y="783"/>
                    <a:pt x="263" y="803"/>
                  </a:cubicBezTo>
                  <a:cubicBezTo>
                    <a:pt x="267" y="774"/>
                    <a:pt x="312" y="732"/>
                    <a:pt x="316" y="703"/>
                  </a:cubicBezTo>
                  <a:cubicBezTo>
                    <a:pt x="320" y="683"/>
                    <a:pt x="323" y="663"/>
                    <a:pt x="319" y="642"/>
                  </a:cubicBezTo>
                  <a:cubicBezTo>
                    <a:pt x="315" y="617"/>
                    <a:pt x="300" y="594"/>
                    <a:pt x="282" y="575"/>
                  </a:cubicBezTo>
                  <a:cubicBezTo>
                    <a:pt x="254" y="545"/>
                    <a:pt x="217" y="523"/>
                    <a:pt x="176" y="515"/>
                  </a:cubicBezTo>
                  <a:cubicBezTo>
                    <a:pt x="136" y="508"/>
                    <a:pt x="36" y="514"/>
                    <a:pt x="4" y="540"/>
                  </a:cubicBezTo>
                  <a:cubicBezTo>
                    <a:pt x="0" y="513"/>
                    <a:pt x="74" y="488"/>
                    <a:pt x="100" y="482"/>
                  </a:cubicBezTo>
                  <a:cubicBezTo>
                    <a:pt x="113" y="479"/>
                    <a:pt x="128" y="481"/>
                    <a:pt x="139" y="472"/>
                  </a:cubicBezTo>
                  <a:cubicBezTo>
                    <a:pt x="159" y="457"/>
                    <a:pt x="144" y="425"/>
                    <a:pt x="145" y="400"/>
                  </a:cubicBezTo>
                  <a:cubicBezTo>
                    <a:pt x="146" y="380"/>
                    <a:pt x="158" y="362"/>
                    <a:pt x="160" y="342"/>
                  </a:cubicBezTo>
                  <a:cubicBezTo>
                    <a:pt x="164" y="310"/>
                    <a:pt x="143" y="277"/>
                    <a:pt x="151" y="246"/>
                  </a:cubicBezTo>
                  <a:cubicBezTo>
                    <a:pt x="154" y="234"/>
                    <a:pt x="161" y="224"/>
                    <a:pt x="166" y="213"/>
                  </a:cubicBezTo>
                  <a:cubicBezTo>
                    <a:pt x="180" y="179"/>
                    <a:pt x="174" y="141"/>
                    <a:pt x="166" y="105"/>
                  </a:cubicBezTo>
                  <a:cubicBezTo>
                    <a:pt x="162" y="82"/>
                    <a:pt x="157" y="57"/>
                    <a:pt x="170" y="38"/>
                  </a:cubicBezTo>
                  <a:cubicBezTo>
                    <a:pt x="181" y="20"/>
                    <a:pt x="204" y="13"/>
                    <a:pt x="225" y="10"/>
                  </a:cubicBezTo>
                  <a:cubicBezTo>
                    <a:pt x="296" y="0"/>
                    <a:pt x="368" y="19"/>
                    <a:pt x="425" y="62"/>
                  </a:cubicBezTo>
                  <a:cubicBezTo>
                    <a:pt x="454" y="83"/>
                    <a:pt x="458" y="106"/>
                    <a:pt x="469" y="136"/>
                  </a:cubicBezTo>
                  <a:cubicBezTo>
                    <a:pt x="480" y="166"/>
                    <a:pt x="509" y="181"/>
                    <a:pt x="528" y="205"/>
                  </a:cubicBezTo>
                  <a:close/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ïṩḻíḋé">
              <a:extLst>
                <a:ext uri="{FF2B5EF4-FFF2-40B4-BE49-F238E27FC236}">
                  <a16:creationId xmlns:a16="http://schemas.microsoft.com/office/drawing/2014/main" id="{16D501E1-E90D-47C4-9B8F-BB1728B96C34}"/>
                </a:ext>
              </a:extLst>
            </p:cNvPr>
            <p:cNvSpPr/>
            <p:nvPr/>
          </p:nvSpPr>
          <p:spPr bwMode="auto">
            <a:xfrm>
              <a:off x="4333876" y="3662971"/>
              <a:ext cx="2045975" cy="1690459"/>
            </a:xfrm>
            <a:custGeom>
              <a:avLst/>
              <a:gdLst>
                <a:gd name="T0" fmla="*/ 4 w 1299"/>
                <a:gd name="T1" fmla="*/ 137 h 1074"/>
                <a:gd name="T2" fmla="*/ 221 w 1299"/>
                <a:gd name="T3" fmla="*/ 940 h 1074"/>
                <a:gd name="T4" fmla="*/ 265 w 1299"/>
                <a:gd name="T5" fmla="*/ 977 h 1074"/>
                <a:gd name="T6" fmla="*/ 1244 w 1299"/>
                <a:gd name="T7" fmla="*/ 1071 h 1074"/>
                <a:gd name="T8" fmla="*/ 1299 w 1299"/>
                <a:gd name="T9" fmla="*/ 1026 h 1074"/>
                <a:gd name="T10" fmla="*/ 1298 w 1299"/>
                <a:gd name="T11" fmla="*/ 1009 h 1074"/>
                <a:gd name="T12" fmla="*/ 1059 w 1299"/>
                <a:gd name="T13" fmla="*/ 40 h 1074"/>
                <a:gd name="T14" fmla="*/ 1007 w 1299"/>
                <a:gd name="T15" fmla="*/ 2 h 1074"/>
                <a:gd name="T16" fmla="*/ 49 w 1299"/>
                <a:gd name="T17" fmla="*/ 73 h 1074"/>
                <a:gd name="T18" fmla="*/ 2 w 1299"/>
                <a:gd name="T19" fmla="*/ 127 h 1074"/>
                <a:gd name="T20" fmla="*/ 4 w 1299"/>
                <a:gd name="T21" fmla="*/ 137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9" h="1074">
                  <a:moveTo>
                    <a:pt x="4" y="137"/>
                  </a:moveTo>
                  <a:cubicBezTo>
                    <a:pt x="221" y="940"/>
                    <a:pt x="221" y="940"/>
                    <a:pt x="221" y="940"/>
                  </a:cubicBezTo>
                  <a:cubicBezTo>
                    <a:pt x="227" y="961"/>
                    <a:pt x="244" y="975"/>
                    <a:pt x="265" y="977"/>
                  </a:cubicBezTo>
                  <a:cubicBezTo>
                    <a:pt x="1244" y="1071"/>
                    <a:pt x="1244" y="1071"/>
                    <a:pt x="1244" y="1071"/>
                  </a:cubicBezTo>
                  <a:cubicBezTo>
                    <a:pt x="1272" y="1074"/>
                    <a:pt x="1296" y="1054"/>
                    <a:pt x="1299" y="1026"/>
                  </a:cubicBezTo>
                  <a:cubicBezTo>
                    <a:pt x="1299" y="1020"/>
                    <a:pt x="1299" y="1015"/>
                    <a:pt x="1298" y="1009"/>
                  </a:cubicBezTo>
                  <a:cubicBezTo>
                    <a:pt x="1059" y="40"/>
                    <a:pt x="1059" y="40"/>
                    <a:pt x="1059" y="40"/>
                  </a:cubicBezTo>
                  <a:cubicBezTo>
                    <a:pt x="1054" y="16"/>
                    <a:pt x="1031" y="0"/>
                    <a:pt x="1007" y="2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21" y="76"/>
                    <a:pt x="0" y="100"/>
                    <a:pt x="2" y="127"/>
                  </a:cubicBezTo>
                  <a:cubicBezTo>
                    <a:pt x="3" y="130"/>
                    <a:pt x="3" y="134"/>
                    <a:pt x="4" y="137"/>
                  </a:cubicBezTo>
                  <a:close/>
                </a:path>
              </a:pathLst>
            </a:custGeom>
            <a:solidFill>
              <a:srgbClr val="9C9C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îšľiďé">
              <a:extLst>
                <a:ext uri="{FF2B5EF4-FFF2-40B4-BE49-F238E27FC236}">
                  <a16:creationId xmlns:a16="http://schemas.microsoft.com/office/drawing/2014/main" id="{5C5F2BC3-F711-4A7A-BC7F-24A719AD80BF}"/>
                </a:ext>
              </a:extLst>
            </p:cNvPr>
            <p:cNvSpPr/>
            <p:nvPr/>
          </p:nvSpPr>
          <p:spPr bwMode="auto">
            <a:xfrm>
              <a:off x="7227188" y="3781008"/>
              <a:ext cx="338654" cy="34286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iṧḷidê">
              <a:extLst>
                <a:ext uri="{FF2B5EF4-FFF2-40B4-BE49-F238E27FC236}">
                  <a16:creationId xmlns:a16="http://schemas.microsoft.com/office/drawing/2014/main" id="{0257A829-3AB7-4035-8A4E-0534E6445FA8}"/>
                </a:ext>
              </a:extLst>
            </p:cNvPr>
            <p:cNvSpPr/>
            <p:nvPr/>
          </p:nvSpPr>
          <p:spPr bwMode="auto">
            <a:xfrm>
              <a:off x="7453426" y="3625030"/>
              <a:ext cx="147547" cy="254342"/>
            </a:xfrm>
            <a:custGeom>
              <a:avLst/>
              <a:gdLst>
                <a:gd name="T0" fmla="*/ 53 w 94"/>
                <a:gd name="T1" fmla="*/ 10 h 162"/>
                <a:gd name="T2" fmla="*/ 9 w 94"/>
                <a:gd name="T3" fmla="*/ 105 h 162"/>
                <a:gd name="T4" fmla="*/ 0 w 94"/>
                <a:gd name="T5" fmla="*/ 120 h 162"/>
                <a:gd name="T6" fmla="*/ 42 w 94"/>
                <a:gd name="T7" fmla="*/ 162 h 162"/>
                <a:gd name="T8" fmla="*/ 88 w 94"/>
                <a:gd name="T9" fmla="*/ 34 h 162"/>
                <a:gd name="T10" fmla="*/ 53 w 94"/>
                <a:gd name="T11" fmla="*/ 1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162">
                  <a:moveTo>
                    <a:pt x="53" y="10"/>
                  </a:moveTo>
                  <a:cubicBezTo>
                    <a:pt x="53" y="10"/>
                    <a:pt x="75" y="77"/>
                    <a:pt x="9" y="105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42" y="162"/>
                    <a:pt x="42" y="162"/>
                    <a:pt x="42" y="162"/>
                  </a:cubicBezTo>
                  <a:cubicBezTo>
                    <a:pt x="42" y="162"/>
                    <a:pt x="94" y="67"/>
                    <a:pt x="88" y="34"/>
                  </a:cubicBezTo>
                  <a:cubicBezTo>
                    <a:pt x="88" y="34"/>
                    <a:pt x="80" y="0"/>
                    <a:pt x="53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išḷïḑê">
              <a:extLst>
                <a:ext uri="{FF2B5EF4-FFF2-40B4-BE49-F238E27FC236}">
                  <a16:creationId xmlns:a16="http://schemas.microsoft.com/office/drawing/2014/main" id="{9F8CAA26-F665-48C5-A5CA-1F1FE9538AEC}"/>
                </a:ext>
              </a:extLst>
            </p:cNvPr>
            <p:cNvSpPr/>
            <p:nvPr/>
          </p:nvSpPr>
          <p:spPr bwMode="auto">
            <a:xfrm>
              <a:off x="7252482" y="3797871"/>
              <a:ext cx="327413" cy="326007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iś1ïḋè">
              <a:extLst>
                <a:ext uri="{FF2B5EF4-FFF2-40B4-BE49-F238E27FC236}">
                  <a16:creationId xmlns:a16="http://schemas.microsoft.com/office/drawing/2014/main" id="{73E6F238-9586-4689-B2AE-A55F2DAC3A3A}"/>
                </a:ext>
              </a:extLst>
            </p:cNvPr>
            <p:cNvSpPr/>
            <p:nvPr/>
          </p:nvSpPr>
          <p:spPr bwMode="auto">
            <a:xfrm>
              <a:off x="7384571" y="3374904"/>
              <a:ext cx="233264" cy="327413"/>
            </a:xfrm>
            <a:custGeom>
              <a:avLst/>
              <a:gdLst>
                <a:gd name="T0" fmla="*/ 132 w 148"/>
                <a:gd name="T1" fmla="*/ 208 h 208"/>
                <a:gd name="T2" fmla="*/ 115 w 148"/>
                <a:gd name="T3" fmla="*/ 181 h 208"/>
                <a:gd name="T4" fmla="*/ 91 w 148"/>
                <a:gd name="T5" fmla="*/ 178 h 208"/>
                <a:gd name="T6" fmla="*/ 73 w 148"/>
                <a:gd name="T7" fmla="*/ 61 h 208"/>
                <a:gd name="T8" fmla="*/ 68 w 148"/>
                <a:gd name="T9" fmla="*/ 61 h 208"/>
                <a:gd name="T10" fmla="*/ 44 w 148"/>
                <a:gd name="T11" fmla="*/ 59 h 208"/>
                <a:gd name="T12" fmla="*/ 0 w 148"/>
                <a:gd name="T13" fmla="*/ 13 h 208"/>
                <a:gd name="T14" fmla="*/ 0 w 148"/>
                <a:gd name="T15" fmla="*/ 0 h 208"/>
                <a:gd name="T16" fmla="*/ 115 w 148"/>
                <a:gd name="T17" fmla="*/ 71 h 208"/>
                <a:gd name="T18" fmla="*/ 132 w 148"/>
                <a:gd name="T1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208">
                  <a:moveTo>
                    <a:pt x="132" y="208"/>
                  </a:moveTo>
                  <a:cubicBezTo>
                    <a:pt x="115" y="181"/>
                    <a:pt x="115" y="181"/>
                    <a:pt x="115" y="181"/>
                  </a:cubicBezTo>
                  <a:cubicBezTo>
                    <a:pt x="91" y="178"/>
                    <a:pt x="91" y="178"/>
                    <a:pt x="91" y="178"/>
                  </a:cubicBezTo>
                  <a:cubicBezTo>
                    <a:pt x="96" y="88"/>
                    <a:pt x="73" y="61"/>
                    <a:pt x="73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2" y="7"/>
                    <a:pt x="96" y="37"/>
                    <a:pt x="115" y="71"/>
                  </a:cubicBezTo>
                  <a:cubicBezTo>
                    <a:pt x="148" y="132"/>
                    <a:pt x="132" y="208"/>
                    <a:pt x="132" y="208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ïśļíḋe">
              <a:extLst>
                <a:ext uri="{FF2B5EF4-FFF2-40B4-BE49-F238E27FC236}">
                  <a16:creationId xmlns:a16="http://schemas.microsoft.com/office/drawing/2014/main" id="{03685A26-F79D-4E56-BBF9-33E76297FD04}"/>
                </a:ext>
              </a:extLst>
            </p:cNvPr>
            <p:cNvSpPr/>
            <p:nvPr/>
          </p:nvSpPr>
          <p:spPr bwMode="auto">
            <a:xfrm>
              <a:off x="7474504" y="3433923"/>
              <a:ext cx="18268" cy="33725"/>
            </a:xfrm>
            <a:custGeom>
              <a:avLst/>
              <a:gdLst>
                <a:gd name="T0" fmla="*/ 5 w 11"/>
                <a:gd name="T1" fmla="*/ 0 h 21"/>
                <a:gd name="T2" fmla="*/ 0 w 11"/>
                <a:gd name="T3" fmla="*/ 20 h 21"/>
                <a:gd name="T4" fmla="*/ 9 w 11"/>
                <a:gd name="T5" fmla="*/ 21 h 21"/>
                <a:gd name="T6" fmla="*/ 9 w 11"/>
                <a:gd name="T7" fmla="*/ 6 h 21"/>
                <a:gd name="T8" fmla="*/ 11 w 11"/>
                <a:gd name="T9" fmla="*/ 6 h 21"/>
                <a:gd name="T10" fmla="*/ 9 w 11"/>
                <a:gd name="T11" fmla="*/ 6 h 21"/>
                <a:gd name="T12" fmla="*/ 9 w 11"/>
                <a:gd name="T13" fmla="*/ 6 h 21"/>
                <a:gd name="T14" fmla="*/ 9 w 11"/>
                <a:gd name="T15" fmla="*/ 6 h 21"/>
                <a:gd name="T16" fmla="*/ 9 w 11"/>
                <a:gd name="T17" fmla="*/ 6 h 21"/>
                <a:gd name="T18" fmla="*/ 7 w 11"/>
                <a:gd name="T19" fmla="*/ 2 h 21"/>
                <a:gd name="T20" fmla="*/ 5 w 11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21">
                  <a:moveTo>
                    <a:pt x="5" y="0"/>
                  </a:moveTo>
                  <a:cubicBezTo>
                    <a:pt x="3" y="7"/>
                    <a:pt x="2" y="13"/>
                    <a:pt x="0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8" y="4"/>
                    <a:pt x="7" y="2"/>
                  </a:cubicBezTo>
                  <a:cubicBezTo>
                    <a:pt x="6" y="2"/>
                    <a:pt x="6" y="1"/>
                    <a:pt x="5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îṡļiḋé">
              <a:extLst>
                <a:ext uri="{FF2B5EF4-FFF2-40B4-BE49-F238E27FC236}">
                  <a16:creationId xmlns:a16="http://schemas.microsoft.com/office/drawing/2014/main" id="{8C456CF3-BBCD-4D48-8941-7A0BB7FE90B3}"/>
                </a:ext>
              </a:extLst>
            </p:cNvPr>
            <p:cNvSpPr/>
            <p:nvPr/>
          </p:nvSpPr>
          <p:spPr bwMode="auto">
            <a:xfrm>
              <a:off x="7471693" y="3469053"/>
              <a:ext cx="12647" cy="4216"/>
            </a:xfrm>
            <a:custGeom>
              <a:avLst/>
              <a:gdLst>
                <a:gd name="T0" fmla="*/ 1 w 8"/>
                <a:gd name="T1" fmla="*/ 0 h 3"/>
                <a:gd name="T2" fmla="*/ 0 w 8"/>
                <a:gd name="T3" fmla="*/ 2 h 3"/>
                <a:gd name="T4" fmla="*/ 8 w 8"/>
                <a:gd name="T5" fmla="*/ 3 h 3"/>
                <a:gd name="T6" fmla="*/ 8 w 8"/>
                <a:gd name="T7" fmla="*/ 0 h 3"/>
                <a:gd name="T8" fmla="*/ 1 w 8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1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A46A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iṩlïdê">
              <a:extLst>
                <a:ext uri="{FF2B5EF4-FFF2-40B4-BE49-F238E27FC236}">
                  <a16:creationId xmlns:a16="http://schemas.microsoft.com/office/drawing/2014/main" id="{3E9DF41F-EF72-4217-A775-874465A58A10}"/>
                </a:ext>
              </a:extLst>
            </p:cNvPr>
            <p:cNvSpPr/>
            <p:nvPr/>
          </p:nvSpPr>
          <p:spPr bwMode="auto">
            <a:xfrm>
              <a:off x="7484341" y="3469053"/>
              <a:ext cx="11242" cy="4216"/>
            </a:xfrm>
            <a:custGeom>
              <a:avLst/>
              <a:gdLst>
                <a:gd name="T0" fmla="*/ 0 w 7"/>
                <a:gd name="T1" fmla="*/ 0 h 3"/>
                <a:gd name="T2" fmla="*/ 0 w 7"/>
                <a:gd name="T3" fmla="*/ 3 h 3"/>
                <a:gd name="T4" fmla="*/ 7 w 7"/>
                <a:gd name="T5" fmla="*/ 3 h 3"/>
                <a:gd name="T6" fmla="*/ 7 w 7"/>
                <a:gd name="T7" fmla="*/ 1 h 3"/>
                <a:gd name="T8" fmla="*/ 5 w 7"/>
                <a:gd name="T9" fmla="*/ 1 h 3"/>
                <a:gd name="T10" fmla="*/ 0 w 7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íŝľíḓe">
              <a:extLst>
                <a:ext uri="{FF2B5EF4-FFF2-40B4-BE49-F238E27FC236}">
                  <a16:creationId xmlns:a16="http://schemas.microsoft.com/office/drawing/2014/main" id="{9BB35046-DEA3-4990-811A-5E134F92C5E3}"/>
                </a:ext>
              </a:extLst>
            </p:cNvPr>
            <p:cNvSpPr/>
            <p:nvPr/>
          </p:nvSpPr>
          <p:spPr bwMode="auto">
            <a:xfrm>
              <a:off x="7473099" y="3428302"/>
              <a:ext cx="22483" cy="42156"/>
            </a:xfrm>
            <a:custGeom>
              <a:avLst/>
              <a:gdLst>
                <a:gd name="T0" fmla="*/ 7 w 14"/>
                <a:gd name="T1" fmla="*/ 0 h 27"/>
                <a:gd name="T2" fmla="*/ 6 w 14"/>
                <a:gd name="T3" fmla="*/ 4 h 27"/>
                <a:gd name="T4" fmla="*/ 8 w 14"/>
                <a:gd name="T5" fmla="*/ 6 h 27"/>
                <a:gd name="T6" fmla="*/ 10 w 14"/>
                <a:gd name="T7" fmla="*/ 10 h 27"/>
                <a:gd name="T8" fmla="*/ 10 w 14"/>
                <a:gd name="T9" fmla="*/ 10 h 27"/>
                <a:gd name="T10" fmla="*/ 10 w 14"/>
                <a:gd name="T11" fmla="*/ 10 h 27"/>
                <a:gd name="T12" fmla="*/ 10 w 14"/>
                <a:gd name="T13" fmla="*/ 10 h 27"/>
                <a:gd name="T14" fmla="*/ 12 w 14"/>
                <a:gd name="T15" fmla="*/ 10 h 27"/>
                <a:gd name="T16" fmla="*/ 10 w 14"/>
                <a:gd name="T17" fmla="*/ 10 h 27"/>
                <a:gd name="T18" fmla="*/ 10 w 14"/>
                <a:gd name="T19" fmla="*/ 25 h 27"/>
                <a:gd name="T20" fmla="*/ 1 w 14"/>
                <a:gd name="T21" fmla="*/ 24 h 27"/>
                <a:gd name="T22" fmla="*/ 0 w 14"/>
                <a:gd name="T23" fmla="*/ 26 h 27"/>
                <a:gd name="T24" fmla="*/ 7 w 14"/>
                <a:gd name="T25" fmla="*/ 26 h 27"/>
                <a:gd name="T26" fmla="*/ 12 w 14"/>
                <a:gd name="T27" fmla="*/ 27 h 27"/>
                <a:gd name="T28" fmla="*/ 14 w 14"/>
                <a:gd name="T29" fmla="*/ 27 h 27"/>
                <a:gd name="T30" fmla="*/ 14 w 14"/>
                <a:gd name="T31" fmla="*/ 10 h 27"/>
                <a:gd name="T32" fmla="*/ 14 w 14"/>
                <a:gd name="T33" fmla="*/ 10 h 27"/>
                <a:gd name="T34" fmla="*/ 10 w 14"/>
                <a:gd name="T35" fmla="*/ 3 h 27"/>
                <a:gd name="T36" fmla="*/ 7 w 14"/>
                <a:gd name="T3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7">
                  <a:moveTo>
                    <a:pt x="7" y="0"/>
                  </a:moveTo>
                  <a:cubicBezTo>
                    <a:pt x="7" y="1"/>
                    <a:pt x="6" y="3"/>
                    <a:pt x="6" y="4"/>
                  </a:cubicBezTo>
                  <a:cubicBezTo>
                    <a:pt x="7" y="5"/>
                    <a:pt x="7" y="6"/>
                    <a:pt x="8" y="6"/>
                  </a:cubicBezTo>
                  <a:cubicBezTo>
                    <a:pt x="9" y="8"/>
                    <a:pt x="10" y="9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7"/>
                    <a:pt x="12" y="5"/>
                    <a:pt x="10" y="3"/>
                  </a:cubicBezTo>
                  <a:cubicBezTo>
                    <a:pt x="9" y="2"/>
                    <a:pt x="8" y="1"/>
                    <a:pt x="7" y="0"/>
                  </a:cubicBezTo>
                </a:path>
              </a:pathLst>
            </a:custGeom>
            <a:solidFill>
              <a:srgbClr val="437F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iSḻiḋê">
              <a:extLst>
                <a:ext uri="{FF2B5EF4-FFF2-40B4-BE49-F238E27FC236}">
                  <a16:creationId xmlns:a16="http://schemas.microsoft.com/office/drawing/2014/main" id="{3B5E31D8-7FDB-4D50-8E0D-F8C8D553715D}"/>
                </a:ext>
              </a:extLst>
            </p:cNvPr>
            <p:cNvSpPr/>
            <p:nvPr/>
          </p:nvSpPr>
          <p:spPr bwMode="auto">
            <a:xfrm>
              <a:off x="7568653" y="3499968"/>
              <a:ext cx="28104" cy="193918"/>
            </a:xfrm>
            <a:custGeom>
              <a:avLst/>
              <a:gdLst>
                <a:gd name="T0" fmla="*/ 0 w 17"/>
                <a:gd name="T1" fmla="*/ 0 h 123"/>
                <a:gd name="T2" fmla="*/ 0 w 17"/>
                <a:gd name="T3" fmla="*/ 101 h 123"/>
                <a:gd name="T4" fmla="*/ 13 w 17"/>
                <a:gd name="T5" fmla="*/ 123 h 123"/>
                <a:gd name="T6" fmla="*/ 15 w 17"/>
                <a:gd name="T7" fmla="*/ 115 h 123"/>
                <a:gd name="T8" fmla="*/ 17 w 17"/>
                <a:gd name="T9" fmla="*/ 83 h 123"/>
                <a:gd name="T10" fmla="*/ 0 w 17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23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4" y="121"/>
                    <a:pt x="14" y="118"/>
                    <a:pt x="15" y="115"/>
                  </a:cubicBezTo>
                  <a:cubicBezTo>
                    <a:pt x="16" y="107"/>
                    <a:pt x="17" y="96"/>
                    <a:pt x="17" y="83"/>
                  </a:cubicBezTo>
                  <a:cubicBezTo>
                    <a:pt x="17" y="59"/>
                    <a:pt x="13" y="28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íŝļïḋé">
              <a:extLst>
                <a:ext uri="{FF2B5EF4-FFF2-40B4-BE49-F238E27FC236}">
                  <a16:creationId xmlns:a16="http://schemas.microsoft.com/office/drawing/2014/main" id="{F8A857AE-4287-40C4-8A6E-906586558D2F}"/>
                </a:ext>
              </a:extLst>
            </p:cNvPr>
            <p:cNvSpPr/>
            <p:nvPr/>
          </p:nvSpPr>
          <p:spPr bwMode="auto">
            <a:xfrm>
              <a:off x="7589730" y="3634867"/>
              <a:ext cx="11242" cy="75881"/>
            </a:xfrm>
            <a:custGeom>
              <a:avLst/>
              <a:gdLst>
                <a:gd name="T0" fmla="*/ 5 w 7"/>
                <a:gd name="T1" fmla="*/ 0 h 49"/>
                <a:gd name="T2" fmla="*/ 2 w 7"/>
                <a:gd name="T3" fmla="*/ 43 h 49"/>
                <a:gd name="T4" fmla="*/ 1 w 7"/>
                <a:gd name="T5" fmla="*/ 42 h 49"/>
                <a:gd name="T6" fmla="*/ 0 w 7"/>
                <a:gd name="T7" fmla="*/ 45 h 49"/>
                <a:gd name="T8" fmla="*/ 2 w 7"/>
                <a:gd name="T9" fmla="*/ 49 h 49"/>
                <a:gd name="T10" fmla="*/ 3 w 7"/>
                <a:gd name="T11" fmla="*/ 44 h 49"/>
                <a:gd name="T12" fmla="*/ 7 w 7"/>
                <a:gd name="T13" fmla="*/ 4 h 49"/>
                <a:gd name="T14" fmla="*/ 5 w 7"/>
                <a:gd name="T1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9">
                  <a:moveTo>
                    <a:pt x="5" y="0"/>
                  </a:moveTo>
                  <a:cubicBezTo>
                    <a:pt x="5" y="26"/>
                    <a:pt x="2" y="43"/>
                    <a:pt x="2" y="43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0" y="44"/>
                    <a:pt x="0" y="45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7" y="28"/>
                    <a:pt x="7" y="4"/>
                  </a:cubicBezTo>
                  <a:cubicBezTo>
                    <a:pt x="7" y="3"/>
                    <a:pt x="6" y="2"/>
                    <a:pt x="5" y="0"/>
                  </a:cubicBezTo>
                </a:path>
              </a:pathLst>
            </a:custGeom>
            <a:solidFill>
              <a:srgbClr val="7278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ïŝļîḑé">
              <a:extLst>
                <a:ext uri="{FF2B5EF4-FFF2-40B4-BE49-F238E27FC236}">
                  <a16:creationId xmlns:a16="http://schemas.microsoft.com/office/drawing/2014/main" id="{64FC8A12-E62B-45AC-9FC0-E6AEF264BF61}"/>
                </a:ext>
              </a:extLst>
            </p:cNvPr>
            <p:cNvSpPr/>
            <p:nvPr/>
          </p:nvSpPr>
          <p:spPr bwMode="auto">
            <a:xfrm>
              <a:off x="7563032" y="3473269"/>
              <a:ext cx="39346" cy="167220"/>
            </a:xfrm>
            <a:custGeom>
              <a:avLst/>
              <a:gdLst>
                <a:gd name="T0" fmla="*/ 0 w 25"/>
                <a:gd name="T1" fmla="*/ 0 h 106"/>
                <a:gd name="T2" fmla="*/ 0 w 25"/>
                <a:gd name="T3" fmla="*/ 5 h 106"/>
                <a:gd name="T4" fmla="*/ 2 w 25"/>
                <a:gd name="T5" fmla="*/ 8 h 106"/>
                <a:gd name="T6" fmla="*/ 22 w 25"/>
                <a:gd name="T7" fmla="*/ 102 h 106"/>
                <a:gd name="T8" fmla="*/ 24 w 25"/>
                <a:gd name="T9" fmla="*/ 106 h 106"/>
                <a:gd name="T10" fmla="*/ 25 w 25"/>
                <a:gd name="T11" fmla="*/ 100 h 106"/>
                <a:gd name="T12" fmla="*/ 4 w 25"/>
                <a:gd name="T13" fmla="*/ 7 h 106"/>
                <a:gd name="T14" fmla="*/ 0 w 25"/>
                <a:gd name="T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06"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7"/>
                    <a:pt x="2" y="8"/>
                  </a:cubicBezTo>
                  <a:cubicBezTo>
                    <a:pt x="19" y="40"/>
                    <a:pt x="23" y="75"/>
                    <a:pt x="22" y="102"/>
                  </a:cubicBezTo>
                  <a:cubicBezTo>
                    <a:pt x="23" y="104"/>
                    <a:pt x="24" y="105"/>
                    <a:pt x="24" y="106"/>
                  </a:cubicBezTo>
                  <a:cubicBezTo>
                    <a:pt x="24" y="104"/>
                    <a:pt x="25" y="102"/>
                    <a:pt x="25" y="100"/>
                  </a:cubicBezTo>
                  <a:cubicBezTo>
                    <a:pt x="24" y="73"/>
                    <a:pt x="20" y="38"/>
                    <a:pt x="4" y="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íşḷiḓe">
              <a:extLst>
                <a:ext uri="{FF2B5EF4-FFF2-40B4-BE49-F238E27FC236}">
                  <a16:creationId xmlns:a16="http://schemas.microsoft.com/office/drawing/2014/main" id="{51717B0F-CF03-49DD-89E9-C23C08370E95}"/>
                </a:ext>
              </a:extLst>
            </p:cNvPr>
            <p:cNvSpPr/>
            <p:nvPr/>
          </p:nvSpPr>
          <p:spPr bwMode="auto">
            <a:xfrm>
              <a:off x="7563032" y="3658755"/>
              <a:ext cx="28104" cy="46372"/>
            </a:xfrm>
            <a:custGeom>
              <a:avLst/>
              <a:gdLst>
                <a:gd name="T0" fmla="*/ 0 w 18"/>
                <a:gd name="T1" fmla="*/ 0 h 29"/>
                <a:gd name="T2" fmla="*/ 0 w 18"/>
                <a:gd name="T3" fmla="*/ 1 h 29"/>
                <a:gd name="T4" fmla="*/ 17 w 18"/>
                <a:gd name="T5" fmla="*/ 29 h 29"/>
                <a:gd name="T6" fmla="*/ 18 w 18"/>
                <a:gd name="T7" fmla="*/ 26 h 29"/>
                <a:gd name="T8" fmla="*/ 2 w 18"/>
                <a:gd name="T9" fmla="*/ 0 h 29"/>
                <a:gd name="T10" fmla="*/ 0 w 18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9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8" y="27"/>
                    <a:pt x="18" y="2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DE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îsliḓé">
              <a:extLst>
                <a:ext uri="{FF2B5EF4-FFF2-40B4-BE49-F238E27FC236}">
                  <a16:creationId xmlns:a16="http://schemas.microsoft.com/office/drawing/2014/main" id="{3AA540EF-3A1E-4BF1-8629-CF8D4B7E1802}"/>
                </a:ext>
              </a:extLst>
            </p:cNvPr>
            <p:cNvSpPr/>
            <p:nvPr/>
          </p:nvSpPr>
          <p:spPr bwMode="auto">
            <a:xfrm>
              <a:off x="7563032" y="3481700"/>
              <a:ext cx="36535" cy="220617"/>
            </a:xfrm>
            <a:custGeom>
              <a:avLst/>
              <a:gdLst>
                <a:gd name="T0" fmla="*/ 17 w 23"/>
                <a:gd name="T1" fmla="*/ 135 h 140"/>
                <a:gd name="T2" fmla="*/ 4 w 23"/>
                <a:gd name="T3" fmla="*/ 113 h 140"/>
                <a:gd name="T4" fmla="*/ 4 w 23"/>
                <a:gd name="T5" fmla="*/ 12 h 140"/>
                <a:gd name="T6" fmla="*/ 21 w 23"/>
                <a:gd name="T7" fmla="*/ 95 h 140"/>
                <a:gd name="T8" fmla="*/ 19 w 23"/>
                <a:gd name="T9" fmla="*/ 127 h 140"/>
                <a:gd name="T10" fmla="*/ 17 w 23"/>
                <a:gd name="T11" fmla="*/ 135 h 140"/>
                <a:gd name="T12" fmla="*/ 0 w 23"/>
                <a:gd name="T13" fmla="*/ 0 h 140"/>
                <a:gd name="T14" fmla="*/ 0 w 23"/>
                <a:gd name="T15" fmla="*/ 113 h 140"/>
                <a:gd name="T16" fmla="*/ 2 w 23"/>
                <a:gd name="T17" fmla="*/ 113 h 140"/>
                <a:gd name="T18" fmla="*/ 18 w 23"/>
                <a:gd name="T19" fmla="*/ 139 h 140"/>
                <a:gd name="T20" fmla="*/ 19 w 23"/>
                <a:gd name="T21" fmla="*/ 140 h 140"/>
                <a:gd name="T22" fmla="*/ 22 w 23"/>
                <a:gd name="T23" fmla="*/ 97 h 140"/>
                <a:gd name="T24" fmla="*/ 2 w 23"/>
                <a:gd name="T25" fmla="*/ 3 h 140"/>
                <a:gd name="T26" fmla="*/ 0 w 23"/>
                <a:gd name="T2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40">
                  <a:moveTo>
                    <a:pt x="17" y="135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7" y="40"/>
                    <a:pt x="21" y="71"/>
                    <a:pt x="21" y="95"/>
                  </a:cubicBezTo>
                  <a:cubicBezTo>
                    <a:pt x="21" y="108"/>
                    <a:pt x="20" y="119"/>
                    <a:pt x="19" y="127"/>
                  </a:cubicBezTo>
                  <a:cubicBezTo>
                    <a:pt x="18" y="130"/>
                    <a:pt x="18" y="133"/>
                    <a:pt x="17" y="135"/>
                  </a:cubicBezTo>
                  <a:moveTo>
                    <a:pt x="0" y="0"/>
                  </a:moveTo>
                  <a:cubicBezTo>
                    <a:pt x="0" y="113"/>
                    <a:pt x="0" y="113"/>
                    <a:pt x="0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22" y="123"/>
                    <a:pt x="22" y="97"/>
                  </a:cubicBezTo>
                  <a:cubicBezTo>
                    <a:pt x="23" y="70"/>
                    <a:pt x="19" y="35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437F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iṡľîḋe">
              <a:extLst>
                <a:ext uri="{FF2B5EF4-FFF2-40B4-BE49-F238E27FC236}">
                  <a16:creationId xmlns:a16="http://schemas.microsoft.com/office/drawing/2014/main" id="{7D907BD2-C75D-448E-8FC1-9FFFF5850B54}"/>
                </a:ext>
              </a:extLst>
            </p:cNvPr>
            <p:cNvSpPr/>
            <p:nvPr/>
          </p:nvSpPr>
          <p:spPr bwMode="auto">
            <a:xfrm>
              <a:off x="6903992" y="3716369"/>
              <a:ext cx="254342" cy="335844"/>
            </a:xfrm>
            <a:custGeom>
              <a:avLst/>
              <a:gdLst>
                <a:gd name="T0" fmla="*/ 28 w 161"/>
                <a:gd name="T1" fmla="*/ 16 h 214"/>
                <a:gd name="T2" fmla="*/ 130 w 161"/>
                <a:gd name="T3" fmla="*/ 78 h 214"/>
                <a:gd name="T4" fmla="*/ 133 w 161"/>
                <a:gd name="T5" fmla="*/ 198 h 214"/>
                <a:gd name="T6" fmla="*/ 30 w 161"/>
                <a:gd name="T7" fmla="*/ 136 h 214"/>
                <a:gd name="T8" fmla="*/ 28 w 161"/>
                <a:gd name="T9" fmla="*/ 16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214">
                  <a:moveTo>
                    <a:pt x="28" y="16"/>
                  </a:moveTo>
                  <a:cubicBezTo>
                    <a:pt x="55" y="0"/>
                    <a:pt x="101" y="28"/>
                    <a:pt x="130" y="78"/>
                  </a:cubicBezTo>
                  <a:cubicBezTo>
                    <a:pt x="159" y="129"/>
                    <a:pt x="161" y="182"/>
                    <a:pt x="133" y="198"/>
                  </a:cubicBezTo>
                  <a:cubicBezTo>
                    <a:pt x="105" y="214"/>
                    <a:pt x="60" y="186"/>
                    <a:pt x="30" y="136"/>
                  </a:cubicBezTo>
                  <a:cubicBezTo>
                    <a:pt x="1" y="86"/>
                    <a:pt x="0" y="32"/>
                    <a:pt x="28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iṥ1îďè">
              <a:extLst>
                <a:ext uri="{FF2B5EF4-FFF2-40B4-BE49-F238E27FC236}">
                  <a16:creationId xmlns:a16="http://schemas.microsoft.com/office/drawing/2014/main" id="{9BC2A6B1-2D22-45EF-8044-50A758CAB981}"/>
                </a:ext>
              </a:extLst>
            </p:cNvPr>
            <p:cNvSpPr/>
            <p:nvPr/>
          </p:nvSpPr>
          <p:spPr bwMode="auto">
            <a:xfrm>
              <a:off x="6853404" y="3721990"/>
              <a:ext cx="304929" cy="330223"/>
            </a:xfrm>
            <a:custGeom>
              <a:avLst/>
              <a:gdLst>
                <a:gd name="T0" fmla="*/ 129 w 194"/>
                <a:gd name="T1" fmla="*/ 94 h 210"/>
                <a:gd name="T2" fmla="*/ 166 w 194"/>
                <a:gd name="T3" fmla="*/ 194 h 210"/>
                <a:gd name="T4" fmla="*/ 29 w 194"/>
                <a:gd name="T5" fmla="*/ 152 h 210"/>
                <a:gd name="T6" fmla="*/ 54 w 194"/>
                <a:gd name="T7" fmla="*/ 16 h 210"/>
                <a:gd name="T8" fmla="*/ 129 w 194"/>
                <a:gd name="T9" fmla="*/ 9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210">
                  <a:moveTo>
                    <a:pt x="129" y="94"/>
                  </a:moveTo>
                  <a:cubicBezTo>
                    <a:pt x="158" y="145"/>
                    <a:pt x="194" y="178"/>
                    <a:pt x="166" y="194"/>
                  </a:cubicBezTo>
                  <a:cubicBezTo>
                    <a:pt x="139" y="210"/>
                    <a:pt x="58" y="202"/>
                    <a:pt x="29" y="152"/>
                  </a:cubicBezTo>
                  <a:cubicBezTo>
                    <a:pt x="0" y="102"/>
                    <a:pt x="26" y="32"/>
                    <a:pt x="54" y="16"/>
                  </a:cubicBezTo>
                  <a:cubicBezTo>
                    <a:pt x="82" y="0"/>
                    <a:pt x="100" y="44"/>
                    <a:pt x="129" y="94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is1îďè">
              <a:extLst>
                <a:ext uri="{FF2B5EF4-FFF2-40B4-BE49-F238E27FC236}">
                  <a16:creationId xmlns:a16="http://schemas.microsoft.com/office/drawing/2014/main" id="{224F0833-2783-4E8F-AA3C-875D804A603B}"/>
                </a:ext>
              </a:extLst>
            </p:cNvPr>
            <p:cNvSpPr/>
            <p:nvPr/>
          </p:nvSpPr>
          <p:spPr bwMode="auto">
            <a:xfrm>
              <a:off x="6577985" y="3348206"/>
              <a:ext cx="112416" cy="281040"/>
            </a:xfrm>
            <a:custGeom>
              <a:avLst/>
              <a:gdLst>
                <a:gd name="T0" fmla="*/ 54 w 71"/>
                <a:gd name="T1" fmla="*/ 155 h 179"/>
                <a:gd name="T2" fmla="*/ 48 w 71"/>
                <a:gd name="T3" fmla="*/ 155 h 179"/>
                <a:gd name="T4" fmla="*/ 66 w 71"/>
                <a:gd name="T5" fmla="*/ 179 h 179"/>
                <a:gd name="T6" fmla="*/ 66 w 71"/>
                <a:gd name="T7" fmla="*/ 179 h 179"/>
                <a:gd name="T8" fmla="*/ 71 w 71"/>
                <a:gd name="T9" fmla="*/ 177 h 179"/>
                <a:gd name="T10" fmla="*/ 54 w 71"/>
                <a:gd name="T11" fmla="*/ 155 h 179"/>
                <a:gd name="T12" fmla="*/ 0 w 71"/>
                <a:gd name="T13" fmla="*/ 0 h 179"/>
                <a:gd name="T14" fmla="*/ 25 w 71"/>
                <a:gd name="T15" fmla="*/ 113 h 179"/>
                <a:gd name="T16" fmla="*/ 25 w 71"/>
                <a:gd name="T17" fmla="*/ 105 h 179"/>
                <a:gd name="T18" fmla="*/ 0 w 71"/>
                <a:gd name="T19" fmla="*/ 0 h 179"/>
                <a:gd name="T20" fmla="*/ 0 w 71"/>
                <a:gd name="T21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79">
                  <a:moveTo>
                    <a:pt x="54" y="155"/>
                  </a:moveTo>
                  <a:cubicBezTo>
                    <a:pt x="48" y="155"/>
                    <a:pt x="48" y="155"/>
                    <a:pt x="48" y="155"/>
                  </a:cubicBezTo>
                  <a:cubicBezTo>
                    <a:pt x="54" y="164"/>
                    <a:pt x="59" y="172"/>
                    <a:pt x="66" y="179"/>
                  </a:cubicBezTo>
                  <a:cubicBezTo>
                    <a:pt x="66" y="179"/>
                    <a:pt x="66" y="179"/>
                    <a:pt x="66" y="179"/>
                  </a:cubicBezTo>
                  <a:cubicBezTo>
                    <a:pt x="68" y="178"/>
                    <a:pt x="69" y="178"/>
                    <a:pt x="71" y="177"/>
                  </a:cubicBezTo>
                  <a:cubicBezTo>
                    <a:pt x="65" y="170"/>
                    <a:pt x="59" y="163"/>
                    <a:pt x="54" y="155"/>
                  </a:cubicBezTo>
                  <a:moveTo>
                    <a:pt x="0" y="0"/>
                  </a:moveTo>
                  <a:cubicBezTo>
                    <a:pt x="0" y="40"/>
                    <a:pt x="9" y="78"/>
                    <a:pt x="25" y="113"/>
                  </a:cubicBezTo>
                  <a:cubicBezTo>
                    <a:pt x="25" y="105"/>
                    <a:pt x="25" y="105"/>
                    <a:pt x="25" y="105"/>
                  </a:cubicBezTo>
                  <a:cubicBezTo>
                    <a:pt x="10" y="73"/>
                    <a:pt x="2" y="38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íṥ1îdê">
              <a:extLst>
                <a:ext uri="{FF2B5EF4-FFF2-40B4-BE49-F238E27FC236}">
                  <a16:creationId xmlns:a16="http://schemas.microsoft.com/office/drawing/2014/main" id="{39038BB4-89FE-42F9-9AD1-DB395E501D5B}"/>
                </a:ext>
              </a:extLst>
            </p:cNvPr>
            <p:cNvSpPr/>
            <p:nvPr/>
          </p:nvSpPr>
          <p:spPr bwMode="auto">
            <a:xfrm>
              <a:off x="6618736" y="3512614"/>
              <a:ext cx="44966" cy="78691"/>
            </a:xfrm>
            <a:custGeom>
              <a:avLst/>
              <a:gdLst>
                <a:gd name="T0" fmla="*/ 0 w 29"/>
                <a:gd name="T1" fmla="*/ 0 h 50"/>
                <a:gd name="T2" fmla="*/ 0 w 29"/>
                <a:gd name="T3" fmla="*/ 8 h 50"/>
                <a:gd name="T4" fmla="*/ 23 w 29"/>
                <a:gd name="T5" fmla="*/ 50 h 50"/>
                <a:gd name="T6" fmla="*/ 29 w 29"/>
                <a:gd name="T7" fmla="*/ 50 h 50"/>
                <a:gd name="T8" fmla="*/ 0 w 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6" y="23"/>
                    <a:pt x="14" y="37"/>
                    <a:pt x="2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17" y="35"/>
                    <a:pt x="8" y="18"/>
                    <a:pt x="0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ísľîḍe">
              <a:extLst>
                <a:ext uri="{FF2B5EF4-FFF2-40B4-BE49-F238E27FC236}">
                  <a16:creationId xmlns:a16="http://schemas.microsoft.com/office/drawing/2014/main" id="{BB9F2112-93D8-4C74-AD9C-C0972461B049}"/>
                </a:ext>
              </a:extLst>
            </p:cNvPr>
            <p:cNvSpPr/>
            <p:nvPr/>
          </p:nvSpPr>
          <p:spPr bwMode="auto">
            <a:xfrm>
              <a:off x="6895560" y="3766956"/>
              <a:ext cx="19673" cy="12647"/>
            </a:xfrm>
            <a:custGeom>
              <a:avLst/>
              <a:gdLst>
                <a:gd name="T0" fmla="*/ 6 w 13"/>
                <a:gd name="T1" fmla="*/ 0 h 8"/>
                <a:gd name="T2" fmla="*/ 6 w 13"/>
                <a:gd name="T3" fmla="*/ 0 h 8"/>
                <a:gd name="T4" fmla="*/ 0 w 13"/>
                <a:gd name="T5" fmla="*/ 5 h 8"/>
                <a:gd name="T6" fmla="*/ 8 w 13"/>
                <a:gd name="T7" fmla="*/ 8 h 8"/>
                <a:gd name="T8" fmla="*/ 13 w 13"/>
                <a:gd name="T9" fmla="*/ 1 h 8"/>
                <a:gd name="T10" fmla="*/ 6 w 13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8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" y="6"/>
                    <a:pt x="5" y="7"/>
                    <a:pt x="8" y="8"/>
                  </a:cubicBezTo>
                  <a:cubicBezTo>
                    <a:pt x="9" y="6"/>
                    <a:pt x="11" y="3"/>
                    <a:pt x="13" y="1"/>
                  </a:cubicBezTo>
                  <a:cubicBezTo>
                    <a:pt x="10" y="1"/>
                    <a:pt x="8" y="0"/>
                    <a:pt x="6" y="0"/>
                  </a:cubicBezTo>
                </a:path>
              </a:pathLst>
            </a:custGeom>
            <a:solidFill>
              <a:srgbClr val="6A70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îs1iďê">
              <a:extLst>
                <a:ext uri="{FF2B5EF4-FFF2-40B4-BE49-F238E27FC236}">
                  <a16:creationId xmlns:a16="http://schemas.microsoft.com/office/drawing/2014/main" id="{48450C33-EB3E-441A-850F-F91489C6ED6A}"/>
                </a:ext>
              </a:extLst>
            </p:cNvPr>
            <p:cNvSpPr/>
            <p:nvPr/>
          </p:nvSpPr>
          <p:spPr bwMode="auto">
            <a:xfrm>
              <a:off x="6681970" y="3626436"/>
              <a:ext cx="222022" cy="147547"/>
            </a:xfrm>
            <a:custGeom>
              <a:avLst/>
              <a:gdLst>
                <a:gd name="T0" fmla="*/ 5 w 141"/>
                <a:gd name="T1" fmla="*/ 0 h 94"/>
                <a:gd name="T2" fmla="*/ 0 w 141"/>
                <a:gd name="T3" fmla="*/ 2 h 94"/>
                <a:gd name="T4" fmla="*/ 0 w 141"/>
                <a:gd name="T5" fmla="*/ 2 h 94"/>
                <a:gd name="T6" fmla="*/ 135 w 141"/>
                <a:gd name="T7" fmla="*/ 94 h 94"/>
                <a:gd name="T8" fmla="*/ 141 w 141"/>
                <a:gd name="T9" fmla="*/ 89 h 94"/>
                <a:gd name="T10" fmla="*/ 141 w 141"/>
                <a:gd name="T11" fmla="*/ 89 h 94"/>
                <a:gd name="T12" fmla="*/ 5 w 141"/>
                <a:gd name="T1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94">
                  <a:moveTo>
                    <a:pt x="5" y="0"/>
                  </a:moveTo>
                  <a:cubicBezTo>
                    <a:pt x="3" y="1"/>
                    <a:pt x="2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5" y="45"/>
                    <a:pt x="81" y="77"/>
                    <a:pt x="135" y="94"/>
                  </a:cubicBezTo>
                  <a:cubicBezTo>
                    <a:pt x="141" y="89"/>
                    <a:pt x="141" y="89"/>
                    <a:pt x="141" y="89"/>
                  </a:cubicBezTo>
                  <a:cubicBezTo>
                    <a:pt x="141" y="89"/>
                    <a:pt x="141" y="89"/>
                    <a:pt x="141" y="89"/>
                  </a:cubicBezTo>
                  <a:cubicBezTo>
                    <a:pt x="88" y="72"/>
                    <a:pt x="40" y="41"/>
                    <a:pt x="5" y="0"/>
                  </a:cubicBezTo>
                </a:path>
              </a:pathLst>
            </a:custGeom>
            <a:solidFill>
              <a:srgbClr val="4442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iṡľîḑe">
              <a:extLst>
                <a:ext uri="{FF2B5EF4-FFF2-40B4-BE49-F238E27FC236}">
                  <a16:creationId xmlns:a16="http://schemas.microsoft.com/office/drawing/2014/main" id="{D00F9AC8-283D-4948-B08A-C9F7703AFFD1}"/>
                </a:ext>
              </a:extLst>
            </p:cNvPr>
            <p:cNvSpPr/>
            <p:nvPr/>
          </p:nvSpPr>
          <p:spPr bwMode="auto">
            <a:xfrm>
              <a:off x="7068401" y="3781008"/>
              <a:ext cx="37941" cy="14052"/>
            </a:xfrm>
            <a:custGeom>
              <a:avLst/>
              <a:gdLst>
                <a:gd name="T0" fmla="*/ 23 w 24"/>
                <a:gd name="T1" fmla="*/ 0 h 9"/>
                <a:gd name="T2" fmla="*/ 0 w 24"/>
                <a:gd name="T3" fmla="*/ 2 h 9"/>
                <a:gd name="T4" fmla="*/ 7 w 24"/>
                <a:gd name="T5" fmla="*/ 9 h 9"/>
                <a:gd name="T6" fmla="*/ 24 w 24"/>
                <a:gd name="T7" fmla="*/ 7 h 9"/>
                <a:gd name="T8" fmla="*/ 23 w 2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9">
                  <a:moveTo>
                    <a:pt x="23" y="0"/>
                  </a:moveTo>
                  <a:cubicBezTo>
                    <a:pt x="15" y="1"/>
                    <a:pt x="8" y="2"/>
                    <a:pt x="0" y="2"/>
                  </a:cubicBezTo>
                  <a:cubicBezTo>
                    <a:pt x="2" y="4"/>
                    <a:pt x="4" y="7"/>
                    <a:pt x="7" y="9"/>
                  </a:cubicBezTo>
                  <a:cubicBezTo>
                    <a:pt x="12" y="8"/>
                    <a:pt x="18" y="8"/>
                    <a:pt x="24" y="7"/>
                  </a:cubicBezTo>
                  <a:cubicBezTo>
                    <a:pt x="24" y="4"/>
                    <a:pt x="23" y="2"/>
                    <a:pt x="23" y="0"/>
                  </a:cubicBezTo>
                </a:path>
              </a:pathLst>
            </a:custGeom>
            <a:solidFill>
              <a:srgbClr val="6A70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îṧ1iďé">
              <a:extLst>
                <a:ext uri="{FF2B5EF4-FFF2-40B4-BE49-F238E27FC236}">
                  <a16:creationId xmlns:a16="http://schemas.microsoft.com/office/drawing/2014/main" id="{7F3A88DC-E2AF-4465-ABC2-6C6580230171}"/>
                </a:ext>
              </a:extLst>
            </p:cNvPr>
            <p:cNvSpPr/>
            <p:nvPr/>
          </p:nvSpPr>
          <p:spPr bwMode="auto">
            <a:xfrm>
              <a:off x="7104936" y="3734636"/>
              <a:ext cx="137710" cy="57614"/>
            </a:xfrm>
            <a:custGeom>
              <a:avLst/>
              <a:gdLst>
                <a:gd name="T0" fmla="*/ 88 w 88"/>
                <a:gd name="T1" fmla="*/ 0 h 36"/>
                <a:gd name="T2" fmla="*/ 0 w 88"/>
                <a:gd name="T3" fmla="*/ 29 h 36"/>
                <a:gd name="T4" fmla="*/ 1 w 88"/>
                <a:gd name="T5" fmla="*/ 36 h 36"/>
                <a:gd name="T6" fmla="*/ 88 w 8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36">
                  <a:moveTo>
                    <a:pt x="88" y="0"/>
                  </a:moveTo>
                  <a:cubicBezTo>
                    <a:pt x="61" y="14"/>
                    <a:pt x="31" y="24"/>
                    <a:pt x="0" y="29"/>
                  </a:cubicBezTo>
                  <a:cubicBezTo>
                    <a:pt x="0" y="31"/>
                    <a:pt x="1" y="33"/>
                    <a:pt x="1" y="36"/>
                  </a:cubicBezTo>
                  <a:cubicBezTo>
                    <a:pt x="33" y="30"/>
                    <a:pt x="62" y="17"/>
                    <a:pt x="88" y="0"/>
                  </a:cubicBezTo>
                </a:path>
              </a:pathLst>
            </a:custGeom>
            <a:solidFill>
              <a:srgbClr val="9C63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is1ïďe">
              <a:extLst>
                <a:ext uri="{FF2B5EF4-FFF2-40B4-BE49-F238E27FC236}">
                  <a16:creationId xmlns:a16="http://schemas.microsoft.com/office/drawing/2014/main" id="{26D0400B-60D5-482F-BD03-1372CA0A5FE0}"/>
                </a:ext>
              </a:extLst>
            </p:cNvPr>
            <p:cNvSpPr/>
            <p:nvPr/>
          </p:nvSpPr>
          <p:spPr bwMode="auto">
            <a:xfrm>
              <a:off x="7005166" y="3783819"/>
              <a:ext cx="74476" cy="14052"/>
            </a:xfrm>
            <a:custGeom>
              <a:avLst/>
              <a:gdLst>
                <a:gd name="T0" fmla="*/ 40 w 47"/>
                <a:gd name="T1" fmla="*/ 0 h 9"/>
                <a:gd name="T2" fmla="*/ 20 w 47"/>
                <a:gd name="T3" fmla="*/ 1 h 9"/>
                <a:gd name="T4" fmla="*/ 0 w 47"/>
                <a:gd name="T5" fmla="*/ 0 h 9"/>
                <a:gd name="T6" fmla="*/ 5 w 47"/>
                <a:gd name="T7" fmla="*/ 8 h 9"/>
                <a:gd name="T8" fmla="*/ 20 w 47"/>
                <a:gd name="T9" fmla="*/ 9 h 9"/>
                <a:gd name="T10" fmla="*/ 47 w 47"/>
                <a:gd name="T11" fmla="*/ 7 h 9"/>
                <a:gd name="T12" fmla="*/ 40 w 47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">
                  <a:moveTo>
                    <a:pt x="40" y="0"/>
                  </a:moveTo>
                  <a:cubicBezTo>
                    <a:pt x="33" y="0"/>
                    <a:pt x="27" y="1"/>
                    <a:pt x="20" y="1"/>
                  </a:cubicBezTo>
                  <a:cubicBezTo>
                    <a:pt x="13" y="1"/>
                    <a:pt x="7" y="0"/>
                    <a:pt x="0" y="0"/>
                  </a:cubicBezTo>
                  <a:cubicBezTo>
                    <a:pt x="2" y="3"/>
                    <a:pt x="4" y="5"/>
                    <a:pt x="5" y="8"/>
                  </a:cubicBezTo>
                  <a:cubicBezTo>
                    <a:pt x="10" y="8"/>
                    <a:pt x="15" y="9"/>
                    <a:pt x="20" y="9"/>
                  </a:cubicBezTo>
                  <a:cubicBezTo>
                    <a:pt x="29" y="9"/>
                    <a:pt x="38" y="8"/>
                    <a:pt x="47" y="7"/>
                  </a:cubicBezTo>
                  <a:cubicBezTo>
                    <a:pt x="44" y="5"/>
                    <a:pt x="42" y="2"/>
                    <a:pt x="4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íṡľîḋe">
              <a:extLst>
                <a:ext uri="{FF2B5EF4-FFF2-40B4-BE49-F238E27FC236}">
                  <a16:creationId xmlns:a16="http://schemas.microsoft.com/office/drawing/2014/main" id="{2B94272B-861C-4EA4-8FB8-27D299716911}"/>
                </a:ext>
              </a:extLst>
            </p:cNvPr>
            <p:cNvSpPr/>
            <p:nvPr/>
          </p:nvSpPr>
          <p:spPr bwMode="auto">
            <a:xfrm>
              <a:off x="6908208" y="3768361"/>
              <a:ext cx="105391" cy="28104"/>
            </a:xfrm>
            <a:custGeom>
              <a:avLst/>
              <a:gdLst>
                <a:gd name="T0" fmla="*/ 5 w 67"/>
                <a:gd name="T1" fmla="*/ 0 h 18"/>
                <a:gd name="T2" fmla="*/ 0 w 67"/>
                <a:gd name="T3" fmla="*/ 7 h 18"/>
                <a:gd name="T4" fmla="*/ 67 w 67"/>
                <a:gd name="T5" fmla="*/ 18 h 18"/>
                <a:gd name="T6" fmla="*/ 62 w 67"/>
                <a:gd name="T7" fmla="*/ 10 h 18"/>
                <a:gd name="T8" fmla="*/ 5 w 6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18">
                  <a:moveTo>
                    <a:pt x="5" y="0"/>
                  </a:moveTo>
                  <a:cubicBezTo>
                    <a:pt x="3" y="2"/>
                    <a:pt x="1" y="5"/>
                    <a:pt x="0" y="7"/>
                  </a:cubicBezTo>
                  <a:cubicBezTo>
                    <a:pt x="21" y="13"/>
                    <a:pt x="44" y="17"/>
                    <a:pt x="67" y="18"/>
                  </a:cubicBezTo>
                  <a:cubicBezTo>
                    <a:pt x="66" y="15"/>
                    <a:pt x="64" y="13"/>
                    <a:pt x="62" y="10"/>
                  </a:cubicBezTo>
                  <a:cubicBezTo>
                    <a:pt x="42" y="9"/>
                    <a:pt x="23" y="5"/>
                    <a:pt x="5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îṩlïďé">
              <a:extLst>
                <a:ext uri="{FF2B5EF4-FFF2-40B4-BE49-F238E27FC236}">
                  <a16:creationId xmlns:a16="http://schemas.microsoft.com/office/drawing/2014/main" id="{E9DA8F33-6BDA-4467-AA96-9AD29CA01932}"/>
                </a:ext>
              </a:extLst>
            </p:cNvPr>
            <p:cNvSpPr/>
            <p:nvPr/>
          </p:nvSpPr>
          <p:spPr bwMode="auto">
            <a:xfrm>
              <a:off x="6576580" y="2867627"/>
              <a:ext cx="919003" cy="917598"/>
            </a:xfrm>
            <a:prstGeom prst="ellipse">
              <a:avLst/>
            </a:pr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ís1iḍé">
              <a:extLst>
                <a:ext uri="{FF2B5EF4-FFF2-40B4-BE49-F238E27FC236}">
                  <a16:creationId xmlns:a16="http://schemas.microsoft.com/office/drawing/2014/main" id="{475EA867-FD77-4CAD-8FF7-8F3F717CC413}"/>
                </a:ext>
              </a:extLst>
            </p:cNvPr>
            <p:cNvSpPr/>
            <p:nvPr/>
          </p:nvSpPr>
          <p:spPr bwMode="auto">
            <a:xfrm>
              <a:off x="6385472" y="2524757"/>
              <a:ext cx="1211285" cy="831880"/>
            </a:xfrm>
            <a:custGeom>
              <a:avLst/>
              <a:gdLst>
                <a:gd name="T0" fmla="*/ 388 w 769"/>
                <a:gd name="T1" fmla="*/ 380 h 529"/>
                <a:gd name="T2" fmla="*/ 475 w 769"/>
                <a:gd name="T3" fmla="*/ 449 h 529"/>
                <a:gd name="T4" fmla="*/ 626 w 769"/>
                <a:gd name="T5" fmla="*/ 456 h 529"/>
                <a:gd name="T6" fmla="*/ 711 w 769"/>
                <a:gd name="T7" fmla="*/ 447 h 529"/>
                <a:gd name="T8" fmla="*/ 724 w 769"/>
                <a:gd name="T9" fmla="*/ 449 h 529"/>
                <a:gd name="T10" fmla="*/ 735 w 769"/>
                <a:gd name="T11" fmla="*/ 435 h 529"/>
                <a:gd name="T12" fmla="*/ 702 w 769"/>
                <a:gd name="T13" fmla="*/ 124 h 529"/>
                <a:gd name="T14" fmla="*/ 651 w 769"/>
                <a:gd name="T15" fmla="*/ 60 h 529"/>
                <a:gd name="T16" fmla="*/ 593 w 769"/>
                <a:gd name="T17" fmla="*/ 30 h 529"/>
                <a:gd name="T18" fmla="*/ 477 w 769"/>
                <a:gd name="T19" fmla="*/ 2 h 529"/>
                <a:gd name="T20" fmla="*/ 456 w 769"/>
                <a:gd name="T21" fmla="*/ 1 h 529"/>
                <a:gd name="T22" fmla="*/ 429 w 769"/>
                <a:gd name="T23" fmla="*/ 12 h 529"/>
                <a:gd name="T24" fmla="*/ 310 w 769"/>
                <a:gd name="T25" fmla="*/ 45 h 529"/>
                <a:gd name="T26" fmla="*/ 269 w 769"/>
                <a:gd name="T27" fmla="*/ 45 h 529"/>
                <a:gd name="T28" fmla="*/ 147 w 769"/>
                <a:gd name="T29" fmla="*/ 70 h 529"/>
                <a:gd name="T30" fmla="*/ 74 w 769"/>
                <a:gd name="T31" fmla="*/ 255 h 529"/>
                <a:gd name="T32" fmla="*/ 2 w 769"/>
                <a:gd name="T33" fmla="*/ 366 h 529"/>
                <a:gd name="T34" fmla="*/ 4 w 769"/>
                <a:gd name="T35" fmla="*/ 406 h 529"/>
                <a:gd name="T36" fmla="*/ 156 w 769"/>
                <a:gd name="T37" fmla="*/ 528 h 529"/>
                <a:gd name="T38" fmla="*/ 187 w 769"/>
                <a:gd name="T39" fmla="*/ 522 h 529"/>
                <a:gd name="T40" fmla="*/ 204 w 769"/>
                <a:gd name="T41" fmla="*/ 506 h 529"/>
                <a:gd name="T42" fmla="*/ 388 w 769"/>
                <a:gd name="T43" fmla="*/ 38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9" h="529">
                  <a:moveTo>
                    <a:pt x="388" y="380"/>
                  </a:moveTo>
                  <a:cubicBezTo>
                    <a:pt x="423" y="393"/>
                    <a:pt x="443" y="429"/>
                    <a:pt x="475" y="449"/>
                  </a:cubicBezTo>
                  <a:cubicBezTo>
                    <a:pt x="519" y="477"/>
                    <a:pt x="576" y="470"/>
                    <a:pt x="626" y="456"/>
                  </a:cubicBezTo>
                  <a:cubicBezTo>
                    <a:pt x="654" y="448"/>
                    <a:pt x="683" y="439"/>
                    <a:pt x="711" y="447"/>
                  </a:cubicBezTo>
                  <a:cubicBezTo>
                    <a:pt x="715" y="449"/>
                    <a:pt x="719" y="450"/>
                    <a:pt x="724" y="449"/>
                  </a:cubicBezTo>
                  <a:cubicBezTo>
                    <a:pt x="730" y="447"/>
                    <a:pt x="733" y="441"/>
                    <a:pt x="735" y="435"/>
                  </a:cubicBezTo>
                  <a:cubicBezTo>
                    <a:pt x="769" y="333"/>
                    <a:pt x="754" y="218"/>
                    <a:pt x="702" y="124"/>
                  </a:cubicBezTo>
                  <a:cubicBezTo>
                    <a:pt x="689" y="100"/>
                    <a:pt x="673" y="76"/>
                    <a:pt x="651" y="60"/>
                  </a:cubicBezTo>
                  <a:cubicBezTo>
                    <a:pt x="634" y="46"/>
                    <a:pt x="613" y="38"/>
                    <a:pt x="593" y="30"/>
                  </a:cubicBezTo>
                  <a:cubicBezTo>
                    <a:pt x="555" y="17"/>
                    <a:pt x="517" y="7"/>
                    <a:pt x="477" y="2"/>
                  </a:cubicBezTo>
                  <a:cubicBezTo>
                    <a:pt x="470" y="0"/>
                    <a:pt x="463" y="0"/>
                    <a:pt x="456" y="1"/>
                  </a:cubicBezTo>
                  <a:cubicBezTo>
                    <a:pt x="447" y="3"/>
                    <a:pt x="438" y="8"/>
                    <a:pt x="429" y="12"/>
                  </a:cubicBezTo>
                  <a:cubicBezTo>
                    <a:pt x="393" y="32"/>
                    <a:pt x="352" y="43"/>
                    <a:pt x="310" y="45"/>
                  </a:cubicBezTo>
                  <a:cubicBezTo>
                    <a:pt x="297" y="45"/>
                    <a:pt x="283" y="45"/>
                    <a:pt x="269" y="45"/>
                  </a:cubicBezTo>
                  <a:cubicBezTo>
                    <a:pt x="225" y="44"/>
                    <a:pt x="180" y="42"/>
                    <a:pt x="147" y="70"/>
                  </a:cubicBezTo>
                  <a:cubicBezTo>
                    <a:pt x="95" y="113"/>
                    <a:pt x="108" y="197"/>
                    <a:pt x="74" y="255"/>
                  </a:cubicBezTo>
                  <a:cubicBezTo>
                    <a:pt x="52" y="294"/>
                    <a:pt x="9" y="322"/>
                    <a:pt x="2" y="366"/>
                  </a:cubicBezTo>
                  <a:cubicBezTo>
                    <a:pt x="0" y="380"/>
                    <a:pt x="1" y="393"/>
                    <a:pt x="4" y="406"/>
                  </a:cubicBezTo>
                  <a:cubicBezTo>
                    <a:pt x="21" y="474"/>
                    <a:pt x="86" y="527"/>
                    <a:pt x="156" y="528"/>
                  </a:cubicBezTo>
                  <a:cubicBezTo>
                    <a:pt x="167" y="529"/>
                    <a:pt x="178" y="526"/>
                    <a:pt x="187" y="522"/>
                  </a:cubicBezTo>
                  <a:cubicBezTo>
                    <a:pt x="193" y="517"/>
                    <a:pt x="199" y="512"/>
                    <a:pt x="204" y="506"/>
                  </a:cubicBezTo>
                  <a:cubicBezTo>
                    <a:pt x="249" y="452"/>
                    <a:pt x="302" y="348"/>
                    <a:pt x="388" y="380"/>
                  </a:cubicBezTo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ïṧḻiďe">
              <a:extLst>
                <a:ext uri="{FF2B5EF4-FFF2-40B4-BE49-F238E27FC236}">
                  <a16:creationId xmlns:a16="http://schemas.microsoft.com/office/drawing/2014/main" id="{17FC3F2C-AB04-46AE-BA08-E79BA7703764}"/>
                </a:ext>
              </a:extLst>
            </p:cNvPr>
            <p:cNvSpPr/>
            <p:nvPr/>
          </p:nvSpPr>
          <p:spPr bwMode="auto">
            <a:xfrm>
              <a:off x="7571463" y="3009552"/>
              <a:ext cx="0" cy="15458"/>
            </a:xfrm>
            <a:custGeom>
              <a:avLst/>
              <a:gdLst>
                <a:gd name="T0" fmla="*/ 0 h 10"/>
                <a:gd name="T1" fmla="*/ 10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cubicBezTo>
                    <a:pt x="0" y="3"/>
                    <a:pt x="0" y="6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6"/>
                    <a:pt x="0" y="3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îSlïḑè">
              <a:extLst>
                <a:ext uri="{FF2B5EF4-FFF2-40B4-BE49-F238E27FC236}">
                  <a16:creationId xmlns:a16="http://schemas.microsoft.com/office/drawing/2014/main" id="{95C5FAFF-5FD2-4900-AC3C-60E02C0F43CB}"/>
                </a:ext>
              </a:extLst>
            </p:cNvPr>
            <p:cNvSpPr/>
            <p:nvPr/>
          </p:nvSpPr>
          <p:spPr bwMode="auto">
            <a:xfrm>
              <a:off x="7565842" y="3025009"/>
              <a:ext cx="5621" cy="74476"/>
            </a:xfrm>
            <a:custGeom>
              <a:avLst/>
              <a:gdLst>
                <a:gd name="T0" fmla="*/ 3 w 3"/>
                <a:gd name="T1" fmla="*/ 0 h 47"/>
                <a:gd name="T2" fmla="*/ 3 w 3"/>
                <a:gd name="T3" fmla="*/ 0 h 47"/>
                <a:gd name="T4" fmla="*/ 0 w 3"/>
                <a:gd name="T5" fmla="*/ 47 h 47"/>
                <a:gd name="T6" fmla="*/ 3 w 3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7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16"/>
                    <a:pt x="2" y="31"/>
                    <a:pt x="0" y="47"/>
                  </a:cubicBezTo>
                  <a:cubicBezTo>
                    <a:pt x="2" y="31"/>
                    <a:pt x="3" y="16"/>
                    <a:pt x="3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išlïḑé">
              <a:extLst>
                <a:ext uri="{FF2B5EF4-FFF2-40B4-BE49-F238E27FC236}">
                  <a16:creationId xmlns:a16="http://schemas.microsoft.com/office/drawing/2014/main" id="{F7693BA8-0F62-450E-884A-22B9865127FC}"/>
                </a:ext>
              </a:extLst>
            </p:cNvPr>
            <p:cNvSpPr/>
            <p:nvPr/>
          </p:nvSpPr>
          <p:spPr bwMode="auto">
            <a:xfrm>
              <a:off x="6385472" y="3099485"/>
              <a:ext cx="32320" cy="129279"/>
            </a:xfrm>
            <a:custGeom>
              <a:avLst/>
              <a:gdLst>
                <a:gd name="T0" fmla="*/ 2 w 21"/>
                <a:gd name="T1" fmla="*/ 0 h 82"/>
                <a:gd name="T2" fmla="*/ 2 w 21"/>
                <a:gd name="T3" fmla="*/ 1 h 82"/>
                <a:gd name="T4" fmla="*/ 4 w 21"/>
                <a:gd name="T5" fmla="*/ 41 h 82"/>
                <a:gd name="T6" fmla="*/ 21 w 21"/>
                <a:gd name="T7" fmla="*/ 82 h 82"/>
                <a:gd name="T8" fmla="*/ 21 w 21"/>
                <a:gd name="T9" fmla="*/ 82 h 82"/>
                <a:gd name="T10" fmla="*/ 4 w 21"/>
                <a:gd name="T11" fmla="*/ 41 h 82"/>
                <a:gd name="T12" fmla="*/ 2 w 21"/>
                <a:gd name="T13" fmla="*/ 1 h 82"/>
                <a:gd name="T14" fmla="*/ 2 w 21"/>
                <a:gd name="T15" fmla="*/ 0 h 82"/>
                <a:gd name="T16" fmla="*/ 2 w 21"/>
                <a:gd name="T1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82">
                  <a:moveTo>
                    <a:pt x="2" y="0"/>
                  </a:moveTo>
                  <a:cubicBezTo>
                    <a:pt x="2" y="0"/>
                    <a:pt x="2" y="1"/>
                    <a:pt x="2" y="1"/>
                  </a:cubicBezTo>
                  <a:cubicBezTo>
                    <a:pt x="0" y="14"/>
                    <a:pt x="1" y="28"/>
                    <a:pt x="4" y="41"/>
                  </a:cubicBezTo>
                  <a:cubicBezTo>
                    <a:pt x="8" y="56"/>
                    <a:pt x="13" y="69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13" y="69"/>
                    <a:pt x="8" y="56"/>
                    <a:pt x="4" y="41"/>
                  </a:cubicBezTo>
                  <a:cubicBezTo>
                    <a:pt x="1" y="28"/>
                    <a:pt x="0" y="15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îṥ1íḓe">
              <a:extLst>
                <a:ext uri="{FF2B5EF4-FFF2-40B4-BE49-F238E27FC236}">
                  <a16:creationId xmlns:a16="http://schemas.microsoft.com/office/drawing/2014/main" id="{67B32760-8EF6-4F28-9610-FEA0DE93AD29}"/>
                </a:ext>
              </a:extLst>
            </p:cNvPr>
            <p:cNvSpPr/>
            <p:nvPr/>
          </p:nvSpPr>
          <p:spPr bwMode="auto">
            <a:xfrm>
              <a:off x="6417791" y="3228763"/>
              <a:ext cx="11242" cy="18268"/>
            </a:xfrm>
            <a:custGeom>
              <a:avLst/>
              <a:gdLst>
                <a:gd name="T0" fmla="*/ 0 w 7"/>
                <a:gd name="T1" fmla="*/ 0 h 12"/>
                <a:gd name="T2" fmla="*/ 0 w 7"/>
                <a:gd name="T3" fmla="*/ 0 h 12"/>
                <a:gd name="T4" fmla="*/ 7 w 7"/>
                <a:gd name="T5" fmla="*/ 12 h 12"/>
                <a:gd name="T6" fmla="*/ 0 w 7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4"/>
                    <a:pt x="5" y="8"/>
                    <a:pt x="7" y="12"/>
                  </a:cubicBezTo>
                  <a:cubicBezTo>
                    <a:pt x="5" y="8"/>
                    <a:pt x="2" y="4"/>
                    <a:pt x="0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ïšḻíḓê">
              <a:extLst>
                <a:ext uri="{FF2B5EF4-FFF2-40B4-BE49-F238E27FC236}">
                  <a16:creationId xmlns:a16="http://schemas.microsoft.com/office/drawing/2014/main" id="{C3EE25E7-2288-41A6-8BC2-416CC0E29C86}"/>
                </a:ext>
              </a:extLst>
            </p:cNvPr>
            <p:cNvSpPr/>
            <p:nvPr/>
          </p:nvSpPr>
          <p:spPr bwMode="auto">
            <a:xfrm>
              <a:off x="6385472" y="3006741"/>
              <a:ext cx="1185991" cy="348490"/>
            </a:xfrm>
            <a:custGeom>
              <a:avLst/>
              <a:gdLst>
                <a:gd name="T0" fmla="*/ 753 w 753"/>
                <a:gd name="T1" fmla="*/ 0 h 222"/>
                <a:gd name="T2" fmla="*/ 735 w 753"/>
                <a:gd name="T3" fmla="*/ 99 h 222"/>
                <a:gd name="T4" fmla="*/ 724 w 753"/>
                <a:gd name="T5" fmla="*/ 114 h 222"/>
                <a:gd name="T6" fmla="*/ 721 w 753"/>
                <a:gd name="T7" fmla="*/ 114 h 222"/>
                <a:gd name="T8" fmla="*/ 711 w 753"/>
                <a:gd name="T9" fmla="*/ 112 h 222"/>
                <a:gd name="T10" fmla="*/ 687 w 753"/>
                <a:gd name="T11" fmla="*/ 108 h 222"/>
                <a:gd name="T12" fmla="*/ 626 w 753"/>
                <a:gd name="T13" fmla="*/ 120 h 222"/>
                <a:gd name="T14" fmla="*/ 548 w 753"/>
                <a:gd name="T15" fmla="*/ 132 h 222"/>
                <a:gd name="T16" fmla="*/ 475 w 753"/>
                <a:gd name="T17" fmla="*/ 113 h 222"/>
                <a:gd name="T18" fmla="*/ 388 w 753"/>
                <a:gd name="T19" fmla="*/ 45 h 222"/>
                <a:gd name="T20" fmla="*/ 356 w 753"/>
                <a:gd name="T21" fmla="*/ 39 h 222"/>
                <a:gd name="T22" fmla="*/ 203 w 753"/>
                <a:gd name="T23" fmla="*/ 170 h 222"/>
                <a:gd name="T24" fmla="*/ 187 w 753"/>
                <a:gd name="T25" fmla="*/ 186 h 222"/>
                <a:gd name="T26" fmla="*/ 160 w 753"/>
                <a:gd name="T27" fmla="*/ 193 h 222"/>
                <a:gd name="T28" fmla="*/ 156 w 753"/>
                <a:gd name="T29" fmla="*/ 192 h 222"/>
                <a:gd name="T30" fmla="*/ 4 w 753"/>
                <a:gd name="T31" fmla="*/ 71 h 222"/>
                <a:gd name="T32" fmla="*/ 2 w 753"/>
                <a:gd name="T33" fmla="*/ 59 h 222"/>
                <a:gd name="T34" fmla="*/ 2 w 753"/>
                <a:gd name="T35" fmla="*/ 60 h 222"/>
                <a:gd name="T36" fmla="*/ 4 w 753"/>
                <a:gd name="T37" fmla="*/ 100 h 222"/>
                <a:gd name="T38" fmla="*/ 21 w 753"/>
                <a:gd name="T39" fmla="*/ 141 h 222"/>
                <a:gd name="T40" fmla="*/ 28 w 753"/>
                <a:gd name="T41" fmla="*/ 153 h 222"/>
                <a:gd name="T42" fmla="*/ 156 w 753"/>
                <a:gd name="T43" fmla="*/ 222 h 222"/>
                <a:gd name="T44" fmla="*/ 160 w 753"/>
                <a:gd name="T45" fmla="*/ 222 h 222"/>
                <a:gd name="T46" fmla="*/ 187 w 753"/>
                <a:gd name="T47" fmla="*/ 215 h 222"/>
                <a:gd name="T48" fmla="*/ 203 w 753"/>
                <a:gd name="T49" fmla="*/ 200 h 222"/>
                <a:gd name="T50" fmla="*/ 356 w 753"/>
                <a:gd name="T51" fmla="*/ 68 h 222"/>
                <a:gd name="T52" fmla="*/ 388 w 753"/>
                <a:gd name="T53" fmla="*/ 74 h 222"/>
                <a:gd name="T54" fmla="*/ 475 w 753"/>
                <a:gd name="T55" fmla="*/ 143 h 222"/>
                <a:gd name="T56" fmla="*/ 548 w 753"/>
                <a:gd name="T57" fmla="*/ 162 h 222"/>
                <a:gd name="T58" fmla="*/ 626 w 753"/>
                <a:gd name="T59" fmla="*/ 150 h 222"/>
                <a:gd name="T60" fmla="*/ 687 w 753"/>
                <a:gd name="T61" fmla="*/ 138 h 222"/>
                <a:gd name="T62" fmla="*/ 711 w 753"/>
                <a:gd name="T63" fmla="*/ 141 h 222"/>
                <a:gd name="T64" fmla="*/ 721 w 753"/>
                <a:gd name="T65" fmla="*/ 143 h 222"/>
                <a:gd name="T66" fmla="*/ 724 w 753"/>
                <a:gd name="T67" fmla="*/ 143 h 222"/>
                <a:gd name="T68" fmla="*/ 735 w 753"/>
                <a:gd name="T69" fmla="*/ 129 h 222"/>
                <a:gd name="T70" fmla="*/ 750 w 753"/>
                <a:gd name="T71" fmla="*/ 59 h 222"/>
                <a:gd name="T72" fmla="*/ 753 w 753"/>
                <a:gd name="T73" fmla="*/ 12 h 222"/>
                <a:gd name="T74" fmla="*/ 753 w 753"/>
                <a:gd name="T75" fmla="*/ 2 h 222"/>
                <a:gd name="T76" fmla="*/ 753 w 753"/>
                <a:gd name="T77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3" h="222">
                  <a:moveTo>
                    <a:pt x="753" y="0"/>
                  </a:moveTo>
                  <a:cubicBezTo>
                    <a:pt x="752" y="33"/>
                    <a:pt x="746" y="67"/>
                    <a:pt x="735" y="99"/>
                  </a:cubicBezTo>
                  <a:cubicBezTo>
                    <a:pt x="733" y="105"/>
                    <a:pt x="730" y="112"/>
                    <a:pt x="724" y="114"/>
                  </a:cubicBezTo>
                  <a:cubicBezTo>
                    <a:pt x="723" y="114"/>
                    <a:pt x="722" y="114"/>
                    <a:pt x="721" y="114"/>
                  </a:cubicBezTo>
                  <a:cubicBezTo>
                    <a:pt x="717" y="114"/>
                    <a:pt x="714" y="113"/>
                    <a:pt x="711" y="112"/>
                  </a:cubicBezTo>
                  <a:cubicBezTo>
                    <a:pt x="703" y="109"/>
                    <a:pt x="695" y="108"/>
                    <a:pt x="687" y="108"/>
                  </a:cubicBezTo>
                  <a:cubicBezTo>
                    <a:pt x="667" y="108"/>
                    <a:pt x="646" y="115"/>
                    <a:pt x="626" y="120"/>
                  </a:cubicBezTo>
                  <a:cubicBezTo>
                    <a:pt x="601" y="127"/>
                    <a:pt x="574" y="132"/>
                    <a:pt x="548" y="132"/>
                  </a:cubicBezTo>
                  <a:cubicBezTo>
                    <a:pt x="522" y="132"/>
                    <a:pt x="496" y="127"/>
                    <a:pt x="475" y="113"/>
                  </a:cubicBezTo>
                  <a:cubicBezTo>
                    <a:pt x="443" y="93"/>
                    <a:pt x="423" y="57"/>
                    <a:pt x="388" y="45"/>
                  </a:cubicBezTo>
                  <a:cubicBezTo>
                    <a:pt x="377" y="41"/>
                    <a:pt x="366" y="39"/>
                    <a:pt x="356" y="39"/>
                  </a:cubicBezTo>
                  <a:cubicBezTo>
                    <a:pt x="288" y="39"/>
                    <a:pt x="243" y="123"/>
                    <a:pt x="203" y="170"/>
                  </a:cubicBezTo>
                  <a:cubicBezTo>
                    <a:pt x="199" y="177"/>
                    <a:pt x="193" y="182"/>
                    <a:pt x="187" y="186"/>
                  </a:cubicBezTo>
                  <a:cubicBezTo>
                    <a:pt x="179" y="190"/>
                    <a:pt x="170" y="193"/>
                    <a:pt x="160" y="193"/>
                  </a:cubicBezTo>
                  <a:cubicBezTo>
                    <a:pt x="159" y="193"/>
                    <a:pt x="158" y="193"/>
                    <a:pt x="156" y="192"/>
                  </a:cubicBezTo>
                  <a:cubicBezTo>
                    <a:pt x="86" y="191"/>
                    <a:pt x="21" y="139"/>
                    <a:pt x="4" y="71"/>
                  </a:cubicBezTo>
                  <a:cubicBezTo>
                    <a:pt x="3" y="67"/>
                    <a:pt x="2" y="63"/>
                    <a:pt x="2" y="59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0" y="74"/>
                    <a:pt x="1" y="87"/>
                    <a:pt x="4" y="100"/>
                  </a:cubicBezTo>
                  <a:cubicBezTo>
                    <a:pt x="8" y="115"/>
                    <a:pt x="13" y="128"/>
                    <a:pt x="21" y="141"/>
                  </a:cubicBezTo>
                  <a:cubicBezTo>
                    <a:pt x="23" y="145"/>
                    <a:pt x="26" y="149"/>
                    <a:pt x="28" y="153"/>
                  </a:cubicBezTo>
                  <a:cubicBezTo>
                    <a:pt x="58" y="193"/>
                    <a:pt x="106" y="221"/>
                    <a:pt x="156" y="222"/>
                  </a:cubicBezTo>
                  <a:cubicBezTo>
                    <a:pt x="158" y="222"/>
                    <a:pt x="159" y="222"/>
                    <a:pt x="160" y="222"/>
                  </a:cubicBezTo>
                  <a:cubicBezTo>
                    <a:pt x="170" y="222"/>
                    <a:pt x="179" y="220"/>
                    <a:pt x="187" y="215"/>
                  </a:cubicBezTo>
                  <a:cubicBezTo>
                    <a:pt x="193" y="211"/>
                    <a:pt x="199" y="206"/>
                    <a:pt x="203" y="200"/>
                  </a:cubicBezTo>
                  <a:cubicBezTo>
                    <a:pt x="243" y="153"/>
                    <a:pt x="288" y="68"/>
                    <a:pt x="356" y="68"/>
                  </a:cubicBezTo>
                  <a:cubicBezTo>
                    <a:pt x="367" y="68"/>
                    <a:pt x="377" y="70"/>
                    <a:pt x="388" y="74"/>
                  </a:cubicBezTo>
                  <a:cubicBezTo>
                    <a:pt x="423" y="87"/>
                    <a:pt x="443" y="123"/>
                    <a:pt x="475" y="143"/>
                  </a:cubicBezTo>
                  <a:cubicBezTo>
                    <a:pt x="497" y="157"/>
                    <a:pt x="522" y="162"/>
                    <a:pt x="548" y="162"/>
                  </a:cubicBezTo>
                  <a:cubicBezTo>
                    <a:pt x="574" y="162"/>
                    <a:pt x="601" y="156"/>
                    <a:pt x="626" y="150"/>
                  </a:cubicBezTo>
                  <a:cubicBezTo>
                    <a:pt x="646" y="144"/>
                    <a:pt x="667" y="138"/>
                    <a:pt x="687" y="138"/>
                  </a:cubicBezTo>
                  <a:cubicBezTo>
                    <a:pt x="695" y="138"/>
                    <a:pt x="703" y="139"/>
                    <a:pt x="711" y="141"/>
                  </a:cubicBezTo>
                  <a:cubicBezTo>
                    <a:pt x="714" y="142"/>
                    <a:pt x="717" y="143"/>
                    <a:pt x="721" y="143"/>
                  </a:cubicBezTo>
                  <a:cubicBezTo>
                    <a:pt x="722" y="143"/>
                    <a:pt x="723" y="143"/>
                    <a:pt x="724" y="143"/>
                  </a:cubicBezTo>
                  <a:cubicBezTo>
                    <a:pt x="730" y="141"/>
                    <a:pt x="733" y="135"/>
                    <a:pt x="735" y="129"/>
                  </a:cubicBezTo>
                  <a:cubicBezTo>
                    <a:pt x="742" y="106"/>
                    <a:pt x="748" y="82"/>
                    <a:pt x="750" y="59"/>
                  </a:cubicBezTo>
                  <a:cubicBezTo>
                    <a:pt x="752" y="43"/>
                    <a:pt x="753" y="28"/>
                    <a:pt x="753" y="12"/>
                  </a:cubicBezTo>
                  <a:cubicBezTo>
                    <a:pt x="753" y="8"/>
                    <a:pt x="753" y="5"/>
                    <a:pt x="753" y="2"/>
                  </a:cubicBezTo>
                  <a:cubicBezTo>
                    <a:pt x="753" y="1"/>
                    <a:pt x="753" y="0"/>
                    <a:pt x="753" y="0"/>
                  </a:cubicBezTo>
                </a:path>
              </a:pathLst>
            </a:custGeom>
            <a:solidFill>
              <a:srgbClr val="3D3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889743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0ce396b1-13d0-41fe-bb34-ddfd460a4f6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54ECC3B-9B79-4E41-990A-3B834A4C6A3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7686675" y="4245451"/>
            <a:ext cx="5080474" cy="2736373"/>
            <a:chOff x="2426337" y="1452498"/>
            <a:chExt cx="7339327" cy="3953005"/>
          </a:xfrm>
        </p:grpSpPr>
        <p:sp>
          <p:nvSpPr>
            <p:cNvPr id="13" name="iṡḷíďe">
              <a:extLst>
                <a:ext uri="{FF2B5EF4-FFF2-40B4-BE49-F238E27FC236}">
                  <a16:creationId xmlns:a16="http://schemas.microsoft.com/office/drawing/2014/main" id="{88B71ECF-EE4D-4DE9-836A-23AC4ED3B0CC}"/>
                </a:ext>
              </a:extLst>
            </p:cNvPr>
            <p:cNvSpPr/>
            <p:nvPr/>
          </p:nvSpPr>
          <p:spPr bwMode="auto">
            <a:xfrm>
              <a:off x="2426337" y="1452498"/>
              <a:ext cx="7339327" cy="3953005"/>
            </a:xfrm>
            <a:custGeom>
              <a:avLst/>
              <a:gdLst>
                <a:gd name="T0" fmla="*/ 4576 w 4577"/>
                <a:gd name="T1" fmla="*/ 1585 h 2468"/>
                <a:gd name="T2" fmla="*/ 4549 w 4577"/>
                <a:gd name="T3" fmla="*/ 1783 h 2468"/>
                <a:gd name="T4" fmla="*/ 4472 w 4577"/>
                <a:gd name="T5" fmla="*/ 1960 h 2468"/>
                <a:gd name="T6" fmla="*/ 4140 w 4577"/>
                <a:gd name="T7" fmla="*/ 2416 h 2468"/>
                <a:gd name="T8" fmla="*/ 3881 w 4577"/>
                <a:gd name="T9" fmla="*/ 2467 h 2468"/>
                <a:gd name="T10" fmla="*/ 869 w 4577"/>
                <a:gd name="T11" fmla="*/ 2467 h 2468"/>
                <a:gd name="T12" fmla="*/ 436 w 4577"/>
                <a:gd name="T13" fmla="*/ 2350 h 2468"/>
                <a:gd name="T14" fmla="*/ 337 w 4577"/>
                <a:gd name="T15" fmla="*/ 2278 h 2468"/>
                <a:gd name="T16" fmla="*/ 117 w 4577"/>
                <a:gd name="T17" fmla="*/ 1821 h 2468"/>
                <a:gd name="T18" fmla="*/ 0 w 4577"/>
                <a:gd name="T19" fmla="*/ 1427 h 2468"/>
                <a:gd name="T20" fmla="*/ 422 w 4577"/>
                <a:gd name="T21" fmla="*/ 769 h 2468"/>
                <a:gd name="T22" fmla="*/ 524 w 4577"/>
                <a:gd name="T23" fmla="*/ 733 h 2468"/>
                <a:gd name="T24" fmla="*/ 562 w 4577"/>
                <a:gd name="T25" fmla="*/ 724 h 2468"/>
                <a:gd name="T26" fmla="*/ 664 w 4577"/>
                <a:gd name="T27" fmla="*/ 710 h 2468"/>
                <a:gd name="T28" fmla="*/ 701 w 4577"/>
                <a:gd name="T29" fmla="*/ 709 h 2468"/>
                <a:gd name="T30" fmla="*/ 708 w 4577"/>
                <a:gd name="T31" fmla="*/ 709 h 2468"/>
                <a:gd name="T32" fmla="*/ 749 w 4577"/>
                <a:gd name="T33" fmla="*/ 710 h 2468"/>
                <a:gd name="T34" fmla="*/ 754 w 4577"/>
                <a:gd name="T35" fmla="*/ 702 h 2468"/>
                <a:gd name="T36" fmla="*/ 771 w 4577"/>
                <a:gd name="T37" fmla="*/ 675 h 2468"/>
                <a:gd name="T38" fmla="*/ 804 w 4577"/>
                <a:gd name="T39" fmla="*/ 627 h 2468"/>
                <a:gd name="T40" fmla="*/ 841 w 4577"/>
                <a:gd name="T41" fmla="*/ 577 h 2468"/>
                <a:gd name="T42" fmla="*/ 844 w 4577"/>
                <a:gd name="T43" fmla="*/ 573 h 2468"/>
                <a:gd name="T44" fmla="*/ 867 w 4577"/>
                <a:gd name="T45" fmla="*/ 546 h 2468"/>
                <a:gd name="T46" fmla="*/ 943 w 4577"/>
                <a:gd name="T47" fmla="*/ 465 h 2468"/>
                <a:gd name="T48" fmla="*/ 2191 w 4577"/>
                <a:gd name="T49" fmla="*/ 0 h 2468"/>
                <a:gd name="T50" fmla="*/ 3224 w 4577"/>
                <a:gd name="T51" fmla="*/ 292 h 2468"/>
                <a:gd name="T52" fmla="*/ 3568 w 4577"/>
                <a:gd name="T53" fmla="*/ 202 h 2468"/>
                <a:gd name="T54" fmla="*/ 4276 w 4577"/>
                <a:gd name="T55" fmla="*/ 920 h 2468"/>
                <a:gd name="T56" fmla="*/ 4272 w 4577"/>
                <a:gd name="T57" fmla="*/ 995 h 2468"/>
                <a:gd name="T58" fmla="*/ 4576 w 4577"/>
                <a:gd name="T59" fmla="*/ 1585 h 2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77" h="2468">
                  <a:moveTo>
                    <a:pt x="4576" y="1585"/>
                  </a:moveTo>
                  <a:cubicBezTo>
                    <a:pt x="4576" y="1652"/>
                    <a:pt x="4567" y="1718"/>
                    <a:pt x="4549" y="1783"/>
                  </a:cubicBezTo>
                  <a:cubicBezTo>
                    <a:pt x="4531" y="1845"/>
                    <a:pt x="4505" y="1905"/>
                    <a:pt x="4472" y="1960"/>
                  </a:cubicBezTo>
                  <a:cubicBezTo>
                    <a:pt x="4472" y="2160"/>
                    <a:pt x="4336" y="2334"/>
                    <a:pt x="4140" y="2416"/>
                  </a:cubicBezTo>
                  <a:cubicBezTo>
                    <a:pt x="4058" y="2450"/>
                    <a:pt x="3970" y="2468"/>
                    <a:pt x="3881" y="2467"/>
                  </a:cubicBezTo>
                  <a:cubicBezTo>
                    <a:pt x="869" y="2467"/>
                    <a:pt x="869" y="2467"/>
                    <a:pt x="869" y="2467"/>
                  </a:cubicBezTo>
                  <a:cubicBezTo>
                    <a:pt x="708" y="2467"/>
                    <a:pt x="559" y="2424"/>
                    <a:pt x="436" y="2350"/>
                  </a:cubicBezTo>
                  <a:cubicBezTo>
                    <a:pt x="401" y="2329"/>
                    <a:pt x="368" y="2305"/>
                    <a:pt x="337" y="2278"/>
                  </a:cubicBezTo>
                  <a:cubicBezTo>
                    <a:pt x="201" y="2161"/>
                    <a:pt x="117" y="2000"/>
                    <a:pt x="117" y="1821"/>
                  </a:cubicBezTo>
                  <a:cubicBezTo>
                    <a:pt x="40" y="1704"/>
                    <a:pt x="0" y="1567"/>
                    <a:pt x="0" y="1427"/>
                  </a:cubicBezTo>
                  <a:cubicBezTo>
                    <a:pt x="0" y="1133"/>
                    <a:pt x="174" y="881"/>
                    <a:pt x="422" y="769"/>
                  </a:cubicBezTo>
                  <a:cubicBezTo>
                    <a:pt x="455" y="755"/>
                    <a:pt x="490" y="742"/>
                    <a:pt x="524" y="733"/>
                  </a:cubicBezTo>
                  <a:cubicBezTo>
                    <a:pt x="537" y="730"/>
                    <a:pt x="549" y="727"/>
                    <a:pt x="562" y="724"/>
                  </a:cubicBezTo>
                  <a:cubicBezTo>
                    <a:pt x="596" y="717"/>
                    <a:pt x="630" y="712"/>
                    <a:pt x="664" y="710"/>
                  </a:cubicBezTo>
                  <a:cubicBezTo>
                    <a:pt x="676" y="709"/>
                    <a:pt x="689" y="709"/>
                    <a:pt x="701" y="709"/>
                  </a:cubicBezTo>
                  <a:cubicBezTo>
                    <a:pt x="708" y="709"/>
                    <a:pt x="708" y="709"/>
                    <a:pt x="708" y="709"/>
                  </a:cubicBezTo>
                  <a:cubicBezTo>
                    <a:pt x="722" y="709"/>
                    <a:pt x="736" y="709"/>
                    <a:pt x="749" y="710"/>
                  </a:cubicBezTo>
                  <a:cubicBezTo>
                    <a:pt x="754" y="702"/>
                    <a:pt x="754" y="702"/>
                    <a:pt x="754" y="702"/>
                  </a:cubicBezTo>
                  <a:cubicBezTo>
                    <a:pt x="759" y="693"/>
                    <a:pt x="765" y="684"/>
                    <a:pt x="771" y="675"/>
                  </a:cubicBezTo>
                  <a:cubicBezTo>
                    <a:pt x="781" y="659"/>
                    <a:pt x="792" y="643"/>
                    <a:pt x="804" y="627"/>
                  </a:cubicBezTo>
                  <a:cubicBezTo>
                    <a:pt x="815" y="610"/>
                    <a:pt x="828" y="593"/>
                    <a:pt x="841" y="577"/>
                  </a:cubicBezTo>
                  <a:cubicBezTo>
                    <a:pt x="844" y="573"/>
                    <a:pt x="844" y="573"/>
                    <a:pt x="844" y="573"/>
                  </a:cubicBezTo>
                  <a:cubicBezTo>
                    <a:pt x="852" y="564"/>
                    <a:pt x="859" y="555"/>
                    <a:pt x="867" y="546"/>
                  </a:cubicBezTo>
                  <a:cubicBezTo>
                    <a:pt x="891" y="518"/>
                    <a:pt x="916" y="491"/>
                    <a:pt x="943" y="465"/>
                  </a:cubicBezTo>
                  <a:cubicBezTo>
                    <a:pt x="1231" y="182"/>
                    <a:pt x="1683" y="0"/>
                    <a:pt x="2191" y="0"/>
                  </a:cubicBezTo>
                  <a:cubicBezTo>
                    <a:pt x="2586" y="0"/>
                    <a:pt x="2948" y="110"/>
                    <a:pt x="3224" y="292"/>
                  </a:cubicBezTo>
                  <a:cubicBezTo>
                    <a:pt x="3329" y="233"/>
                    <a:pt x="3448" y="202"/>
                    <a:pt x="3568" y="202"/>
                  </a:cubicBezTo>
                  <a:cubicBezTo>
                    <a:pt x="3959" y="202"/>
                    <a:pt x="4276" y="523"/>
                    <a:pt x="4276" y="920"/>
                  </a:cubicBezTo>
                  <a:cubicBezTo>
                    <a:pt x="4276" y="945"/>
                    <a:pt x="4275" y="970"/>
                    <a:pt x="4272" y="995"/>
                  </a:cubicBezTo>
                  <a:cubicBezTo>
                    <a:pt x="4463" y="1130"/>
                    <a:pt x="4577" y="1350"/>
                    <a:pt x="4576" y="1585"/>
                  </a:cubicBezTo>
                  <a:close/>
                </a:path>
              </a:pathLst>
            </a:custGeom>
            <a:solidFill>
              <a:srgbClr val="4285F4">
                <a:alpha val="8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ŝľïdê">
              <a:extLst>
                <a:ext uri="{FF2B5EF4-FFF2-40B4-BE49-F238E27FC236}">
                  <a16:creationId xmlns:a16="http://schemas.microsoft.com/office/drawing/2014/main" id="{65D39E9D-695C-416A-B243-3AFBEBD87468}"/>
                </a:ext>
              </a:extLst>
            </p:cNvPr>
            <p:cNvSpPr/>
            <p:nvPr/>
          </p:nvSpPr>
          <p:spPr bwMode="auto">
            <a:xfrm>
              <a:off x="3804115" y="2242311"/>
              <a:ext cx="119443" cy="129279"/>
            </a:xfrm>
            <a:custGeom>
              <a:avLst/>
              <a:gdLst>
                <a:gd name="T0" fmla="*/ 76 w 76"/>
                <a:gd name="T1" fmla="*/ 0 h 82"/>
                <a:gd name="T2" fmla="*/ 0 w 76"/>
                <a:gd name="T3" fmla="*/ 82 h 82"/>
                <a:gd name="T4" fmla="*/ 76 w 76"/>
                <a:gd name="T5" fmla="*/ 82 h 82"/>
                <a:gd name="T6" fmla="*/ 76 w 76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82">
                  <a:moveTo>
                    <a:pt x="76" y="0"/>
                  </a:moveTo>
                  <a:cubicBezTo>
                    <a:pt x="49" y="27"/>
                    <a:pt x="23" y="54"/>
                    <a:pt x="0" y="82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îṧḷîde">
              <a:extLst>
                <a:ext uri="{FF2B5EF4-FFF2-40B4-BE49-F238E27FC236}">
                  <a16:creationId xmlns:a16="http://schemas.microsoft.com/office/drawing/2014/main" id="{9FC81239-4BBA-4FE9-9A61-A96F4CFA4A41}"/>
                </a:ext>
              </a:extLst>
            </p:cNvPr>
            <p:cNvSpPr/>
            <p:nvPr/>
          </p:nvSpPr>
          <p:spPr bwMode="auto">
            <a:xfrm>
              <a:off x="3981171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Sľïďè">
              <a:extLst>
                <a:ext uri="{FF2B5EF4-FFF2-40B4-BE49-F238E27FC236}">
                  <a16:creationId xmlns:a16="http://schemas.microsoft.com/office/drawing/2014/main" id="{1832C7DF-FB72-4C4F-9EC1-6043C2C27D93}"/>
                </a:ext>
              </a:extLst>
            </p:cNvPr>
            <p:cNvSpPr/>
            <p:nvPr/>
          </p:nvSpPr>
          <p:spPr bwMode="auto">
            <a:xfrm>
              <a:off x="3981171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ṩ1îḋè">
              <a:extLst>
                <a:ext uri="{FF2B5EF4-FFF2-40B4-BE49-F238E27FC236}">
                  <a16:creationId xmlns:a16="http://schemas.microsoft.com/office/drawing/2014/main" id="{36061EE0-0E88-421C-B58E-FB7E2FE11D0C}"/>
                </a:ext>
              </a:extLst>
            </p:cNvPr>
            <p:cNvSpPr/>
            <p:nvPr/>
          </p:nvSpPr>
          <p:spPr bwMode="auto">
            <a:xfrm>
              <a:off x="4201787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ïṥḷïďê">
              <a:extLst>
                <a:ext uri="{FF2B5EF4-FFF2-40B4-BE49-F238E27FC236}">
                  <a16:creationId xmlns:a16="http://schemas.microsoft.com/office/drawing/2014/main" id="{C88217E5-0D68-4C1B-B337-A3A58EEF5D6B}"/>
                </a:ext>
              </a:extLst>
            </p:cNvPr>
            <p:cNvSpPr/>
            <p:nvPr/>
          </p:nvSpPr>
          <p:spPr bwMode="auto">
            <a:xfrm>
              <a:off x="4201787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ṩlîḋe">
              <a:extLst>
                <a:ext uri="{FF2B5EF4-FFF2-40B4-BE49-F238E27FC236}">
                  <a16:creationId xmlns:a16="http://schemas.microsoft.com/office/drawing/2014/main" id="{4F5C6A65-0A94-4D83-BFE7-0F03AB6F7F6F}"/>
                </a:ext>
              </a:extLst>
            </p:cNvPr>
            <p:cNvSpPr/>
            <p:nvPr/>
          </p:nvSpPr>
          <p:spPr bwMode="auto">
            <a:xfrm>
              <a:off x="4420999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şḻïḍê">
              <a:extLst>
                <a:ext uri="{FF2B5EF4-FFF2-40B4-BE49-F238E27FC236}">
                  <a16:creationId xmlns:a16="http://schemas.microsoft.com/office/drawing/2014/main" id="{BADE6256-B0A5-473A-A49C-3C13F56D4511}"/>
                </a:ext>
              </a:extLst>
            </p:cNvPr>
            <p:cNvSpPr/>
            <p:nvPr/>
          </p:nvSpPr>
          <p:spPr bwMode="auto">
            <a:xfrm>
              <a:off x="4420999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îśḻíḋè">
              <a:extLst>
                <a:ext uri="{FF2B5EF4-FFF2-40B4-BE49-F238E27FC236}">
                  <a16:creationId xmlns:a16="http://schemas.microsoft.com/office/drawing/2014/main" id="{F2DBB617-EFB9-407B-B193-3FEB208D2E26}"/>
                </a:ext>
              </a:extLst>
            </p:cNvPr>
            <p:cNvSpPr/>
            <p:nvPr/>
          </p:nvSpPr>
          <p:spPr bwMode="auto">
            <a:xfrm>
              <a:off x="4640211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î$ľíḋè">
              <a:extLst>
                <a:ext uri="{FF2B5EF4-FFF2-40B4-BE49-F238E27FC236}">
                  <a16:creationId xmlns:a16="http://schemas.microsoft.com/office/drawing/2014/main" id="{B79A2B0C-77BD-42A7-BB18-11EF76557BC2}"/>
                </a:ext>
              </a:extLst>
            </p:cNvPr>
            <p:cNvSpPr/>
            <p:nvPr/>
          </p:nvSpPr>
          <p:spPr bwMode="auto">
            <a:xfrm>
              <a:off x="4640211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$ľidé">
              <a:extLst>
                <a:ext uri="{FF2B5EF4-FFF2-40B4-BE49-F238E27FC236}">
                  <a16:creationId xmlns:a16="http://schemas.microsoft.com/office/drawing/2014/main" id="{A2BFB098-5C4B-4C04-BEF3-B74DEA19B86C}"/>
                </a:ext>
              </a:extLst>
            </p:cNvPr>
            <p:cNvSpPr/>
            <p:nvPr/>
          </p:nvSpPr>
          <p:spPr bwMode="auto">
            <a:xfrm>
              <a:off x="4860828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şḻïḓé">
              <a:extLst>
                <a:ext uri="{FF2B5EF4-FFF2-40B4-BE49-F238E27FC236}">
                  <a16:creationId xmlns:a16="http://schemas.microsoft.com/office/drawing/2014/main" id="{56BF03BF-1297-4362-9C8D-BB72297924AB}"/>
                </a:ext>
              </a:extLst>
            </p:cNvPr>
            <p:cNvSpPr/>
            <p:nvPr/>
          </p:nvSpPr>
          <p:spPr bwMode="auto">
            <a:xfrm>
              <a:off x="4860828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šḷíḍe">
              <a:extLst>
                <a:ext uri="{FF2B5EF4-FFF2-40B4-BE49-F238E27FC236}">
                  <a16:creationId xmlns:a16="http://schemas.microsoft.com/office/drawing/2014/main" id="{FA0C5BFD-251D-4420-B9BD-922C53DD30D5}"/>
                </a:ext>
              </a:extLst>
            </p:cNvPr>
            <p:cNvSpPr/>
            <p:nvPr/>
          </p:nvSpPr>
          <p:spPr bwMode="auto">
            <a:xfrm>
              <a:off x="5080039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śḻidê">
              <a:extLst>
                <a:ext uri="{FF2B5EF4-FFF2-40B4-BE49-F238E27FC236}">
                  <a16:creationId xmlns:a16="http://schemas.microsoft.com/office/drawing/2014/main" id="{DF714BD4-7F7A-4811-BAEF-6F9229247517}"/>
                </a:ext>
              </a:extLst>
            </p:cNvPr>
            <p:cNvSpPr/>
            <p:nvPr/>
          </p:nvSpPr>
          <p:spPr bwMode="auto">
            <a:xfrm>
              <a:off x="5299251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ṥlíḋé">
              <a:extLst>
                <a:ext uri="{FF2B5EF4-FFF2-40B4-BE49-F238E27FC236}">
                  <a16:creationId xmlns:a16="http://schemas.microsoft.com/office/drawing/2014/main" id="{010AA42D-43D1-4348-8453-D4BEAC6C23EF}"/>
                </a:ext>
              </a:extLst>
            </p:cNvPr>
            <p:cNvSpPr/>
            <p:nvPr/>
          </p:nvSpPr>
          <p:spPr bwMode="auto">
            <a:xfrm>
              <a:off x="5299251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ślîḓe">
              <a:extLst>
                <a:ext uri="{FF2B5EF4-FFF2-40B4-BE49-F238E27FC236}">
                  <a16:creationId xmlns:a16="http://schemas.microsoft.com/office/drawing/2014/main" id="{A82BA4EF-9C84-4940-B016-C99D0CAF8C14}"/>
                </a:ext>
              </a:extLst>
            </p:cNvPr>
            <p:cNvSpPr/>
            <p:nvPr/>
          </p:nvSpPr>
          <p:spPr bwMode="auto">
            <a:xfrm>
              <a:off x="5518463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îṩḻíḑé">
              <a:extLst>
                <a:ext uri="{FF2B5EF4-FFF2-40B4-BE49-F238E27FC236}">
                  <a16:creationId xmlns:a16="http://schemas.microsoft.com/office/drawing/2014/main" id="{1A075B30-A7A2-4E6F-B1B8-0F1C2B289A48}"/>
                </a:ext>
              </a:extLst>
            </p:cNvPr>
            <p:cNvSpPr/>
            <p:nvPr/>
          </p:nvSpPr>
          <p:spPr bwMode="auto">
            <a:xfrm>
              <a:off x="5518463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ṧļíḑè">
              <a:extLst>
                <a:ext uri="{FF2B5EF4-FFF2-40B4-BE49-F238E27FC236}">
                  <a16:creationId xmlns:a16="http://schemas.microsoft.com/office/drawing/2014/main" id="{4B24A0E6-471C-4658-9858-D656CF997699}"/>
                </a:ext>
              </a:extLst>
            </p:cNvPr>
            <p:cNvSpPr/>
            <p:nvPr/>
          </p:nvSpPr>
          <p:spPr bwMode="auto">
            <a:xfrm>
              <a:off x="5739079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śḷídê">
              <a:extLst>
                <a:ext uri="{FF2B5EF4-FFF2-40B4-BE49-F238E27FC236}">
                  <a16:creationId xmlns:a16="http://schemas.microsoft.com/office/drawing/2014/main" id="{BE7DD541-5C48-433A-A92A-67EC11ADDD03}"/>
                </a:ext>
              </a:extLst>
            </p:cNvPr>
            <p:cNvSpPr/>
            <p:nvPr/>
          </p:nvSpPr>
          <p:spPr bwMode="auto">
            <a:xfrm>
              <a:off x="5739079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š1îḓé">
              <a:extLst>
                <a:ext uri="{FF2B5EF4-FFF2-40B4-BE49-F238E27FC236}">
                  <a16:creationId xmlns:a16="http://schemas.microsoft.com/office/drawing/2014/main" id="{E722EB0D-6201-4B1F-8ED4-B963F1538F71}"/>
                </a:ext>
              </a:extLst>
            </p:cNvPr>
            <p:cNvSpPr/>
            <p:nvPr/>
          </p:nvSpPr>
          <p:spPr bwMode="auto">
            <a:xfrm>
              <a:off x="5958291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şḷiḋè">
              <a:extLst>
                <a:ext uri="{FF2B5EF4-FFF2-40B4-BE49-F238E27FC236}">
                  <a16:creationId xmlns:a16="http://schemas.microsoft.com/office/drawing/2014/main" id="{6A61C062-407D-4848-98D2-9A1B78E96942}"/>
                </a:ext>
              </a:extLst>
            </p:cNvPr>
            <p:cNvSpPr/>
            <p:nvPr/>
          </p:nvSpPr>
          <p:spPr bwMode="auto">
            <a:xfrm>
              <a:off x="6178908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slîḓê">
              <a:extLst>
                <a:ext uri="{FF2B5EF4-FFF2-40B4-BE49-F238E27FC236}">
                  <a16:creationId xmlns:a16="http://schemas.microsoft.com/office/drawing/2014/main" id="{96D93253-A45C-4C42-838C-B28063DFE83F}"/>
                </a:ext>
              </a:extLst>
            </p:cNvPr>
            <p:cNvSpPr/>
            <p:nvPr/>
          </p:nvSpPr>
          <p:spPr bwMode="auto">
            <a:xfrm>
              <a:off x="6178908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isḷídè">
              <a:extLst>
                <a:ext uri="{FF2B5EF4-FFF2-40B4-BE49-F238E27FC236}">
                  <a16:creationId xmlns:a16="http://schemas.microsoft.com/office/drawing/2014/main" id="{7BF019B5-8002-4628-8984-D1EC97996100}"/>
                </a:ext>
              </a:extLst>
            </p:cNvPr>
            <p:cNvSpPr/>
            <p:nvPr/>
          </p:nvSpPr>
          <p:spPr bwMode="auto">
            <a:xfrm>
              <a:off x="6398120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Sḻïḑê">
              <a:extLst>
                <a:ext uri="{FF2B5EF4-FFF2-40B4-BE49-F238E27FC236}">
                  <a16:creationId xmlns:a16="http://schemas.microsoft.com/office/drawing/2014/main" id="{77C413AB-C0D9-474E-A8CD-DA8D69C4B1D2}"/>
                </a:ext>
              </a:extLst>
            </p:cNvPr>
            <p:cNvSpPr/>
            <p:nvPr/>
          </p:nvSpPr>
          <p:spPr bwMode="auto">
            <a:xfrm>
              <a:off x="6398120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sliḋê">
              <a:extLst>
                <a:ext uri="{FF2B5EF4-FFF2-40B4-BE49-F238E27FC236}">
                  <a16:creationId xmlns:a16="http://schemas.microsoft.com/office/drawing/2014/main" id="{5D0A96A8-AFFF-46B2-BC67-45DF7DC81804}"/>
                </a:ext>
              </a:extLst>
            </p:cNvPr>
            <p:cNvSpPr/>
            <p:nvPr/>
          </p:nvSpPr>
          <p:spPr bwMode="auto">
            <a:xfrm>
              <a:off x="6618736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Sḷídé">
              <a:extLst>
                <a:ext uri="{FF2B5EF4-FFF2-40B4-BE49-F238E27FC236}">
                  <a16:creationId xmlns:a16="http://schemas.microsoft.com/office/drawing/2014/main" id="{D4739EE7-B4C9-424C-867D-CD69D28D5434}"/>
                </a:ext>
              </a:extLst>
            </p:cNvPr>
            <p:cNvSpPr/>
            <p:nvPr/>
          </p:nvSpPr>
          <p:spPr bwMode="auto">
            <a:xfrm>
              <a:off x="6618736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šľiḓè">
              <a:extLst>
                <a:ext uri="{FF2B5EF4-FFF2-40B4-BE49-F238E27FC236}">
                  <a16:creationId xmlns:a16="http://schemas.microsoft.com/office/drawing/2014/main" id="{62874971-FBAC-4630-A32A-880C71EAD46D}"/>
                </a:ext>
              </a:extLst>
            </p:cNvPr>
            <p:cNvSpPr/>
            <p:nvPr/>
          </p:nvSpPr>
          <p:spPr bwMode="auto">
            <a:xfrm>
              <a:off x="6836543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sļïḋê">
              <a:extLst>
                <a:ext uri="{FF2B5EF4-FFF2-40B4-BE49-F238E27FC236}">
                  <a16:creationId xmlns:a16="http://schemas.microsoft.com/office/drawing/2014/main" id="{1DF76A29-B7B6-44FD-A9C8-44A95C9C05AD}"/>
                </a:ext>
              </a:extLst>
            </p:cNvPr>
            <p:cNvSpPr/>
            <p:nvPr/>
          </p:nvSpPr>
          <p:spPr bwMode="auto">
            <a:xfrm>
              <a:off x="6836543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iSḻîḋé">
              <a:extLst>
                <a:ext uri="{FF2B5EF4-FFF2-40B4-BE49-F238E27FC236}">
                  <a16:creationId xmlns:a16="http://schemas.microsoft.com/office/drawing/2014/main" id="{FA1C2CA0-2330-4D62-8A0E-DE28843EFFCE}"/>
                </a:ext>
              </a:extLst>
            </p:cNvPr>
            <p:cNvSpPr/>
            <p:nvPr/>
          </p:nvSpPr>
          <p:spPr bwMode="auto">
            <a:xfrm>
              <a:off x="7057159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$ľïḍe">
              <a:extLst>
                <a:ext uri="{FF2B5EF4-FFF2-40B4-BE49-F238E27FC236}">
                  <a16:creationId xmlns:a16="http://schemas.microsoft.com/office/drawing/2014/main" id="{3F54BE66-6334-42AF-89E4-5C4CC416DF52}"/>
                </a:ext>
              </a:extLst>
            </p:cNvPr>
            <p:cNvSpPr/>
            <p:nvPr/>
          </p:nvSpPr>
          <p:spPr bwMode="auto">
            <a:xfrm>
              <a:off x="7057159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ṡḻíḑé">
              <a:extLst>
                <a:ext uri="{FF2B5EF4-FFF2-40B4-BE49-F238E27FC236}">
                  <a16:creationId xmlns:a16="http://schemas.microsoft.com/office/drawing/2014/main" id="{E5AD109A-57A4-43EC-8C7D-0BD3BB31562A}"/>
                </a:ext>
              </a:extLst>
            </p:cNvPr>
            <p:cNvSpPr/>
            <p:nvPr/>
          </p:nvSpPr>
          <p:spPr bwMode="auto">
            <a:xfrm>
              <a:off x="7276371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ṧḻiḓe">
              <a:extLst>
                <a:ext uri="{FF2B5EF4-FFF2-40B4-BE49-F238E27FC236}">
                  <a16:creationId xmlns:a16="http://schemas.microsoft.com/office/drawing/2014/main" id="{2B87A0BD-0F58-4D2E-B795-8CA57552FA9F}"/>
                </a:ext>
              </a:extLst>
            </p:cNvPr>
            <p:cNvSpPr/>
            <p:nvPr/>
          </p:nvSpPr>
          <p:spPr bwMode="auto">
            <a:xfrm>
              <a:off x="7276371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ïsľîďè">
              <a:extLst>
                <a:ext uri="{FF2B5EF4-FFF2-40B4-BE49-F238E27FC236}">
                  <a16:creationId xmlns:a16="http://schemas.microsoft.com/office/drawing/2014/main" id="{8D125F04-D801-451D-8E0D-BBAAE29511DE}"/>
                </a:ext>
              </a:extLst>
            </p:cNvPr>
            <p:cNvSpPr/>
            <p:nvPr/>
          </p:nvSpPr>
          <p:spPr bwMode="auto">
            <a:xfrm>
              <a:off x="7495582" y="2211397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Sḷíďe">
              <a:extLst>
                <a:ext uri="{FF2B5EF4-FFF2-40B4-BE49-F238E27FC236}">
                  <a16:creationId xmlns:a16="http://schemas.microsoft.com/office/drawing/2014/main" id="{C44385C6-9775-46FF-985F-7B56E833659C}"/>
                </a:ext>
              </a:extLst>
            </p:cNvPr>
            <p:cNvSpPr/>
            <p:nvPr/>
          </p:nvSpPr>
          <p:spPr bwMode="auto">
            <a:xfrm>
              <a:off x="7716200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ṡḷiḓê">
              <a:extLst>
                <a:ext uri="{FF2B5EF4-FFF2-40B4-BE49-F238E27FC236}">
                  <a16:creationId xmlns:a16="http://schemas.microsoft.com/office/drawing/2014/main" id="{6295C224-73B5-427C-B6F3-55A4877AB8D7}"/>
                </a:ext>
              </a:extLst>
            </p:cNvPr>
            <p:cNvSpPr/>
            <p:nvPr/>
          </p:nvSpPr>
          <p:spPr bwMode="auto">
            <a:xfrm>
              <a:off x="7934006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şļidè">
              <a:extLst>
                <a:ext uri="{FF2B5EF4-FFF2-40B4-BE49-F238E27FC236}">
                  <a16:creationId xmlns:a16="http://schemas.microsoft.com/office/drawing/2014/main" id="{8260C641-56FC-45BD-B46A-E66F584BB4D3}"/>
                </a:ext>
              </a:extLst>
            </p:cNvPr>
            <p:cNvSpPr/>
            <p:nvPr/>
          </p:nvSpPr>
          <p:spPr bwMode="auto">
            <a:xfrm>
              <a:off x="7934006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ṧļïḑé">
              <a:extLst>
                <a:ext uri="{FF2B5EF4-FFF2-40B4-BE49-F238E27FC236}">
                  <a16:creationId xmlns:a16="http://schemas.microsoft.com/office/drawing/2014/main" id="{D199F410-A529-4EF2-9E0A-13E86B929C9E}"/>
                </a:ext>
              </a:extLst>
            </p:cNvPr>
            <p:cNvSpPr/>
            <p:nvPr/>
          </p:nvSpPr>
          <p:spPr bwMode="auto">
            <a:xfrm>
              <a:off x="8154623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Sľîḓe">
              <a:extLst>
                <a:ext uri="{FF2B5EF4-FFF2-40B4-BE49-F238E27FC236}">
                  <a16:creationId xmlns:a16="http://schemas.microsoft.com/office/drawing/2014/main" id="{BBBA4D8F-0DFC-40B1-BE1D-327D21B6D362}"/>
                </a:ext>
              </a:extLst>
            </p:cNvPr>
            <p:cNvSpPr/>
            <p:nvPr/>
          </p:nvSpPr>
          <p:spPr bwMode="auto">
            <a:xfrm>
              <a:off x="8154623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şľïḍè">
              <a:extLst>
                <a:ext uri="{FF2B5EF4-FFF2-40B4-BE49-F238E27FC236}">
                  <a16:creationId xmlns:a16="http://schemas.microsoft.com/office/drawing/2014/main" id="{59CB613A-5BE0-4517-B7B6-E40B54096B40}"/>
                </a:ext>
              </a:extLst>
            </p:cNvPr>
            <p:cNvSpPr/>
            <p:nvPr/>
          </p:nvSpPr>
          <p:spPr bwMode="auto">
            <a:xfrm>
              <a:off x="8373834" y="2211397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ṧľîḋe">
              <a:extLst>
                <a:ext uri="{FF2B5EF4-FFF2-40B4-BE49-F238E27FC236}">
                  <a16:creationId xmlns:a16="http://schemas.microsoft.com/office/drawing/2014/main" id="{DE5A78D4-8D13-44CE-AB00-ED2BAD47FB3C}"/>
                </a:ext>
              </a:extLst>
            </p:cNvPr>
            <p:cNvSpPr/>
            <p:nvPr/>
          </p:nvSpPr>
          <p:spPr bwMode="auto">
            <a:xfrm>
              <a:off x="8594451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sḻidê">
              <a:extLst>
                <a:ext uri="{FF2B5EF4-FFF2-40B4-BE49-F238E27FC236}">
                  <a16:creationId xmlns:a16="http://schemas.microsoft.com/office/drawing/2014/main" id="{2C423321-E279-47C1-8C54-6867387B08AD}"/>
                </a:ext>
              </a:extLst>
            </p:cNvPr>
            <p:cNvSpPr/>
            <p:nvPr/>
          </p:nvSpPr>
          <p:spPr bwMode="auto">
            <a:xfrm>
              <a:off x="3650948" y="2499464"/>
              <a:ext cx="51993" cy="75881"/>
            </a:xfrm>
            <a:custGeom>
              <a:avLst/>
              <a:gdLst>
                <a:gd name="T0" fmla="*/ 33 w 33"/>
                <a:gd name="T1" fmla="*/ 0 h 48"/>
                <a:gd name="T2" fmla="*/ 33 w 33"/>
                <a:gd name="T3" fmla="*/ 48 h 48"/>
                <a:gd name="T4" fmla="*/ 0 w 33"/>
                <a:gd name="T5" fmla="*/ 48 h 48"/>
                <a:gd name="T6" fmla="*/ 33 w 33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48">
                  <a:moveTo>
                    <a:pt x="33" y="0"/>
                  </a:moveTo>
                  <a:cubicBezTo>
                    <a:pt x="33" y="48"/>
                    <a:pt x="33" y="48"/>
                    <a:pt x="33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" y="32"/>
                    <a:pt x="22" y="15"/>
                    <a:pt x="33" y="0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îṧḻïde">
              <a:extLst>
                <a:ext uri="{FF2B5EF4-FFF2-40B4-BE49-F238E27FC236}">
                  <a16:creationId xmlns:a16="http://schemas.microsoft.com/office/drawing/2014/main" id="{2FB18DC2-63F7-49B3-BCB7-6FC4D9A9FF1B}"/>
                </a:ext>
              </a:extLst>
            </p:cNvPr>
            <p:cNvSpPr/>
            <p:nvPr/>
          </p:nvSpPr>
          <p:spPr bwMode="auto">
            <a:xfrm>
              <a:off x="3763364" y="2415152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ṩľíḍê">
              <a:extLst>
                <a:ext uri="{FF2B5EF4-FFF2-40B4-BE49-F238E27FC236}">
                  <a16:creationId xmlns:a16="http://schemas.microsoft.com/office/drawing/2014/main" id="{2F14986E-AB17-4240-AC4F-F4E9050FEE80}"/>
                </a:ext>
              </a:extLst>
            </p:cNvPr>
            <p:cNvSpPr/>
            <p:nvPr/>
          </p:nvSpPr>
          <p:spPr bwMode="auto">
            <a:xfrm>
              <a:off x="3763364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śļîďê">
              <a:extLst>
                <a:ext uri="{FF2B5EF4-FFF2-40B4-BE49-F238E27FC236}">
                  <a16:creationId xmlns:a16="http://schemas.microsoft.com/office/drawing/2014/main" id="{F0C4CD14-E46F-4848-9AAF-7BFF57A8465B}"/>
                </a:ext>
              </a:extLst>
            </p:cNvPr>
            <p:cNvSpPr/>
            <p:nvPr/>
          </p:nvSpPr>
          <p:spPr bwMode="auto">
            <a:xfrm>
              <a:off x="3981171" y="2415152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$ľiḓè">
              <a:extLst>
                <a:ext uri="{FF2B5EF4-FFF2-40B4-BE49-F238E27FC236}">
                  <a16:creationId xmlns:a16="http://schemas.microsoft.com/office/drawing/2014/main" id="{A72DB1A6-718C-47E1-9C1E-E3B7A0C297DA}"/>
                </a:ext>
              </a:extLst>
            </p:cNvPr>
            <p:cNvSpPr/>
            <p:nvPr/>
          </p:nvSpPr>
          <p:spPr bwMode="auto">
            <a:xfrm>
              <a:off x="4201787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ṧľídè">
              <a:extLst>
                <a:ext uri="{FF2B5EF4-FFF2-40B4-BE49-F238E27FC236}">
                  <a16:creationId xmlns:a16="http://schemas.microsoft.com/office/drawing/2014/main" id="{82FFB3B8-8469-4629-9F70-BE275BCE26D8}"/>
                </a:ext>
              </a:extLst>
            </p:cNvPr>
            <p:cNvSpPr/>
            <p:nvPr/>
          </p:nvSpPr>
          <p:spPr bwMode="auto">
            <a:xfrm>
              <a:off x="4201787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šḻîde">
              <a:extLst>
                <a:ext uri="{FF2B5EF4-FFF2-40B4-BE49-F238E27FC236}">
                  <a16:creationId xmlns:a16="http://schemas.microsoft.com/office/drawing/2014/main" id="{B289BB2F-CE5E-42A4-849F-5402FA0493CD}"/>
                </a:ext>
              </a:extLst>
            </p:cNvPr>
            <p:cNvSpPr/>
            <p:nvPr/>
          </p:nvSpPr>
          <p:spPr bwMode="auto">
            <a:xfrm>
              <a:off x="4420999" y="2415152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iśḻíde">
              <a:extLst>
                <a:ext uri="{FF2B5EF4-FFF2-40B4-BE49-F238E27FC236}">
                  <a16:creationId xmlns:a16="http://schemas.microsoft.com/office/drawing/2014/main" id="{82187A2C-8790-48E7-9EE1-30CB217E2ADB}"/>
                </a:ext>
              </a:extLst>
            </p:cNvPr>
            <p:cNvSpPr/>
            <p:nvPr/>
          </p:nvSpPr>
          <p:spPr bwMode="auto">
            <a:xfrm>
              <a:off x="4420999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sľíďe">
              <a:extLst>
                <a:ext uri="{FF2B5EF4-FFF2-40B4-BE49-F238E27FC236}">
                  <a16:creationId xmlns:a16="http://schemas.microsoft.com/office/drawing/2014/main" id="{E5E3F1F2-5BDC-4594-A34D-589B0DA6E639}"/>
                </a:ext>
              </a:extLst>
            </p:cNvPr>
            <p:cNvSpPr/>
            <p:nvPr/>
          </p:nvSpPr>
          <p:spPr bwMode="auto">
            <a:xfrm>
              <a:off x="4640211" y="2415152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$liḑê">
              <a:extLst>
                <a:ext uri="{FF2B5EF4-FFF2-40B4-BE49-F238E27FC236}">
                  <a16:creationId xmlns:a16="http://schemas.microsoft.com/office/drawing/2014/main" id="{6390A2EA-8BB9-4535-B080-5786E57A69D5}"/>
                </a:ext>
              </a:extLst>
            </p:cNvPr>
            <p:cNvSpPr/>
            <p:nvPr/>
          </p:nvSpPr>
          <p:spPr bwMode="auto">
            <a:xfrm>
              <a:off x="4640211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ṩḻîďè">
              <a:extLst>
                <a:ext uri="{FF2B5EF4-FFF2-40B4-BE49-F238E27FC236}">
                  <a16:creationId xmlns:a16="http://schemas.microsoft.com/office/drawing/2014/main" id="{CF2FB8A5-F190-47A2-BA28-DA99DCCC0A09}"/>
                </a:ext>
              </a:extLst>
            </p:cNvPr>
            <p:cNvSpPr/>
            <p:nvPr/>
          </p:nvSpPr>
          <p:spPr bwMode="auto">
            <a:xfrm>
              <a:off x="4860828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ṡľïḓé">
              <a:extLst>
                <a:ext uri="{FF2B5EF4-FFF2-40B4-BE49-F238E27FC236}">
                  <a16:creationId xmlns:a16="http://schemas.microsoft.com/office/drawing/2014/main" id="{C2A726E0-7401-42A1-AB3E-D64A0787B50E}"/>
                </a:ext>
              </a:extLst>
            </p:cNvPr>
            <p:cNvSpPr/>
            <p:nvPr/>
          </p:nvSpPr>
          <p:spPr bwMode="auto">
            <a:xfrm>
              <a:off x="4860828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$lîḍé">
              <a:extLst>
                <a:ext uri="{FF2B5EF4-FFF2-40B4-BE49-F238E27FC236}">
                  <a16:creationId xmlns:a16="http://schemas.microsoft.com/office/drawing/2014/main" id="{36667E23-A30D-4038-8535-0B8D75A069D6}"/>
                </a:ext>
              </a:extLst>
            </p:cNvPr>
            <p:cNvSpPr/>
            <p:nvPr/>
          </p:nvSpPr>
          <p:spPr bwMode="auto">
            <a:xfrm>
              <a:off x="5080039" y="2415152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s1íḋé">
              <a:extLst>
                <a:ext uri="{FF2B5EF4-FFF2-40B4-BE49-F238E27FC236}">
                  <a16:creationId xmlns:a16="http://schemas.microsoft.com/office/drawing/2014/main" id="{8CBBEC9E-56FD-466B-A5D3-0EA72BD59E1D}"/>
                </a:ext>
              </a:extLst>
            </p:cNvPr>
            <p:cNvSpPr/>
            <p:nvPr/>
          </p:nvSpPr>
          <p:spPr bwMode="auto">
            <a:xfrm>
              <a:off x="5299251" y="2415152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ïṥḻíḓê">
              <a:extLst>
                <a:ext uri="{FF2B5EF4-FFF2-40B4-BE49-F238E27FC236}">
                  <a16:creationId xmlns:a16="http://schemas.microsoft.com/office/drawing/2014/main" id="{1D157317-DEAC-4DCF-9FC4-A9211D02479B}"/>
                </a:ext>
              </a:extLst>
            </p:cNvPr>
            <p:cNvSpPr/>
            <p:nvPr/>
          </p:nvSpPr>
          <p:spPr bwMode="auto">
            <a:xfrm>
              <a:off x="5299251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ṡliḋé">
              <a:extLst>
                <a:ext uri="{FF2B5EF4-FFF2-40B4-BE49-F238E27FC236}">
                  <a16:creationId xmlns:a16="http://schemas.microsoft.com/office/drawing/2014/main" id="{15E06EF3-FE6C-49FC-BB57-E78F9A7D4F4A}"/>
                </a:ext>
              </a:extLst>
            </p:cNvPr>
            <p:cNvSpPr/>
            <p:nvPr/>
          </p:nvSpPr>
          <p:spPr bwMode="auto">
            <a:xfrm>
              <a:off x="5518463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ṣľîďé">
              <a:extLst>
                <a:ext uri="{FF2B5EF4-FFF2-40B4-BE49-F238E27FC236}">
                  <a16:creationId xmlns:a16="http://schemas.microsoft.com/office/drawing/2014/main" id="{8E1CD86D-0441-4976-8D0A-137E38B20CE7}"/>
                </a:ext>
              </a:extLst>
            </p:cNvPr>
            <p:cNvSpPr/>
            <p:nvPr/>
          </p:nvSpPr>
          <p:spPr bwMode="auto">
            <a:xfrm>
              <a:off x="5518463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şlïḍé">
              <a:extLst>
                <a:ext uri="{FF2B5EF4-FFF2-40B4-BE49-F238E27FC236}">
                  <a16:creationId xmlns:a16="http://schemas.microsoft.com/office/drawing/2014/main" id="{389FC582-EAC6-499F-935D-FADCE057637D}"/>
                </a:ext>
              </a:extLst>
            </p:cNvPr>
            <p:cNvSpPr/>
            <p:nvPr/>
          </p:nvSpPr>
          <p:spPr bwMode="auto">
            <a:xfrm>
              <a:off x="5739079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Sḷïḋé">
              <a:extLst>
                <a:ext uri="{FF2B5EF4-FFF2-40B4-BE49-F238E27FC236}">
                  <a16:creationId xmlns:a16="http://schemas.microsoft.com/office/drawing/2014/main" id="{ED9940D8-AD1B-4878-991E-573F082BF174}"/>
                </a:ext>
              </a:extLst>
            </p:cNvPr>
            <p:cNvSpPr/>
            <p:nvPr/>
          </p:nvSpPr>
          <p:spPr bwMode="auto">
            <a:xfrm>
              <a:off x="5739079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ş1íḑè">
              <a:extLst>
                <a:ext uri="{FF2B5EF4-FFF2-40B4-BE49-F238E27FC236}">
                  <a16:creationId xmlns:a16="http://schemas.microsoft.com/office/drawing/2014/main" id="{C91F6132-ABC0-411F-B030-E1CC40DFE404}"/>
                </a:ext>
              </a:extLst>
            </p:cNvPr>
            <p:cNvSpPr/>
            <p:nvPr/>
          </p:nvSpPr>
          <p:spPr bwMode="auto">
            <a:xfrm>
              <a:off x="5958291" y="2415152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Sļîḓè">
              <a:extLst>
                <a:ext uri="{FF2B5EF4-FFF2-40B4-BE49-F238E27FC236}">
                  <a16:creationId xmlns:a16="http://schemas.microsoft.com/office/drawing/2014/main" id="{DB50E3B0-B563-455D-A655-7AB5B36B613C}"/>
                </a:ext>
              </a:extLst>
            </p:cNvPr>
            <p:cNvSpPr/>
            <p:nvPr/>
          </p:nvSpPr>
          <p:spPr bwMode="auto">
            <a:xfrm>
              <a:off x="6178908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ṧḻîḑê">
              <a:extLst>
                <a:ext uri="{FF2B5EF4-FFF2-40B4-BE49-F238E27FC236}">
                  <a16:creationId xmlns:a16="http://schemas.microsoft.com/office/drawing/2014/main" id="{D5BB3A10-80C5-4D23-9784-1940002B3BEF}"/>
                </a:ext>
              </a:extLst>
            </p:cNvPr>
            <p:cNvSpPr/>
            <p:nvPr/>
          </p:nvSpPr>
          <p:spPr bwMode="auto">
            <a:xfrm>
              <a:off x="6178908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$líḓè">
              <a:extLst>
                <a:ext uri="{FF2B5EF4-FFF2-40B4-BE49-F238E27FC236}">
                  <a16:creationId xmlns:a16="http://schemas.microsoft.com/office/drawing/2014/main" id="{48DF96C3-1F61-4D7B-A70D-AE9F4F45848A}"/>
                </a:ext>
              </a:extLst>
            </p:cNvPr>
            <p:cNvSpPr/>
            <p:nvPr/>
          </p:nvSpPr>
          <p:spPr bwMode="auto">
            <a:xfrm>
              <a:off x="6398120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s1íḑê">
              <a:extLst>
                <a:ext uri="{FF2B5EF4-FFF2-40B4-BE49-F238E27FC236}">
                  <a16:creationId xmlns:a16="http://schemas.microsoft.com/office/drawing/2014/main" id="{CE118A1F-046A-45D6-98C7-1F34BFF00CA5}"/>
                </a:ext>
              </a:extLst>
            </p:cNvPr>
            <p:cNvSpPr/>
            <p:nvPr/>
          </p:nvSpPr>
          <p:spPr bwMode="auto">
            <a:xfrm>
              <a:off x="6398120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ṩ1îḍè">
              <a:extLst>
                <a:ext uri="{FF2B5EF4-FFF2-40B4-BE49-F238E27FC236}">
                  <a16:creationId xmlns:a16="http://schemas.microsoft.com/office/drawing/2014/main" id="{00175082-306D-41A3-83F8-8F1C317E71ED}"/>
                </a:ext>
              </a:extLst>
            </p:cNvPr>
            <p:cNvSpPr/>
            <p:nvPr/>
          </p:nvSpPr>
          <p:spPr bwMode="auto">
            <a:xfrm>
              <a:off x="6618736" y="2415152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ṧḻïḍê">
              <a:extLst>
                <a:ext uri="{FF2B5EF4-FFF2-40B4-BE49-F238E27FC236}">
                  <a16:creationId xmlns:a16="http://schemas.microsoft.com/office/drawing/2014/main" id="{0CC0B290-1C40-4CB0-A9D4-90B655BFAEEC}"/>
                </a:ext>
              </a:extLst>
            </p:cNvPr>
            <p:cNvSpPr/>
            <p:nvPr/>
          </p:nvSpPr>
          <p:spPr bwMode="auto">
            <a:xfrm>
              <a:off x="6618736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slïḑé">
              <a:extLst>
                <a:ext uri="{FF2B5EF4-FFF2-40B4-BE49-F238E27FC236}">
                  <a16:creationId xmlns:a16="http://schemas.microsoft.com/office/drawing/2014/main" id="{5F79CB95-5B6A-4D98-90B3-90871751045D}"/>
                </a:ext>
              </a:extLst>
            </p:cNvPr>
            <p:cNvSpPr/>
            <p:nvPr/>
          </p:nvSpPr>
          <p:spPr bwMode="auto">
            <a:xfrm>
              <a:off x="6836543" y="2415152"/>
              <a:ext cx="161599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102 h 102"/>
                <a:gd name="T6" fmla="*/ 96 w 102"/>
                <a:gd name="T7" fmla="*/ 102 h 102"/>
                <a:gd name="T8" fmla="*/ 102 w 102"/>
                <a:gd name="T9" fmla="*/ 100 h 102"/>
                <a:gd name="T10" fmla="*/ 102 w 102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8" y="101"/>
                    <a:pt x="100" y="101"/>
                    <a:pt x="102" y="100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$ľïḑe">
              <a:extLst>
                <a:ext uri="{FF2B5EF4-FFF2-40B4-BE49-F238E27FC236}">
                  <a16:creationId xmlns:a16="http://schemas.microsoft.com/office/drawing/2014/main" id="{B35A1AD0-54FD-4A55-97A8-F6843DBFF184}"/>
                </a:ext>
              </a:extLst>
            </p:cNvPr>
            <p:cNvSpPr/>
            <p:nvPr/>
          </p:nvSpPr>
          <p:spPr bwMode="auto">
            <a:xfrm>
              <a:off x="7057159" y="2415152"/>
              <a:ext cx="161599" cy="132089"/>
            </a:xfrm>
            <a:custGeom>
              <a:avLst/>
              <a:gdLst>
                <a:gd name="T0" fmla="*/ 102 w 102"/>
                <a:gd name="T1" fmla="*/ 0 h 84"/>
                <a:gd name="T2" fmla="*/ 0 w 102"/>
                <a:gd name="T3" fmla="*/ 0 h 84"/>
                <a:gd name="T4" fmla="*/ 0 w 102"/>
                <a:gd name="T5" fmla="*/ 84 h 84"/>
                <a:gd name="T6" fmla="*/ 2 w 102"/>
                <a:gd name="T7" fmla="*/ 82 h 84"/>
                <a:gd name="T8" fmla="*/ 29 w 102"/>
                <a:gd name="T9" fmla="*/ 71 h 84"/>
                <a:gd name="T10" fmla="*/ 38 w 102"/>
                <a:gd name="T11" fmla="*/ 71 h 84"/>
                <a:gd name="T12" fmla="*/ 50 w 102"/>
                <a:gd name="T13" fmla="*/ 72 h 84"/>
                <a:gd name="T14" fmla="*/ 102 w 102"/>
                <a:gd name="T15" fmla="*/ 81 h 84"/>
                <a:gd name="T16" fmla="*/ 102 w 10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84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1" y="83"/>
                    <a:pt x="1" y="83"/>
                    <a:pt x="2" y="82"/>
                  </a:cubicBezTo>
                  <a:cubicBezTo>
                    <a:pt x="11" y="78"/>
                    <a:pt x="20" y="73"/>
                    <a:pt x="29" y="71"/>
                  </a:cubicBezTo>
                  <a:cubicBezTo>
                    <a:pt x="32" y="71"/>
                    <a:pt x="35" y="71"/>
                    <a:pt x="38" y="71"/>
                  </a:cubicBezTo>
                  <a:cubicBezTo>
                    <a:pt x="42" y="71"/>
                    <a:pt x="46" y="71"/>
                    <a:pt x="50" y="72"/>
                  </a:cubicBezTo>
                  <a:cubicBezTo>
                    <a:pt x="68" y="74"/>
                    <a:pt x="85" y="77"/>
                    <a:pt x="102" y="81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ṡlïďé">
              <a:extLst>
                <a:ext uri="{FF2B5EF4-FFF2-40B4-BE49-F238E27FC236}">
                  <a16:creationId xmlns:a16="http://schemas.microsoft.com/office/drawing/2014/main" id="{E8B2D28B-3A97-485E-9BB6-6DB429E8E3E8}"/>
                </a:ext>
              </a:extLst>
            </p:cNvPr>
            <p:cNvSpPr/>
            <p:nvPr/>
          </p:nvSpPr>
          <p:spPr bwMode="auto">
            <a:xfrm>
              <a:off x="7276371" y="2415152"/>
              <a:ext cx="160193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91 h 102"/>
                <a:gd name="T6" fmla="*/ 27 w 102"/>
                <a:gd name="T7" fmla="*/ 100 h 102"/>
                <a:gd name="T8" fmla="*/ 32 w 102"/>
                <a:gd name="T9" fmla="*/ 102 h 102"/>
                <a:gd name="T10" fmla="*/ 102 w 102"/>
                <a:gd name="T11" fmla="*/ 102 h 102"/>
                <a:gd name="T12" fmla="*/ 102 w 102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9" y="94"/>
                    <a:pt x="18" y="97"/>
                    <a:pt x="27" y="100"/>
                  </a:cubicBezTo>
                  <a:cubicBezTo>
                    <a:pt x="29" y="101"/>
                    <a:pt x="30" y="101"/>
                    <a:pt x="32" y="102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Sľïḍè">
              <a:extLst>
                <a:ext uri="{FF2B5EF4-FFF2-40B4-BE49-F238E27FC236}">
                  <a16:creationId xmlns:a16="http://schemas.microsoft.com/office/drawing/2014/main" id="{5E7BEDE0-A2F4-4AC9-A107-395D5D5AE545}"/>
                </a:ext>
              </a:extLst>
            </p:cNvPr>
            <p:cNvSpPr/>
            <p:nvPr/>
          </p:nvSpPr>
          <p:spPr bwMode="auto">
            <a:xfrm>
              <a:off x="7495582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ṧľîdê">
              <a:extLst>
                <a:ext uri="{FF2B5EF4-FFF2-40B4-BE49-F238E27FC236}">
                  <a16:creationId xmlns:a16="http://schemas.microsoft.com/office/drawing/2014/main" id="{1CB652E2-47BC-47A4-A26F-43187B70006C}"/>
                </a:ext>
              </a:extLst>
            </p:cNvPr>
            <p:cNvSpPr/>
            <p:nvPr/>
          </p:nvSpPr>
          <p:spPr bwMode="auto">
            <a:xfrm>
              <a:off x="7495582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$ḻíḋé">
              <a:extLst>
                <a:ext uri="{FF2B5EF4-FFF2-40B4-BE49-F238E27FC236}">
                  <a16:creationId xmlns:a16="http://schemas.microsoft.com/office/drawing/2014/main" id="{21111F85-EE87-4B93-878F-2F3161EC6BDB}"/>
                </a:ext>
              </a:extLst>
            </p:cNvPr>
            <p:cNvSpPr/>
            <p:nvPr/>
          </p:nvSpPr>
          <p:spPr bwMode="auto">
            <a:xfrm>
              <a:off x="7716200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iṥļíḑè">
              <a:extLst>
                <a:ext uri="{FF2B5EF4-FFF2-40B4-BE49-F238E27FC236}">
                  <a16:creationId xmlns:a16="http://schemas.microsoft.com/office/drawing/2014/main" id="{7349C223-00CA-492A-A4AA-44F03036BBFB}"/>
                </a:ext>
              </a:extLst>
            </p:cNvPr>
            <p:cNvSpPr/>
            <p:nvPr/>
          </p:nvSpPr>
          <p:spPr bwMode="auto">
            <a:xfrm>
              <a:off x="7716200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$ḻiḋe">
              <a:extLst>
                <a:ext uri="{FF2B5EF4-FFF2-40B4-BE49-F238E27FC236}">
                  <a16:creationId xmlns:a16="http://schemas.microsoft.com/office/drawing/2014/main" id="{DB57059B-E091-45E2-A436-6AD61E418911}"/>
                </a:ext>
              </a:extLst>
            </p:cNvPr>
            <p:cNvSpPr/>
            <p:nvPr/>
          </p:nvSpPr>
          <p:spPr bwMode="auto">
            <a:xfrm>
              <a:off x="7934006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ṧḻíḑè">
              <a:extLst>
                <a:ext uri="{FF2B5EF4-FFF2-40B4-BE49-F238E27FC236}">
                  <a16:creationId xmlns:a16="http://schemas.microsoft.com/office/drawing/2014/main" id="{0AB5144F-1E70-4A5F-B1D3-AD023FBB2CEC}"/>
                </a:ext>
              </a:extLst>
            </p:cNvPr>
            <p:cNvSpPr/>
            <p:nvPr/>
          </p:nvSpPr>
          <p:spPr bwMode="auto">
            <a:xfrm>
              <a:off x="7934006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ṡḷïḍê">
              <a:extLst>
                <a:ext uri="{FF2B5EF4-FFF2-40B4-BE49-F238E27FC236}">
                  <a16:creationId xmlns:a16="http://schemas.microsoft.com/office/drawing/2014/main" id="{6AF1529A-54D4-4B5D-B330-8D5468EEDFB6}"/>
                </a:ext>
              </a:extLst>
            </p:cNvPr>
            <p:cNvSpPr/>
            <p:nvPr/>
          </p:nvSpPr>
          <p:spPr bwMode="auto">
            <a:xfrm>
              <a:off x="8154623" y="2415152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lîdè">
              <a:extLst>
                <a:ext uri="{FF2B5EF4-FFF2-40B4-BE49-F238E27FC236}">
                  <a16:creationId xmlns:a16="http://schemas.microsoft.com/office/drawing/2014/main" id="{11FFD63A-7D74-4E87-8418-007FA239ADB5}"/>
                </a:ext>
              </a:extLst>
            </p:cNvPr>
            <p:cNvSpPr/>
            <p:nvPr/>
          </p:nvSpPr>
          <p:spPr bwMode="auto">
            <a:xfrm>
              <a:off x="8373834" y="2415152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š1îḑè">
              <a:extLst>
                <a:ext uri="{FF2B5EF4-FFF2-40B4-BE49-F238E27FC236}">
                  <a16:creationId xmlns:a16="http://schemas.microsoft.com/office/drawing/2014/main" id="{D781DFA3-E7E5-4309-A449-8F6FD05C27FC}"/>
                </a:ext>
              </a:extLst>
            </p:cNvPr>
            <p:cNvSpPr/>
            <p:nvPr/>
          </p:nvSpPr>
          <p:spPr bwMode="auto">
            <a:xfrm>
              <a:off x="8594451" y="2415152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şľiḍè">
              <a:extLst>
                <a:ext uri="{FF2B5EF4-FFF2-40B4-BE49-F238E27FC236}">
                  <a16:creationId xmlns:a16="http://schemas.microsoft.com/office/drawing/2014/main" id="{E46C2949-23CC-4A6E-8D2C-41B3019F85D6}"/>
                </a:ext>
              </a:extLst>
            </p:cNvPr>
            <p:cNvSpPr/>
            <p:nvPr/>
          </p:nvSpPr>
          <p:spPr bwMode="auto">
            <a:xfrm>
              <a:off x="3102919" y="2666682"/>
              <a:ext cx="160193" cy="111011"/>
            </a:xfrm>
            <a:custGeom>
              <a:avLst/>
              <a:gdLst>
                <a:gd name="T0" fmla="*/ 102 w 102"/>
                <a:gd name="T1" fmla="*/ 0 h 71"/>
                <a:gd name="T2" fmla="*/ 0 w 102"/>
                <a:gd name="T3" fmla="*/ 37 h 71"/>
                <a:gd name="T4" fmla="*/ 0 w 102"/>
                <a:gd name="T5" fmla="*/ 71 h 71"/>
                <a:gd name="T6" fmla="*/ 102 w 102"/>
                <a:gd name="T7" fmla="*/ 71 h 71"/>
                <a:gd name="T8" fmla="*/ 102 w 10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71">
                  <a:moveTo>
                    <a:pt x="102" y="0"/>
                  </a:moveTo>
                  <a:cubicBezTo>
                    <a:pt x="67" y="10"/>
                    <a:pt x="33" y="22"/>
                    <a:pt x="0" y="37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02" y="71"/>
                    <a:pt x="102" y="71"/>
                    <a:pt x="102" y="71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śľíḑè">
              <a:extLst>
                <a:ext uri="{FF2B5EF4-FFF2-40B4-BE49-F238E27FC236}">
                  <a16:creationId xmlns:a16="http://schemas.microsoft.com/office/drawing/2014/main" id="{6FB7E0C5-711D-4C3E-A5A3-6E05DFAD438A}"/>
                </a:ext>
              </a:extLst>
            </p:cNvPr>
            <p:cNvSpPr/>
            <p:nvPr/>
          </p:nvSpPr>
          <p:spPr bwMode="auto">
            <a:xfrm>
              <a:off x="3323536" y="2630147"/>
              <a:ext cx="160193" cy="147547"/>
            </a:xfrm>
            <a:custGeom>
              <a:avLst/>
              <a:gdLst>
                <a:gd name="T0" fmla="*/ 114 w 114"/>
                <a:gd name="T1" fmla="*/ 0 h 105"/>
                <a:gd name="T2" fmla="*/ 0 w 114"/>
                <a:gd name="T3" fmla="*/ 16 h 105"/>
                <a:gd name="T4" fmla="*/ 0 w 114"/>
                <a:gd name="T5" fmla="*/ 105 h 105"/>
                <a:gd name="T6" fmla="*/ 114 w 114"/>
                <a:gd name="T7" fmla="*/ 105 h 105"/>
                <a:gd name="T8" fmla="*/ 114 w 114"/>
                <a:gd name="T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05">
                  <a:moveTo>
                    <a:pt x="114" y="0"/>
                  </a:moveTo>
                  <a:lnTo>
                    <a:pt x="0" y="16"/>
                  </a:lnTo>
                  <a:lnTo>
                    <a:pt x="0" y="105"/>
                  </a:lnTo>
                  <a:lnTo>
                    <a:pt x="114" y="105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ṡļîdê">
              <a:extLst>
                <a:ext uri="{FF2B5EF4-FFF2-40B4-BE49-F238E27FC236}">
                  <a16:creationId xmlns:a16="http://schemas.microsoft.com/office/drawing/2014/main" id="{EC2D1810-2434-4E69-8A38-1FA9E57D770B}"/>
                </a:ext>
              </a:extLst>
            </p:cNvPr>
            <p:cNvSpPr/>
            <p:nvPr/>
          </p:nvSpPr>
          <p:spPr bwMode="auto">
            <a:xfrm>
              <a:off x="3323536" y="2630147"/>
              <a:ext cx="160193" cy="147547"/>
            </a:xfrm>
            <a:custGeom>
              <a:avLst/>
              <a:gdLst>
                <a:gd name="T0" fmla="*/ 114 w 114"/>
                <a:gd name="T1" fmla="*/ 0 h 105"/>
                <a:gd name="T2" fmla="*/ 0 w 114"/>
                <a:gd name="T3" fmla="*/ 16 h 105"/>
                <a:gd name="T4" fmla="*/ 0 w 114"/>
                <a:gd name="T5" fmla="*/ 105 h 105"/>
                <a:gd name="T6" fmla="*/ 114 w 114"/>
                <a:gd name="T7" fmla="*/ 105 h 105"/>
                <a:gd name="T8" fmla="*/ 114 w 114"/>
                <a:gd name="T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05">
                  <a:moveTo>
                    <a:pt x="114" y="0"/>
                  </a:moveTo>
                  <a:lnTo>
                    <a:pt x="0" y="16"/>
                  </a:lnTo>
                  <a:lnTo>
                    <a:pt x="0" y="105"/>
                  </a:lnTo>
                  <a:lnTo>
                    <a:pt x="114" y="105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1ïḋè">
              <a:extLst>
                <a:ext uri="{FF2B5EF4-FFF2-40B4-BE49-F238E27FC236}">
                  <a16:creationId xmlns:a16="http://schemas.microsoft.com/office/drawing/2014/main" id="{9FA0AD29-965C-4AD9-8C28-A0C16AA996A6}"/>
                </a:ext>
              </a:extLst>
            </p:cNvPr>
            <p:cNvSpPr/>
            <p:nvPr/>
          </p:nvSpPr>
          <p:spPr bwMode="auto">
            <a:xfrm>
              <a:off x="3542748" y="2617501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ŝ1íďè">
              <a:extLst>
                <a:ext uri="{FF2B5EF4-FFF2-40B4-BE49-F238E27FC236}">
                  <a16:creationId xmlns:a16="http://schemas.microsoft.com/office/drawing/2014/main" id="{5BE460A3-DD51-4F9A-A3B6-BAB4C7963C1C}"/>
                </a:ext>
              </a:extLst>
            </p:cNvPr>
            <p:cNvSpPr/>
            <p:nvPr/>
          </p:nvSpPr>
          <p:spPr bwMode="auto">
            <a:xfrm>
              <a:off x="3763364" y="2617501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ṩ1îḑé">
              <a:extLst>
                <a:ext uri="{FF2B5EF4-FFF2-40B4-BE49-F238E27FC236}">
                  <a16:creationId xmlns:a16="http://schemas.microsoft.com/office/drawing/2014/main" id="{EF49E6BB-8232-46C1-8101-CBED92203933}"/>
                </a:ext>
              </a:extLst>
            </p:cNvPr>
            <p:cNvSpPr/>
            <p:nvPr/>
          </p:nvSpPr>
          <p:spPr bwMode="auto">
            <a:xfrm>
              <a:off x="3763364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śḻíḑe">
              <a:extLst>
                <a:ext uri="{FF2B5EF4-FFF2-40B4-BE49-F238E27FC236}">
                  <a16:creationId xmlns:a16="http://schemas.microsoft.com/office/drawing/2014/main" id="{F965A75B-AF6A-449D-9043-7146F5E3D78A}"/>
                </a:ext>
              </a:extLst>
            </p:cNvPr>
            <p:cNvSpPr/>
            <p:nvPr/>
          </p:nvSpPr>
          <p:spPr bwMode="auto">
            <a:xfrm>
              <a:off x="3981171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ṧļïḓê">
              <a:extLst>
                <a:ext uri="{FF2B5EF4-FFF2-40B4-BE49-F238E27FC236}">
                  <a16:creationId xmlns:a16="http://schemas.microsoft.com/office/drawing/2014/main" id="{84B6D151-9F0C-4FBD-988C-8DB54AB2CD63}"/>
                </a:ext>
              </a:extLst>
            </p:cNvPr>
            <p:cNvSpPr/>
            <p:nvPr/>
          </p:nvSpPr>
          <p:spPr bwMode="auto">
            <a:xfrm>
              <a:off x="4201787" y="2617501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ïṥḷíḓè">
              <a:extLst>
                <a:ext uri="{FF2B5EF4-FFF2-40B4-BE49-F238E27FC236}">
                  <a16:creationId xmlns:a16="http://schemas.microsoft.com/office/drawing/2014/main" id="{AF806714-3076-4429-A852-C15BF4F8ADF8}"/>
                </a:ext>
              </a:extLst>
            </p:cNvPr>
            <p:cNvSpPr/>
            <p:nvPr/>
          </p:nvSpPr>
          <p:spPr bwMode="auto">
            <a:xfrm>
              <a:off x="4201787" y="2617501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Sḷïḓé">
              <a:extLst>
                <a:ext uri="{FF2B5EF4-FFF2-40B4-BE49-F238E27FC236}">
                  <a16:creationId xmlns:a16="http://schemas.microsoft.com/office/drawing/2014/main" id="{9250F006-5F24-45C2-9D2B-7B39DEFB4EB8}"/>
                </a:ext>
              </a:extLst>
            </p:cNvPr>
            <p:cNvSpPr/>
            <p:nvPr/>
          </p:nvSpPr>
          <p:spPr bwMode="auto">
            <a:xfrm>
              <a:off x="4420999" y="2617501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Sľiḑe">
              <a:extLst>
                <a:ext uri="{FF2B5EF4-FFF2-40B4-BE49-F238E27FC236}">
                  <a16:creationId xmlns:a16="http://schemas.microsoft.com/office/drawing/2014/main" id="{8F5A55CC-05F8-4237-A51A-511DAEB392FF}"/>
                </a:ext>
              </a:extLst>
            </p:cNvPr>
            <p:cNvSpPr/>
            <p:nvPr/>
          </p:nvSpPr>
          <p:spPr bwMode="auto">
            <a:xfrm>
              <a:off x="4420999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ṡḷïḓê">
              <a:extLst>
                <a:ext uri="{FF2B5EF4-FFF2-40B4-BE49-F238E27FC236}">
                  <a16:creationId xmlns:a16="http://schemas.microsoft.com/office/drawing/2014/main" id="{F0A47DFE-6390-4494-8FA1-FD032CBC23A0}"/>
                </a:ext>
              </a:extLst>
            </p:cNvPr>
            <p:cNvSpPr/>
            <p:nvPr/>
          </p:nvSpPr>
          <p:spPr bwMode="auto">
            <a:xfrm>
              <a:off x="4640211" y="2617501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ïṩļïḑè">
              <a:extLst>
                <a:ext uri="{FF2B5EF4-FFF2-40B4-BE49-F238E27FC236}">
                  <a16:creationId xmlns:a16="http://schemas.microsoft.com/office/drawing/2014/main" id="{E9EB65AC-0566-4B6B-BCA9-64CBBBE44F56}"/>
                </a:ext>
              </a:extLst>
            </p:cNvPr>
            <p:cNvSpPr/>
            <p:nvPr/>
          </p:nvSpPr>
          <p:spPr bwMode="auto">
            <a:xfrm>
              <a:off x="4640211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ṡḻíḑè">
              <a:extLst>
                <a:ext uri="{FF2B5EF4-FFF2-40B4-BE49-F238E27FC236}">
                  <a16:creationId xmlns:a16="http://schemas.microsoft.com/office/drawing/2014/main" id="{056EDDB9-B3CD-4B90-B4E3-508D321FA0DE}"/>
                </a:ext>
              </a:extLst>
            </p:cNvPr>
            <p:cNvSpPr/>
            <p:nvPr/>
          </p:nvSpPr>
          <p:spPr bwMode="auto">
            <a:xfrm>
              <a:off x="4860828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îṣḷîḋé">
              <a:extLst>
                <a:ext uri="{FF2B5EF4-FFF2-40B4-BE49-F238E27FC236}">
                  <a16:creationId xmlns:a16="http://schemas.microsoft.com/office/drawing/2014/main" id="{F6D00757-AAFD-4273-9A56-D9E655D19D5B}"/>
                </a:ext>
              </a:extLst>
            </p:cNvPr>
            <p:cNvSpPr/>
            <p:nvPr/>
          </p:nvSpPr>
          <p:spPr bwMode="auto">
            <a:xfrm>
              <a:off x="4860828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šľíḋé">
              <a:extLst>
                <a:ext uri="{FF2B5EF4-FFF2-40B4-BE49-F238E27FC236}">
                  <a16:creationId xmlns:a16="http://schemas.microsoft.com/office/drawing/2014/main" id="{F07BEF14-F0AF-4134-A118-AAD684E421A2}"/>
                </a:ext>
              </a:extLst>
            </p:cNvPr>
            <p:cNvSpPr/>
            <p:nvPr/>
          </p:nvSpPr>
          <p:spPr bwMode="auto">
            <a:xfrm>
              <a:off x="5080039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ï$lîḓè">
              <a:extLst>
                <a:ext uri="{FF2B5EF4-FFF2-40B4-BE49-F238E27FC236}">
                  <a16:creationId xmlns:a16="http://schemas.microsoft.com/office/drawing/2014/main" id="{F7F99BA0-668B-4D04-9117-CD7A1A2D02F7}"/>
                </a:ext>
              </a:extLst>
            </p:cNvPr>
            <p:cNvSpPr/>
            <p:nvPr/>
          </p:nvSpPr>
          <p:spPr bwMode="auto">
            <a:xfrm>
              <a:off x="5080039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şḷïḋè">
              <a:extLst>
                <a:ext uri="{FF2B5EF4-FFF2-40B4-BE49-F238E27FC236}">
                  <a16:creationId xmlns:a16="http://schemas.microsoft.com/office/drawing/2014/main" id="{7BBCBF5B-6EBF-4FCF-B9D5-C6A6EC98B62B}"/>
                </a:ext>
              </a:extLst>
            </p:cNvPr>
            <p:cNvSpPr/>
            <p:nvPr/>
          </p:nvSpPr>
          <p:spPr bwMode="auto">
            <a:xfrm>
              <a:off x="5299251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ïṩļídè">
              <a:extLst>
                <a:ext uri="{FF2B5EF4-FFF2-40B4-BE49-F238E27FC236}">
                  <a16:creationId xmlns:a16="http://schemas.microsoft.com/office/drawing/2014/main" id="{CA92F889-317D-4026-91F5-6A36DA0D417A}"/>
                </a:ext>
              </a:extLst>
            </p:cNvPr>
            <p:cNvSpPr/>
            <p:nvPr/>
          </p:nvSpPr>
          <p:spPr bwMode="auto">
            <a:xfrm>
              <a:off x="5518463" y="2617501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îšľiḍê">
              <a:extLst>
                <a:ext uri="{FF2B5EF4-FFF2-40B4-BE49-F238E27FC236}">
                  <a16:creationId xmlns:a16="http://schemas.microsoft.com/office/drawing/2014/main" id="{C4D904C3-7F8A-4E15-A240-431B0426A8C7}"/>
                </a:ext>
              </a:extLst>
            </p:cNvPr>
            <p:cNvSpPr/>
            <p:nvPr/>
          </p:nvSpPr>
          <p:spPr bwMode="auto">
            <a:xfrm>
              <a:off x="5518463" y="2617501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íṥ1iďê">
              <a:extLst>
                <a:ext uri="{FF2B5EF4-FFF2-40B4-BE49-F238E27FC236}">
                  <a16:creationId xmlns:a16="http://schemas.microsoft.com/office/drawing/2014/main" id="{4FDE26F1-A3B8-4247-B8A2-AA6A5F26E5F6}"/>
                </a:ext>
              </a:extLst>
            </p:cNvPr>
            <p:cNvSpPr/>
            <p:nvPr/>
          </p:nvSpPr>
          <p:spPr bwMode="auto">
            <a:xfrm>
              <a:off x="5739079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íŝlidè">
              <a:extLst>
                <a:ext uri="{FF2B5EF4-FFF2-40B4-BE49-F238E27FC236}">
                  <a16:creationId xmlns:a16="http://schemas.microsoft.com/office/drawing/2014/main" id="{C0409B93-38F0-4B69-9FDF-01D98FF90C3F}"/>
                </a:ext>
              </a:extLst>
            </p:cNvPr>
            <p:cNvSpPr/>
            <p:nvPr/>
          </p:nvSpPr>
          <p:spPr bwMode="auto">
            <a:xfrm>
              <a:off x="5739079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ṡļîḋé">
              <a:extLst>
                <a:ext uri="{FF2B5EF4-FFF2-40B4-BE49-F238E27FC236}">
                  <a16:creationId xmlns:a16="http://schemas.microsoft.com/office/drawing/2014/main" id="{319A4D7F-0A8B-46F4-A7A0-12B69AA856C9}"/>
                </a:ext>
              </a:extLst>
            </p:cNvPr>
            <p:cNvSpPr/>
            <p:nvPr/>
          </p:nvSpPr>
          <p:spPr bwMode="auto">
            <a:xfrm>
              <a:off x="5958291" y="2617501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šlíḓê">
              <a:extLst>
                <a:ext uri="{FF2B5EF4-FFF2-40B4-BE49-F238E27FC236}">
                  <a16:creationId xmlns:a16="http://schemas.microsoft.com/office/drawing/2014/main" id="{7EE83EAC-CBF7-4D6A-B42E-37031489AC53}"/>
                </a:ext>
              </a:extLst>
            </p:cNvPr>
            <p:cNvSpPr/>
            <p:nvPr/>
          </p:nvSpPr>
          <p:spPr bwMode="auto">
            <a:xfrm>
              <a:off x="6178908" y="2617501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iŝḷiḑè">
              <a:extLst>
                <a:ext uri="{FF2B5EF4-FFF2-40B4-BE49-F238E27FC236}">
                  <a16:creationId xmlns:a16="http://schemas.microsoft.com/office/drawing/2014/main" id="{B9867C69-C2CA-4C3A-82A8-6C20D5154AA3}"/>
                </a:ext>
              </a:extLst>
            </p:cNvPr>
            <p:cNvSpPr/>
            <p:nvPr/>
          </p:nvSpPr>
          <p:spPr bwMode="auto">
            <a:xfrm>
              <a:off x="6178908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ṧḻiḋe">
              <a:extLst>
                <a:ext uri="{FF2B5EF4-FFF2-40B4-BE49-F238E27FC236}">
                  <a16:creationId xmlns:a16="http://schemas.microsoft.com/office/drawing/2014/main" id="{45E56E60-1D3B-421C-9786-5AEFBC606E1C}"/>
                </a:ext>
              </a:extLst>
            </p:cNvPr>
            <p:cNvSpPr/>
            <p:nvPr/>
          </p:nvSpPr>
          <p:spPr bwMode="auto">
            <a:xfrm>
              <a:off x="6398120" y="2617501"/>
              <a:ext cx="160193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102 h 102"/>
                <a:gd name="T6" fmla="*/ 95 w 102"/>
                <a:gd name="T7" fmla="*/ 102 h 102"/>
                <a:gd name="T8" fmla="*/ 102 w 102"/>
                <a:gd name="T9" fmla="*/ 72 h 102"/>
                <a:gd name="T10" fmla="*/ 102 w 102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95" y="102"/>
                    <a:pt x="95" y="102"/>
                    <a:pt x="95" y="102"/>
                  </a:cubicBezTo>
                  <a:cubicBezTo>
                    <a:pt x="97" y="92"/>
                    <a:pt x="99" y="82"/>
                    <a:pt x="102" y="72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íṧ1ïḍé">
              <a:extLst>
                <a:ext uri="{FF2B5EF4-FFF2-40B4-BE49-F238E27FC236}">
                  <a16:creationId xmlns:a16="http://schemas.microsoft.com/office/drawing/2014/main" id="{0CFBE486-87C6-4D46-AEB7-B5B8EEF1F2E4}"/>
                </a:ext>
              </a:extLst>
            </p:cNvPr>
            <p:cNvSpPr/>
            <p:nvPr/>
          </p:nvSpPr>
          <p:spPr bwMode="auto">
            <a:xfrm>
              <a:off x="6618736" y="2617501"/>
              <a:ext cx="21078" cy="15458"/>
            </a:xfrm>
            <a:custGeom>
              <a:avLst/>
              <a:gdLst>
                <a:gd name="T0" fmla="*/ 14 w 14"/>
                <a:gd name="T1" fmla="*/ 0 h 10"/>
                <a:gd name="T2" fmla="*/ 0 w 14"/>
                <a:gd name="T3" fmla="*/ 0 h 10"/>
                <a:gd name="T4" fmla="*/ 0 w 14"/>
                <a:gd name="T5" fmla="*/ 10 h 10"/>
                <a:gd name="T6" fmla="*/ 14 w 1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0">
                  <a:moveTo>
                    <a:pt x="1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6"/>
                    <a:pt x="9" y="3"/>
                    <a:pt x="14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iŝľidê">
              <a:extLst>
                <a:ext uri="{FF2B5EF4-FFF2-40B4-BE49-F238E27FC236}">
                  <a16:creationId xmlns:a16="http://schemas.microsoft.com/office/drawing/2014/main" id="{7EA8845A-5057-4198-BC54-41CCC41521B4}"/>
                </a:ext>
              </a:extLst>
            </p:cNvPr>
            <p:cNvSpPr/>
            <p:nvPr/>
          </p:nvSpPr>
          <p:spPr bwMode="auto">
            <a:xfrm>
              <a:off x="6836543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sļïḍè">
              <a:extLst>
                <a:ext uri="{FF2B5EF4-FFF2-40B4-BE49-F238E27FC236}">
                  <a16:creationId xmlns:a16="http://schemas.microsoft.com/office/drawing/2014/main" id="{0F3E55CA-ADB6-4432-9058-4A63022A14F1}"/>
                </a:ext>
              </a:extLst>
            </p:cNvPr>
            <p:cNvSpPr/>
            <p:nvPr/>
          </p:nvSpPr>
          <p:spPr bwMode="auto">
            <a:xfrm>
              <a:off x="7409865" y="2617501"/>
              <a:ext cx="26699" cy="25294"/>
            </a:xfrm>
            <a:custGeom>
              <a:avLst/>
              <a:gdLst>
                <a:gd name="T0" fmla="*/ 17 w 17"/>
                <a:gd name="T1" fmla="*/ 0 h 16"/>
                <a:gd name="T2" fmla="*/ 0 w 17"/>
                <a:gd name="T3" fmla="*/ 0 h 16"/>
                <a:gd name="T4" fmla="*/ 0 w 17"/>
                <a:gd name="T5" fmla="*/ 1 h 16"/>
                <a:gd name="T6" fmla="*/ 17 w 17"/>
                <a:gd name="T7" fmla="*/ 16 h 16"/>
                <a:gd name="T8" fmla="*/ 17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6" y="5"/>
                    <a:pt x="12" y="11"/>
                    <a:pt x="17" y="16"/>
                  </a:cubicBezTo>
                  <a:cubicBezTo>
                    <a:pt x="17" y="0"/>
                    <a:pt x="17" y="0"/>
                    <a:pt x="17" y="0"/>
                  </a:cubicBezTo>
                </a:path>
              </a:pathLst>
            </a:cu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şḷíḋe">
              <a:extLst>
                <a:ext uri="{FF2B5EF4-FFF2-40B4-BE49-F238E27FC236}">
                  <a16:creationId xmlns:a16="http://schemas.microsoft.com/office/drawing/2014/main" id="{63798621-7BB8-4C0D-8485-47E8F4AF35EB}"/>
                </a:ext>
              </a:extLst>
            </p:cNvPr>
            <p:cNvSpPr/>
            <p:nvPr/>
          </p:nvSpPr>
          <p:spPr bwMode="auto">
            <a:xfrm>
              <a:off x="7495582" y="2617501"/>
              <a:ext cx="161599" cy="160193"/>
            </a:xfrm>
            <a:custGeom>
              <a:avLst/>
              <a:gdLst>
                <a:gd name="T0" fmla="*/ 103 w 103"/>
                <a:gd name="T1" fmla="*/ 0 h 102"/>
                <a:gd name="T2" fmla="*/ 0 w 103"/>
                <a:gd name="T3" fmla="*/ 0 h 102"/>
                <a:gd name="T4" fmla="*/ 0 w 103"/>
                <a:gd name="T5" fmla="*/ 71 h 102"/>
                <a:gd name="T6" fmla="*/ 15 w 103"/>
                <a:gd name="T7" fmla="*/ 102 h 102"/>
                <a:gd name="T8" fmla="*/ 103 w 103"/>
                <a:gd name="T9" fmla="*/ 102 h 102"/>
                <a:gd name="T10" fmla="*/ 103 w 103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81"/>
                    <a:pt x="11" y="92"/>
                    <a:pt x="15" y="102"/>
                  </a:cubicBezTo>
                  <a:cubicBezTo>
                    <a:pt x="103" y="102"/>
                    <a:pt x="103" y="102"/>
                    <a:pt x="103" y="102"/>
                  </a:cubicBezTo>
                  <a:cubicBezTo>
                    <a:pt x="103" y="0"/>
                    <a:pt x="103" y="0"/>
                    <a:pt x="103" y="0"/>
                  </a:cubicBezTo>
                </a:path>
              </a:pathLst>
            </a:cu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ṡ1ïdè">
              <a:extLst>
                <a:ext uri="{FF2B5EF4-FFF2-40B4-BE49-F238E27FC236}">
                  <a16:creationId xmlns:a16="http://schemas.microsoft.com/office/drawing/2014/main" id="{8E3CDF4F-BB50-4E41-B21A-A7E34ADB5C1F}"/>
                </a:ext>
              </a:extLst>
            </p:cNvPr>
            <p:cNvSpPr/>
            <p:nvPr/>
          </p:nvSpPr>
          <p:spPr bwMode="auto">
            <a:xfrm>
              <a:off x="7716200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íşlíḋé">
              <a:extLst>
                <a:ext uri="{FF2B5EF4-FFF2-40B4-BE49-F238E27FC236}">
                  <a16:creationId xmlns:a16="http://schemas.microsoft.com/office/drawing/2014/main" id="{FF08928C-D7D4-4656-8390-693D22C21E5A}"/>
                </a:ext>
              </a:extLst>
            </p:cNvPr>
            <p:cNvSpPr/>
            <p:nvPr/>
          </p:nvSpPr>
          <p:spPr bwMode="auto">
            <a:xfrm>
              <a:off x="7716200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îṥľîḍe">
              <a:extLst>
                <a:ext uri="{FF2B5EF4-FFF2-40B4-BE49-F238E27FC236}">
                  <a16:creationId xmlns:a16="http://schemas.microsoft.com/office/drawing/2014/main" id="{282B1420-6311-43A5-A93B-161F87D50EDC}"/>
                </a:ext>
              </a:extLst>
            </p:cNvPr>
            <p:cNvSpPr/>
            <p:nvPr/>
          </p:nvSpPr>
          <p:spPr bwMode="auto">
            <a:xfrm>
              <a:off x="7934006" y="2617501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šļiḋè">
              <a:extLst>
                <a:ext uri="{FF2B5EF4-FFF2-40B4-BE49-F238E27FC236}">
                  <a16:creationId xmlns:a16="http://schemas.microsoft.com/office/drawing/2014/main" id="{F27686E6-8EC3-40FE-8456-56B893745462}"/>
                </a:ext>
              </a:extLst>
            </p:cNvPr>
            <p:cNvSpPr/>
            <p:nvPr/>
          </p:nvSpPr>
          <p:spPr bwMode="auto">
            <a:xfrm>
              <a:off x="7934006" y="2617501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ï$líḑe">
              <a:extLst>
                <a:ext uri="{FF2B5EF4-FFF2-40B4-BE49-F238E27FC236}">
                  <a16:creationId xmlns:a16="http://schemas.microsoft.com/office/drawing/2014/main" id="{CCDBF430-8BE5-49E4-815A-F27AAB245B4D}"/>
                </a:ext>
              </a:extLst>
            </p:cNvPr>
            <p:cNvSpPr/>
            <p:nvPr/>
          </p:nvSpPr>
          <p:spPr bwMode="auto">
            <a:xfrm>
              <a:off x="8154623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şļïďe">
              <a:extLst>
                <a:ext uri="{FF2B5EF4-FFF2-40B4-BE49-F238E27FC236}">
                  <a16:creationId xmlns:a16="http://schemas.microsoft.com/office/drawing/2014/main" id="{DB9335EB-9FB4-4197-A240-651FFAE47B0E}"/>
                </a:ext>
              </a:extLst>
            </p:cNvPr>
            <p:cNvSpPr/>
            <p:nvPr/>
          </p:nvSpPr>
          <p:spPr bwMode="auto">
            <a:xfrm>
              <a:off x="8373834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ísļiḑe">
              <a:extLst>
                <a:ext uri="{FF2B5EF4-FFF2-40B4-BE49-F238E27FC236}">
                  <a16:creationId xmlns:a16="http://schemas.microsoft.com/office/drawing/2014/main" id="{AC9FAE60-61F3-4A7D-933F-639F8D18DC10}"/>
                </a:ext>
              </a:extLst>
            </p:cNvPr>
            <p:cNvSpPr/>
            <p:nvPr/>
          </p:nvSpPr>
          <p:spPr bwMode="auto">
            <a:xfrm>
              <a:off x="8594451" y="2617501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ṩḷiḋê">
              <a:extLst>
                <a:ext uri="{FF2B5EF4-FFF2-40B4-BE49-F238E27FC236}">
                  <a16:creationId xmlns:a16="http://schemas.microsoft.com/office/drawing/2014/main" id="{8EA29134-A344-482C-B6EC-E81BB4203F0C}"/>
                </a:ext>
              </a:extLst>
            </p:cNvPr>
            <p:cNvSpPr/>
            <p:nvPr/>
          </p:nvSpPr>
          <p:spPr bwMode="auto">
            <a:xfrm>
              <a:off x="3102919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Sļîďè">
              <a:extLst>
                <a:ext uri="{FF2B5EF4-FFF2-40B4-BE49-F238E27FC236}">
                  <a16:creationId xmlns:a16="http://schemas.microsoft.com/office/drawing/2014/main" id="{A6AFC169-0B8D-4EBF-9A0C-A82A3E978F1A}"/>
                </a:ext>
              </a:extLst>
            </p:cNvPr>
            <p:cNvSpPr/>
            <p:nvPr/>
          </p:nvSpPr>
          <p:spPr bwMode="auto">
            <a:xfrm>
              <a:off x="310291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îSlïdê">
              <a:extLst>
                <a:ext uri="{FF2B5EF4-FFF2-40B4-BE49-F238E27FC236}">
                  <a16:creationId xmlns:a16="http://schemas.microsoft.com/office/drawing/2014/main" id="{D975AA67-8E36-40E9-9754-62B4C879811B}"/>
                </a:ext>
              </a:extLst>
            </p:cNvPr>
            <p:cNvSpPr/>
            <p:nvPr/>
          </p:nvSpPr>
          <p:spPr bwMode="auto">
            <a:xfrm>
              <a:off x="3323536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ïsľïďè">
              <a:extLst>
                <a:ext uri="{FF2B5EF4-FFF2-40B4-BE49-F238E27FC236}">
                  <a16:creationId xmlns:a16="http://schemas.microsoft.com/office/drawing/2014/main" id="{363CCA1A-B1EC-4893-8927-1FE24EABF6D2}"/>
                </a:ext>
              </a:extLst>
            </p:cNvPr>
            <p:cNvSpPr/>
            <p:nvPr/>
          </p:nvSpPr>
          <p:spPr bwMode="auto">
            <a:xfrm>
              <a:off x="3323536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ṧļídè">
              <a:extLst>
                <a:ext uri="{FF2B5EF4-FFF2-40B4-BE49-F238E27FC236}">
                  <a16:creationId xmlns:a16="http://schemas.microsoft.com/office/drawing/2014/main" id="{6375BB5B-41B2-4DF6-85C7-7D45356F6C6E}"/>
                </a:ext>
              </a:extLst>
            </p:cNvPr>
            <p:cNvSpPr/>
            <p:nvPr/>
          </p:nvSpPr>
          <p:spPr bwMode="auto">
            <a:xfrm>
              <a:off x="3542748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ślîḍé">
              <a:extLst>
                <a:ext uri="{FF2B5EF4-FFF2-40B4-BE49-F238E27FC236}">
                  <a16:creationId xmlns:a16="http://schemas.microsoft.com/office/drawing/2014/main" id="{648FC652-6B31-44AB-AFEE-D2EBFD2338E2}"/>
                </a:ext>
              </a:extLst>
            </p:cNvPr>
            <p:cNvSpPr/>
            <p:nvPr/>
          </p:nvSpPr>
          <p:spPr bwMode="auto">
            <a:xfrm>
              <a:off x="3542748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îŝḻíḋè">
              <a:extLst>
                <a:ext uri="{FF2B5EF4-FFF2-40B4-BE49-F238E27FC236}">
                  <a16:creationId xmlns:a16="http://schemas.microsoft.com/office/drawing/2014/main" id="{39A76528-6EEA-443D-8349-542F8652FE14}"/>
                </a:ext>
              </a:extLst>
            </p:cNvPr>
            <p:cNvSpPr/>
            <p:nvPr/>
          </p:nvSpPr>
          <p:spPr bwMode="auto">
            <a:xfrm>
              <a:off x="3763364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îş1íḋê">
              <a:extLst>
                <a:ext uri="{FF2B5EF4-FFF2-40B4-BE49-F238E27FC236}">
                  <a16:creationId xmlns:a16="http://schemas.microsoft.com/office/drawing/2014/main" id="{18DF8173-443B-4863-A8F4-1926266793FB}"/>
                </a:ext>
              </a:extLst>
            </p:cNvPr>
            <p:cNvSpPr/>
            <p:nvPr/>
          </p:nvSpPr>
          <p:spPr bwMode="auto">
            <a:xfrm>
              <a:off x="3763364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ïŝ1ïdé">
              <a:extLst>
                <a:ext uri="{FF2B5EF4-FFF2-40B4-BE49-F238E27FC236}">
                  <a16:creationId xmlns:a16="http://schemas.microsoft.com/office/drawing/2014/main" id="{EDA37D70-B5FE-49FE-A3BC-CF9953BBD4B2}"/>
                </a:ext>
              </a:extLst>
            </p:cNvPr>
            <p:cNvSpPr/>
            <p:nvPr/>
          </p:nvSpPr>
          <p:spPr bwMode="auto">
            <a:xfrm>
              <a:off x="3981171" y="2822660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ṣļídé">
              <a:extLst>
                <a:ext uri="{FF2B5EF4-FFF2-40B4-BE49-F238E27FC236}">
                  <a16:creationId xmlns:a16="http://schemas.microsoft.com/office/drawing/2014/main" id="{6734DF3D-B679-421C-AA54-E14E6778F6D9}"/>
                </a:ext>
              </a:extLst>
            </p:cNvPr>
            <p:cNvSpPr/>
            <p:nvPr/>
          </p:nvSpPr>
          <p:spPr bwMode="auto">
            <a:xfrm>
              <a:off x="4201787" y="2822660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íšḻídé">
              <a:extLst>
                <a:ext uri="{FF2B5EF4-FFF2-40B4-BE49-F238E27FC236}">
                  <a16:creationId xmlns:a16="http://schemas.microsoft.com/office/drawing/2014/main" id="{2DF645EC-47A5-494B-922B-E0E93798BA00}"/>
                </a:ext>
              </a:extLst>
            </p:cNvPr>
            <p:cNvSpPr/>
            <p:nvPr/>
          </p:nvSpPr>
          <p:spPr bwMode="auto">
            <a:xfrm>
              <a:off x="4201787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isļíḋè">
              <a:extLst>
                <a:ext uri="{FF2B5EF4-FFF2-40B4-BE49-F238E27FC236}">
                  <a16:creationId xmlns:a16="http://schemas.microsoft.com/office/drawing/2014/main" id="{9876CFA7-921E-45AF-8942-AC8E44985D9F}"/>
                </a:ext>
              </a:extLst>
            </p:cNvPr>
            <p:cNvSpPr/>
            <p:nvPr/>
          </p:nvSpPr>
          <p:spPr bwMode="auto">
            <a:xfrm>
              <a:off x="4420999" y="2822660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ṣḻiḋê">
              <a:extLst>
                <a:ext uri="{FF2B5EF4-FFF2-40B4-BE49-F238E27FC236}">
                  <a16:creationId xmlns:a16="http://schemas.microsoft.com/office/drawing/2014/main" id="{FE9CBE52-1918-42CF-A774-6A8FDB71AFBA}"/>
                </a:ext>
              </a:extLst>
            </p:cNvPr>
            <p:cNvSpPr/>
            <p:nvPr/>
          </p:nvSpPr>
          <p:spPr bwMode="auto">
            <a:xfrm>
              <a:off x="442099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íṣļîḋè">
              <a:extLst>
                <a:ext uri="{FF2B5EF4-FFF2-40B4-BE49-F238E27FC236}">
                  <a16:creationId xmlns:a16="http://schemas.microsoft.com/office/drawing/2014/main" id="{7B30AD06-9F39-4530-A628-93DB21940126}"/>
                </a:ext>
              </a:extLst>
            </p:cNvPr>
            <p:cNvSpPr/>
            <p:nvPr/>
          </p:nvSpPr>
          <p:spPr bwMode="auto">
            <a:xfrm>
              <a:off x="4640211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ŝ1îďê">
              <a:extLst>
                <a:ext uri="{FF2B5EF4-FFF2-40B4-BE49-F238E27FC236}">
                  <a16:creationId xmlns:a16="http://schemas.microsoft.com/office/drawing/2014/main" id="{90054CEC-92BF-4A2C-9269-BF00BBC92181}"/>
                </a:ext>
              </a:extLst>
            </p:cNvPr>
            <p:cNvSpPr/>
            <p:nvPr/>
          </p:nvSpPr>
          <p:spPr bwMode="auto">
            <a:xfrm>
              <a:off x="4640211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isļídè">
              <a:extLst>
                <a:ext uri="{FF2B5EF4-FFF2-40B4-BE49-F238E27FC236}">
                  <a16:creationId xmlns:a16="http://schemas.microsoft.com/office/drawing/2014/main" id="{99B42CB9-BC53-4B14-8231-BCFE32B880BD}"/>
                </a:ext>
              </a:extLst>
            </p:cNvPr>
            <p:cNvSpPr/>
            <p:nvPr/>
          </p:nvSpPr>
          <p:spPr bwMode="auto">
            <a:xfrm>
              <a:off x="4860828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íṡḷíde">
              <a:extLst>
                <a:ext uri="{FF2B5EF4-FFF2-40B4-BE49-F238E27FC236}">
                  <a16:creationId xmlns:a16="http://schemas.microsoft.com/office/drawing/2014/main" id="{4B2A2074-83D7-45E9-956A-0BD90F18ED97}"/>
                </a:ext>
              </a:extLst>
            </p:cNvPr>
            <p:cNvSpPr/>
            <p:nvPr/>
          </p:nvSpPr>
          <p:spPr bwMode="auto">
            <a:xfrm>
              <a:off x="4860828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íṥľîďé">
              <a:extLst>
                <a:ext uri="{FF2B5EF4-FFF2-40B4-BE49-F238E27FC236}">
                  <a16:creationId xmlns:a16="http://schemas.microsoft.com/office/drawing/2014/main" id="{293510F8-0B16-4F97-BF44-D292211FFE79}"/>
                </a:ext>
              </a:extLst>
            </p:cNvPr>
            <p:cNvSpPr/>
            <p:nvPr/>
          </p:nvSpPr>
          <p:spPr bwMode="auto">
            <a:xfrm>
              <a:off x="5080039" y="2822660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îṥľîdé">
              <a:extLst>
                <a:ext uri="{FF2B5EF4-FFF2-40B4-BE49-F238E27FC236}">
                  <a16:creationId xmlns:a16="http://schemas.microsoft.com/office/drawing/2014/main" id="{0C351FC9-CFF8-42ED-AEFF-E42E64FFF63C}"/>
                </a:ext>
              </a:extLst>
            </p:cNvPr>
            <p:cNvSpPr/>
            <p:nvPr/>
          </p:nvSpPr>
          <p:spPr bwMode="auto">
            <a:xfrm>
              <a:off x="508003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ïṣļîdè">
              <a:extLst>
                <a:ext uri="{FF2B5EF4-FFF2-40B4-BE49-F238E27FC236}">
                  <a16:creationId xmlns:a16="http://schemas.microsoft.com/office/drawing/2014/main" id="{206F3045-4495-4ABF-BAEA-1C24D87AC88F}"/>
                </a:ext>
              </a:extLst>
            </p:cNvPr>
            <p:cNvSpPr/>
            <p:nvPr/>
          </p:nvSpPr>
          <p:spPr bwMode="auto">
            <a:xfrm>
              <a:off x="5299251" y="2822660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íṩlïḋe">
              <a:extLst>
                <a:ext uri="{FF2B5EF4-FFF2-40B4-BE49-F238E27FC236}">
                  <a16:creationId xmlns:a16="http://schemas.microsoft.com/office/drawing/2014/main" id="{7C571445-9201-49FF-9B3E-7ECC9D09EA11}"/>
                </a:ext>
              </a:extLst>
            </p:cNvPr>
            <p:cNvSpPr/>
            <p:nvPr/>
          </p:nvSpPr>
          <p:spPr bwMode="auto">
            <a:xfrm>
              <a:off x="5299251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ïṩļíḑê">
              <a:extLst>
                <a:ext uri="{FF2B5EF4-FFF2-40B4-BE49-F238E27FC236}">
                  <a16:creationId xmlns:a16="http://schemas.microsoft.com/office/drawing/2014/main" id="{D5FDBC67-0AF7-4E88-A48B-BDA058E9B49D}"/>
                </a:ext>
              </a:extLst>
            </p:cNvPr>
            <p:cNvSpPr/>
            <p:nvPr/>
          </p:nvSpPr>
          <p:spPr bwMode="auto">
            <a:xfrm>
              <a:off x="5518463" y="2822660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išľíḍê">
              <a:extLst>
                <a:ext uri="{FF2B5EF4-FFF2-40B4-BE49-F238E27FC236}">
                  <a16:creationId xmlns:a16="http://schemas.microsoft.com/office/drawing/2014/main" id="{07217F69-96C1-4A1D-BB27-F383DD9BAD6C}"/>
                </a:ext>
              </a:extLst>
            </p:cNvPr>
            <p:cNvSpPr/>
            <p:nvPr/>
          </p:nvSpPr>
          <p:spPr bwMode="auto">
            <a:xfrm>
              <a:off x="5739079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ïṣḷîďè">
              <a:extLst>
                <a:ext uri="{FF2B5EF4-FFF2-40B4-BE49-F238E27FC236}">
                  <a16:creationId xmlns:a16="http://schemas.microsoft.com/office/drawing/2014/main" id="{E0162AD6-AF1C-4C2E-9933-B1C8BBCA91D1}"/>
                </a:ext>
              </a:extLst>
            </p:cNvPr>
            <p:cNvSpPr/>
            <p:nvPr/>
          </p:nvSpPr>
          <p:spPr bwMode="auto">
            <a:xfrm>
              <a:off x="573907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íṣ1iḑè">
              <a:extLst>
                <a:ext uri="{FF2B5EF4-FFF2-40B4-BE49-F238E27FC236}">
                  <a16:creationId xmlns:a16="http://schemas.microsoft.com/office/drawing/2014/main" id="{A4D1CFE0-9405-47C1-8F87-FDA5992D6940}"/>
                </a:ext>
              </a:extLst>
            </p:cNvPr>
            <p:cNvSpPr/>
            <p:nvPr/>
          </p:nvSpPr>
          <p:spPr bwMode="auto">
            <a:xfrm>
              <a:off x="5958291" y="2822660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ïşľíďé">
              <a:extLst>
                <a:ext uri="{FF2B5EF4-FFF2-40B4-BE49-F238E27FC236}">
                  <a16:creationId xmlns:a16="http://schemas.microsoft.com/office/drawing/2014/main" id="{7D951AE5-AB25-46ED-B3E2-7C6E966AA873}"/>
                </a:ext>
              </a:extLst>
            </p:cNvPr>
            <p:cNvSpPr/>
            <p:nvPr/>
          </p:nvSpPr>
          <p:spPr bwMode="auto">
            <a:xfrm>
              <a:off x="5958291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ïṥlíḓè">
              <a:extLst>
                <a:ext uri="{FF2B5EF4-FFF2-40B4-BE49-F238E27FC236}">
                  <a16:creationId xmlns:a16="http://schemas.microsoft.com/office/drawing/2014/main" id="{536C4813-80E0-42AC-9930-3402D545E181}"/>
                </a:ext>
              </a:extLst>
            </p:cNvPr>
            <p:cNvSpPr/>
            <p:nvPr/>
          </p:nvSpPr>
          <p:spPr bwMode="auto">
            <a:xfrm>
              <a:off x="6178908" y="2822660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ïś1îḍe">
              <a:extLst>
                <a:ext uri="{FF2B5EF4-FFF2-40B4-BE49-F238E27FC236}">
                  <a16:creationId xmlns:a16="http://schemas.microsoft.com/office/drawing/2014/main" id="{DA7BC164-CF62-46C7-AD28-D29AC7619731}"/>
                </a:ext>
              </a:extLst>
            </p:cNvPr>
            <p:cNvSpPr/>
            <p:nvPr/>
          </p:nvSpPr>
          <p:spPr bwMode="auto">
            <a:xfrm>
              <a:off x="6178908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iṩlîḑè">
              <a:extLst>
                <a:ext uri="{FF2B5EF4-FFF2-40B4-BE49-F238E27FC236}">
                  <a16:creationId xmlns:a16="http://schemas.microsoft.com/office/drawing/2014/main" id="{0E3AF56B-240F-469A-9C64-2B28C908BB86}"/>
                </a:ext>
              </a:extLst>
            </p:cNvPr>
            <p:cNvSpPr/>
            <p:nvPr/>
          </p:nvSpPr>
          <p:spPr bwMode="auto">
            <a:xfrm>
              <a:off x="6398120" y="2822660"/>
              <a:ext cx="139116" cy="160193"/>
            </a:xfrm>
            <a:custGeom>
              <a:avLst/>
              <a:gdLst>
                <a:gd name="T0" fmla="*/ 89 w 89"/>
                <a:gd name="T1" fmla="*/ 0 h 102"/>
                <a:gd name="T2" fmla="*/ 0 w 89"/>
                <a:gd name="T3" fmla="*/ 0 h 102"/>
                <a:gd name="T4" fmla="*/ 0 w 89"/>
                <a:gd name="T5" fmla="*/ 102 h 102"/>
                <a:gd name="T6" fmla="*/ 40 w 89"/>
                <a:gd name="T7" fmla="*/ 102 h 102"/>
                <a:gd name="T8" fmla="*/ 66 w 89"/>
                <a:gd name="T9" fmla="*/ 66 h 102"/>
                <a:gd name="T10" fmla="*/ 89 w 89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102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49" y="90"/>
                    <a:pt x="59" y="79"/>
                    <a:pt x="66" y="66"/>
                  </a:cubicBezTo>
                  <a:cubicBezTo>
                    <a:pt x="78" y="46"/>
                    <a:pt x="84" y="23"/>
                    <a:pt x="89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îṧľïḍé">
              <a:extLst>
                <a:ext uri="{FF2B5EF4-FFF2-40B4-BE49-F238E27FC236}">
                  <a16:creationId xmlns:a16="http://schemas.microsoft.com/office/drawing/2014/main" id="{0677E645-CF89-42B0-B15A-78DE3D2762DC}"/>
                </a:ext>
              </a:extLst>
            </p:cNvPr>
            <p:cNvSpPr/>
            <p:nvPr/>
          </p:nvSpPr>
          <p:spPr bwMode="auto">
            <a:xfrm>
              <a:off x="7536334" y="2822660"/>
              <a:ext cx="120847" cy="160193"/>
            </a:xfrm>
            <a:custGeom>
              <a:avLst/>
              <a:gdLst>
                <a:gd name="T0" fmla="*/ 77 w 77"/>
                <a:gd name="T1" fmla="*/ 0 h 102"/>
                <a:gd name="T2" fmla="*/ 0 w 77"/>
                <a:gd name="T3" fmla="*/ 0 h 102"/>
                <a:gd name="T4" fmla="*/ 21 w 77"/>
                <a:gd name="T5" fmla="*/ 102 h 102"/>
                <a:gd name="T6" fmla="*/ 77 w 77"/>
                <a:gd name="T7" fmla="*/ 102 h 102"/>
                <a:gd name="T8" fmla="*/ 77 w 77"/>
                <a:gd name="T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02">
                  <a:moveTo>
                    <a:pt x="7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33"/>
                    <a:pt x="18" y="67"/>
                    <a:pt x="21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0"/>
                    <a:pt x="77" y="0"/>
                    <a:pt x="77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išḻiḑé">
              <a:extLst>
                <a:ext uri="{FF2B5EF4-FFF2-40B4-BE49-F238E27FC236}">
                  <a16:creationId xmlns:a16="http://schemas.microsoft.com/office/drawing/2014/main" id="{6030B5DD-E79A-4427-A132-B01FC022DC38}"/>
                </a:ext>
              </a:extLst>
            </p:cNvPr>
            <p:cNvSpPr/>
            <p:nvPr/>
          </p:nvSpPr>
          <p:spPr bwMode="auto">
            <a:xfrm>
              <a:off x="7716200" y="2822660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íŝḻïḑê">
              <a:extLst>
                <a:ext uri="{FF2B5EF4-FFF2-40B4-BE49-F238E27FC236}">
                  <a16:creationId xmlns:a16="http://schemas.microsoft.com/office/drawing/2014/main" id="{54D5078E-4906-4822-84A0-6D80AA592A8A}"/>
                </a:ext>
              </a:extLst>
            </p:cNvPr>
            <p:cNvSpPr/>
            <p:nvPr/>
          </p:nvSpPr>
          <p:spPr bwMode="auto">
            <a:xfrm>
              <a:off x="7716200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îṣḻíḓé">
              <a:extLst>
                <a:ext uri="{FF2B5EF4-FFF2-40B4-BE49-F238E27FC236}">
                  <a16:creationId xmlns:a16="http://schemas.microsoft.com/office/drawing/2014/main" id="{20DC1BCB-7EF3-4300-A239-C4D340D8BC62}"/>
                </a:ext>
              </a:extLst>
            </p:cNvPr>
            <p:cNvSpPr/>
            <p:nvPr/>
          </p:nvSpPr>
          <p:spPr bwMode="auto">
            <a:xfrm>
              <a:off x="7934006" y="2822660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íṧlïde">
              <a:extLst>
                <a:ext uri="{FF2B5EF4-FFF2-40B4-BE49-F238E27FC236}">
                  <a16:creationId xmlns:a16="http://schemas.microsoft.com/office/drawing/2014/main" id="{80FC8081-9062-47BF-99AC-B0B1923B3A16}"/>
                </a:ext>
              </a:extLst>
            </p:cNvPr>
            <p:cNvSpPr/>
            <p:nvPr/>
          </p:nvSpPr>
          <p:spPr bwMode="auto">
            <a:xfrm>
              <a:off x="7934006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i$ľïďe">
              <a:extLst>
                <a:ext uri="{FF2B5EF4-FFF2-40B4-BE49-F238E27FC236}">
                  <a16:creationId xmlns:a16="http://schemas.microsoft.com/office/drawing/2014/main" id="{668AF124-F76B-4B2E-B78E-E24208701318}"/>
                </a:ext>
              </a:extLst>
            </p:cNvPr>
            <p:cNvSpPr/>
            <p:nvPr/>
          </p:nvSpPr>
          <p:spPr bwMode="auto">
            <a:xfrm>
              <a:off x="8154623" y="2822660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íSlîḋê">
              <a:extLst>
                <a:ext uri="{FF2B5EF4-FFF2-40B4-BE49-F238E27FC236}">
                  <a16:creationId xmlns:a16="http://schemas.microsoft.com/office/drawing/2014/main" id="{7F822E82-DCA3-41BA-94B1-65495F3D3B19}"/>
                </a:ext>
              </a:extLst>
            </p:cNvPr>
            <p:cNvSpPr/>
            <p:nvPr/>
          </p:nvSpPr>
          <p:spPr bwMode="auto">
            <a:xfrm>
              <a:off x="8154623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îṧḷídé">
              <a:extLst>
                <a:ext uri="{FF2B5EF4-FFF2-40B4-BE49-F238E27FC236}">
                  <a16:creationId xmlns:a16="http://schemas.microsoft.com/office/drawing/2014/main" id="{EDBB638D-4E6E-48C7-A648-ABE720E43DC8}"/>
                </a:ext>
              </a:extLst>
            </p:cNvPr>
            <p:cNvSpPr/>
            <p:nvPr/>
          </p:nvSpPr>
          <p:spPr bwMode="auto">
            <a:xfrm>
              <a:off x="8373834" y="2822660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í$ḷídê">
              <a:extLst>
                <a:ext uri="{FF2B5EF4-FFF2-40B4-BE49-F238E27FC236}">
                  <a16:creationId xmlns:a16="http://schemas.microsoft.com/office/drawing/2014/main" id="{93DC4605-F0A2-4E5D-A041-1D5BEE9E03FB}"/>
                </a:ext>
              </a:extLst>
            </p:cNvPr>
            <p:cNvSpPr/>
            <p:nvPr/>
          </p:nvSpPr>
          <p:spPr bwMode="auto">
            <a:xfrm>
              <a:off x="8373834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î$1ïḑé">
              <a:extLst>
                <a:ext uri="{FF2B5EF4-FFF2-40B4-BE49-F238E27FC236}">
                  <a16:creationId xmlns:a16="http://schemas.microsoft.com/office/drawing/2014/main" id="{A0F76D27-FE80-4761-8D36-9501E0A6C170}"/>
                </a:ext>
              </a:extLst>
            </p:cNvPr>
            <p:cNvSpPr/>
            <p:nvPr/>
          </p:nvSpPr>
          <p:spPr bwMode="auto">
            <a:xfrm>
              <a:off x="8594451" y="2822660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íśḷïďè">
              <a:extLst>
                <a:ext uri="{FF2B5EF4-FFF2-40B4-BE49-F238E27FC236}">
                  <a16:creationId xmlns:a16="http://schemas.microsoft.com/office/drawing/2014/main" id="{86EE0BB6-DCFE-43EC-9317-CBF3D07D4477}"/>
                </a:ext>
              </a:extLst>
            </p:cNvPr>
            <p:cNvSpPr/>
            <p:nvPr/>
          </p:nvSpPr>
          <p:spPr bwMode="auto">
            <a:xfrm>
              <a:off x="3102919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iṣḻïḑé">
              <a:extLst>
                <a:ext uri="{FF2B5EF4-FFF2-40B4-BE49-F238E27FC236}">
                  <a16:creationId xmlns:a16="http://schemas.microsoft.com/office/drawing/2014/main" id="{E6CB5D52-E728-424E-9E8E-B9A585EC187D}"/>
                </a:ext>
              </a:extLst>
            </p:cNvPr>
            <p:cNvSpPr/>
            <p:nvPr/>
          </p:nvSpPr>
          <p:spPr bwMode="auto">
            <a:xfrm>
              <a:off x="3102919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îşľiḓê">
              <a:extLst>
                <a:ext uri="{FF2B5EF4-FFF2-40B4-BE49-F238E27FC236}">
                  <a16:creationId xmlns:a16="http://schemas.microsoft.com/office/drawing/2014/main" id="{4EF2E616-D4D5-4B89-B715-271684C2C239}"/>
                </a:ext>
              </a:extLst>
            </p:cNvPr>
            <p:cNvSpPr/>
            <p:nvPr/>
          </p:nvSpPr>
          <p:spPr bwMode="auto">
            <a:xfrm>
              <a:off x="3323536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šḷîḑê">
              <a:extLst>
                <a:ext uri="{FF2B5EF4-FFF2-40B4-BE49-F238E27FC236}">
                  <a16:creationId xmlns:a16="http://schemas.microsoft.com/office/drawing/2014/main" id="{D15B6916-98BC-48CE-9DD8-E0D445ACA5CF}"/>
                </a:ext>
              </a:extLst>
            </p:cNvPr>
            <p:cNvSpPr/>
            <p:nvPr/>
          </p:nvSpPr>
          <p:spPr bwMode="auto">
            <a:xfrm>
              <a:off x="3323536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íṧ1îḍé">
              <a:extLst>
                <a:ext uri="{FF2B5EF4-FFF2-40B4-BE49-F238E27FC236}">
                  <a16:creationId xmlns:a16="http://schemas.microsoft.com/office/drawing/2014/main" id="{4849DA19-6991-440E-8930-2CD21BA26CD9}"/>
                </a:ext>
              </a:extLst>
            </p:cNvPr>
            <p:cNvSpPr/>
            <p:nvPr/>
          </p:nvSpPr>
          <p:spPr bwMode="auto">
            <a:xfrm>
              <a:off x="3542748" y="3025009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iṩļîḋe">
              <a:extLst>
                <a:ext uri="{FF2B5EF4-FFF2-40B4-BE49-F238E27FC236}">
                  <a16:creationId xmlns:a16="http://schemas.microsoft.com/office/drawing/2014/main" id="{9E696678-A4B2-494B-8C2E-E64F6CE76540}"/>
                </a:ext>
              </a:extLst>
            </p:cNvPr>
            <p:cNvSpPr/>
            <p:nvPr/>
          </p:nvSpPr>
          <p:spPr bwMode="auto">
            <a:xfrm>
              <a:off x="3542748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iṧḷíḍè">
              <a:extLst>
                <a:ext uri="{FF2B5EF4-FFF2-40B4-BE49-F238E27FC236}">
                  <a16:creationId xmlns:a16="http://schemas.microsoft.com/office/drawing/2014/main" id="{68642B4A-2489-4D8C-8448-17265DCB7D45}"/>
                </a:ext>
              </a:extLst>
            </p:cNvPr>
            <p:cNvSpPr/>
            <p:nvPr/>
          </p:nvSpPr>
          <p:spPr bwMode="auto">
            <a:xfrm>
              <a:off x="3763364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ïṥḷíḓe">
              <a:extLst>
                <a:ext uri="{FF2B5EF4-FFF2-40B4-BE49-F238E27FC236}">
                  <a16:creationId xmlns:a16="http://schemas.microsoft.com/office/drawing/2014/main" id="{EA44B86B-C560-4769-993B-A0E4C75B6ECA}"/>
                </a:ext>
              </a:extLst>
            </p:cNvPr>
            <p:cNvSpPr/>
            <p:nvPr/>
          </p:nvSpPr>
          <p:spPr bwMode="auto">
            <a:xfrm>
              <a:off x="3763364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íṩľiďé">
              <a:extLst>
                <a:ext uri="{FF2B5EF4-FFF2-40B4-BE49-F238E27FC236}">
                  <a16:creationId xmlns:a16="http://schemas.microsoft.com/office/drawing/2014/main" id="{14D8E37D-8733-4358-9132-BA1A08A96F0B}"/>
                </a:ext>
              </a:extLst>
            </p:cNvPr>
            <p:cNvSpPr/>
            <p:nvPr/>
          </p:nvSpPr>
          <p:spPr bwMode="auto">
            <a:xfrm>
              <a:off x="3981171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ïşḷiḑe">
              <a:extLst>
                <a:ext uri="{FF2B5EF4-FFF2-40B4-BE49-F238E27FC236}">
                  <a16:creationId xmlns:a16="http://schemas.microsoft.com/office/drawing/2014/main" id="{DE204ABB-C48C-4E4B-A6E4-F021EDFCD144}"/>
                </a:ext>
              </a:extLst>
            </p:cNvPr>
            <p:cNvSpPr/>
            <p:nvPr/>
          </p:nvSpPr>
          <p:spPr bwMode="auto">
            <a:xfrm>
              <a:off x="3981171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íṩlíḓe">
              <a:extLst>
                <a:ext uri="{FF2B5EF4-FFF2-40B4-BE49-F238E27FC236}">
                  <a16:creationId xmlns:a16="http://schemas.microsoft.com/office/drawing/2014/main" id="{993108FC-AC6E-43FF-9AC2-BE59467F1AA9}"/>
                </a:ext>
              </a:extLst>
            </p:cNvPr>
            <p:cNvSpPr/>
            <p:nvPr/>
          </p:nvSpPr>
          <p:spPr bwMode="auto">
            <a:xfrm>
              <a:off x="4201787" y="3025009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iSḷídê">
              <a:extLst>
                <a:ext uri="{FF2B5EF4-FFF2-40B4-BE49-F238E27FC236}">
                  <a16:creationId xmlns:a16="http://schemas.microsoft.com/office/drawing/2014/main" id="{B584F0C8-6C2B-4175-B515-7A8634B73526}"/>
                </a:ext>
              </a:extLst>
            </p:cNvPr>
            <p:cNvSpPr/>
            <p:nvPr/>
          </p:nvSpPr>
          <p:spPr bwMode="auto">
            <a:xfrm>
              <a:off x="4201787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iṡľiḓe">
              <a:extLst>
                <a:ext uri="{FF2B5EF4-FFF2-40B4-BE49-F238E27FC236}">
                  <a16:creationId xmlns:a16="http://schemas.microsoft.com/office/drawing/2014/main" id="{FE61FBD1-263F-4749-8EDA-CFE48612E8AD}"/>
                </a:ext>
              </a:extLst>
            </p:cNvPr>
            <p:cNvSpPr/>
            <p:nvPr/>
          </p:nvSpPr>
          <p:spPr bwMode="auto">
            <a:xfrm>
              <a:off x="4420999" y="3025009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Sḻïdê">
              <a:extLst>
                <a:ext uri="{FF2B5EF4-FFF2-40B4-BE49-F238E27FC236}">
                  <a16:creationId xmlns:a16="http://schemas.microsoft.com/office/drawing/2014/main" id="{386D7D4D-78E3-406E-BA84-07ED653AC515}"/>
                </a:ext>
              </a:extLst>
            </p:cNvPr>
            <p:cNvSpPr/>
            <p:nvPr/>
          </p:nvSpPr>
          <p:spPr bwMode="auto">
            <a:xfrm>
              <a:off x="4420999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iṧļïḓè">
              <a:extLst>
                <a:ext uri="{FF2B5EF4-FFF2-40B4-BE49-F238E27FC236}">
                  <a16:creationId xmlns:a16="http://schemas.microsoft.com/office/drawing/2014/main" id="{0CDC157C-EDED-4FB4-89CD-58C65F5ED909}"/>
                </a:ext>
              </a:extLst>
            </p:cNvPr>
            <p:cNvSpPr/>
            <p:nvPr/>
          </p:nvSpPr>
          <p:spPr bwMode="auto">
            <a:xfrm>
              <a:off x="4640211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íSlîdê">
              <a:extLst>
                <a:ext uri="{FF2B5EF4-FFF2-40B4-BE49-F238E27FC236}">
                  <a16:creationId xmlns:a16="http://schemas.microsoft.com/office/drawing/2014/main" id="{A85ECF1B-38E2-4751-B1FC-351327922BF5}"/>
                </a:ext>
              </a:extLst>
            </p:cNvPr>
            <p:cNvSpPr/>
            <p:nvPr/>
          </p:nvSpPr>
          <p:spPr bwMode="auto">
            <a:xfrm>
              <a:off x="4640211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íṥḷîḋê">
              <a:extLst>
                <a:ext uri="{FF2B5EF4-FFF2-40B4-BE49-F238E27FC236}">
                  <a16:creationId xmlns:a16="http://schemas.microsoft.com/office/drawing/2014/main" id="{2F9EB00F-5D4A-4C51-BCAC-C3A2922A152B}"/>
                </a:ext>
              </a:extLst>
            </p:cNvPr>
            <p:cNvSpPr/>
            <p:nvPr/>
          </p:nvSpPr>
          <p:spPr bwMode="auto">
            <a:xfrm>
              <a:off x="4860828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ísľídè">
              <a:extLst>
                <a:ext uri="{FF2B5EF4-FFF2-40B4-BE49-F238E27FC236}">
                  <a16:creationId xmlns:a16="http://schemas.microsoft.com/office/drawing/2014/main" id="{C84E65FB-2B46-4510-AB2C-007B3FC0B63D}"/>
                </a:ext>
              </a:extLst>
            </p:cNvPr>
            <p:cNvSpPr/>
            <p:nvPr/>
          </p:nvSpPr>
          <p:spPr bwMode="auto">
            <a:xfrm>
              <a:off x="4860828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iṣlîďé">
              <a:extLst>
                <a:ext uri="{FF2B5EF4-FFF2-40B4-BE49-F238E27FC236}">
                  <a16:creationId xmlns:a16="http://schemas.microsoft.com/office/drawing/2014/main" id="{89781ADA-AC64-49C8-8772-17A539027CE7}"/>
                </a:ext>
              </a:extLst>
            </p:cNvPr>
            <p:cNvSpPr/>
            <p:nvPr/>
          </p:nvSpPr>
          <p:spPr bwMode="auto">
            <a:xfrm>
              <a:off x="5080039" y="3025009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íṥľidê">
              <a:extLst>
                <a:ext uri="{FF2B5EF4-FFF2-40B4-BE49-F238E27FC236}">
                  <a16:creationId xmlns:a16="http://schemas.microsoft.com/office/drawing/2014/main" id="{B3C21E68-AB41-4B28-AA08-A34BFE3BA62E}"/>
                </a:ext>
              </a:extLst>
            </p:cNvPr>
            <p:cNvSpPr/>
            <p:nvPr/>
          </p:nvSpPr>
          <p:spPr bwMode="auto">
            <a:xfrm>
              <a:off x="5080039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í$lîde">
              <a:extLst>
                <a:ext uri="{FF2B5EF4-FFF2-40B4-BE49-F238E27FC236}">
                  <a16:creationId xmlns:a16="http://schemas.microsoft.com/office/drawing/2014/main" id="{807903A3-0D83-4390-8B5F-DCDF69845B7D}"/>
                </a:ext>
              </a:extLst>
            </p:cNvPr>
            <p:cNvSpPr/>
            <p:nvPr/>
          </p:nvSpPr>
          <p:spPr bwMode="auto">
            <a:xfrm>
              <a:off x="5299251" y="3025009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îṥlîďe">
              <a:extLst>
                <a:ext uri="{FF2B5EF4-FFF2-40B4-BE49-F238E27FC236}">
                  <a16:creationId xmlns:a16="http://schemas.microsoft.com/office/drawing/2014/main" id="{35FCB1D7-E979-49B4-9B23-396D3628397F}"/>
                </a:ext>
              </a:extLst>
            </p:cNvPr>
            <p:cNvSpPr/>
            <p:nvPr/>
          </p:nvSpPr>
          <p:spPr bwMode="auto">
            <a:xfrm>
              <a:off x="5518463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iṩḷiḍe">
              <a:extLst>
                <a:ext uri="{FF2B5EF4-FFF2-40B4-BE49-F238E27FC236}">
                  <a16:creationId xmlns:a16="http://schemas.microsoft.com/office/drawing/2014/main" id="{147916B6-686F-4D03-A42F-6EBECD08B365}"/>
                </a:ext>
              </a:extLst>
            </p:cNvPr>
            <p:cNvSpPr/>
            <p:nvPr/>
          </p:nvSpPr>
          <p:spPr bwMode="auto">
            <a:xfrm>
              <a:off x="5518463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îṣḷiḑe">
              <a:extLst>
                <a:ext uri="{FF2B5EF4-FFF2-40B4-BE49-F238E27FC236}">
                  <a16:creationId xmlns:a16="http://schemas.microsoft.com/office/drawing/2014/main" id="{BFF271CD-3840-45D9-A57E-E49E10C8E673}"/>
                </a:ext>
              </a:extLst>
            </p:cNvPr>
            <p:cNvSpPr/>
            <p:nvPr/>
          </p:nvSpPr>
          <p:spPr bwMode="auto">
            <a:xfrm>
              <a:off x="5739079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iṣ1îḋé">
              <a:extLst>
                <a:ext uri="{FF2B5EF4-FFF2-40B4-BE49-F238E27FC236}">
                  <a16:creationId xmlns:a16="http://schemas.microsoft.com/office/drawing/2014/main" id="{3F9B6FDE-739A-4FC1-B97B-260F92D81056}"/>
                </a:ext>
              </a:extLst>
            </p:cNvPr>
            <p:cNvSpPr/>
            <p:nvPr/>
          </p:nvSpPr>
          <p:spPr bwMode="auto">
            <a:xfrm>
              <a:off x="5958291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îsľïdê">
              <a:extLst>
                <a:ext uri="{FF2B5EF4-FFF2-40B4-BE49-F238E27FC236}">
                  <a16:creationId xmlns:a16="http://schemas.microsoft.com/office/drawing/2014/main" id="{E2C23BC6-2553-4473-AF60-A6D111F81ABF}"/>
                </a:ext>
              </a:extLst>
            </p:cNvPr>
            <p:cNvSpPr/>
            <p:nvPr/>
          </p:nvSpPr>
          <p:spPr bwMode="auto">
            <a:xfrm>
              <a:off x="6178908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îşḻíḓé">
              <a:extLst>
                <a:ext uri="{FF2B5EF4-FFF2-40B4-BE49-F238E27FC236}">
                  <a16:creationId xmlns:a16="http://schemas.microsoft.com/office/drawing/2014/main" id="{0F1C6536-19F9-4767-AA4E-AB62E3F07432}"/>
                </a:ext>
              </a:extLst>
            </p:cNvPr>
            <p:cNvSpPr/>
            <p:nvPr/>
          </p:nvSpPr>
          <p:spPr bwMode="auto">
            <a:xfrm>
              <a:off x="6398120" y="3025009"/>
              <a:ext cx="26699" cy="42156"/>
            </a:xfrm>
            <a:custGeom>
              <a:avLst/>
              <a:gdLst>
                <a:gd name="T0" fmla="*/ 17 w 17"/>
                <a:gd name="T1" fmla="*/ 0 h 27"/>
                <a:gd name="T2" fmla="*/ 0 w 17"/>
                <a:gd name="T3" fmla="*/ 0 h 27"/>
                <a:gd name="T4" fmla="*/ 0 w 17"/>
                <a:gd name="T5" fmla="*/ 27 h 27"/>
                <a:gd name="T6" fmla="*/ 17 w 17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7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17"/>
                    <a:pt x="10" y="8"/>
                    <a:pt x="17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iŝḷiḍè">
              <a:extLst>
                <a:ext uri="{FF2B5EF4-FFF2-40B4-BE49-F238E27FC236}">
                  <a16:creationId xmlns:a16="http://schemas.microsoft.com/office/drawing/2014/main" id="{E80B54E0-CF16-474F-98C0-CAB77660EB86}"/>
                </a:ext>
              </a:extLst>
            </p:cNvPr>
            <p:cNvSpPr/>
            <p:nvPr/>
          </p:nvSpPr>
          <p:spPr bwMode="auto">
            <a:xfrm>
              <a:off x="6618736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îslíḓè">
              <a:extLst>
                <a:ext uri="{FF2B5EF4-FFF2-40B4-BE49-F238E27FC236}">
                  <a16:creationId xmlns:a16="http://schemas.microsoft.com/office/drawing/2014/main" id="{EAB18C85-3FAE-4258-AC95-04A85E97F9F6}"/>
                </a:ext>
              </a:extLst>
            </p:cNvPr>
            <p:cNvSpPr/>
            <p:nvPr/>
          </p:nvSpPr>
          <p:spPr bwMode="auto">
            <a:xfrm>
              <a:off x="6618736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iṡļiḑè">
              <a:extLst>
                <a:ext uri="{FF2B5EF4-FFF2-40B4-BE49-F238E27FC236}">
                  <a16:creationId xmlns:a16="http://schemas.microsoft.com/office/drawing/2014/main" id="{E45CB8A2-7F75-4526-A917-B40C6408853E}"/>
                </a:ext>
              </a:extLst>
            </p:cNvPr>
            <p:cNvSpPr/>
            <p:nvPr/>
          </p:nvSpPr>
          <p:spPr bwMode="auto">
            <a:xfrm>
              <a:off x="7548980" y="3025009"/>
              <a:ext cx="108201" cy="160193"/>
            </a:xfrm>
            <a:custGeom>
              <a:avLst/>
              <a:gdLst>
                <a:gd name="T0" fmla="*/ 69 w 69"/>
                <a:gd name="T1" fmla="*/ 0 h 102"/>
                <a:gd name="T2" fmla="*/ 14 w 69"/>
                <a:gd name="T3" fmla="*/ 0 h 102"/>
                <a:gd name="T4" fmla="*/ 11 w 69"/>
                <a:gd name="T5" fmla="*/ 47 h 102"/>
                <a:gd name="T6" fmla="*/ 0 w 69"/>
                <a:gd name="T7" fmla="*/ 102 h 102"/>
                <a:gd name="T8" fmla="*/ 69 w 69"/>
                <a:gd name="T9" fmla="*/ 102 h 102"/>
                <a:gd name="T10" fmla="*/ 69 w 69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102">
                  <a:moveTo>
                    <a:pt x="6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16"/>
                    <a:pt x="13" y="31"/>
                    <a:pt x="11" y="47"/>
                  </a:cubicBezTo>
                  <a:cubicBezTo>
                    <a:pt x="9" y="65"/>
                    <a:pt x="6" y="84"/>
                    <a:pt x="0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0"/>
                    <a:pt x="69" y="0"/>
                    <a:pt x="69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ïSlîďê">
              <a:extLst>
                <a:ext uri="{FF2B5EF4-FFF2-40B4-BE49-F238E27FC236}">
                  <a16:creationId xmlns:a16="http://schemas.microsoft.com/office/drawing/2014/main" id="{6AB808A8-CB53-4EB6-A2C1-5963EDA20129}"/>
                </a:ext>
              </a:extLst>
            </p:cNvPr>
            <p:cNvSpPr/>
            <p:nvPr/>
          </p:nvSpPr>
          <p:spPr bwMode="auto">
            <a:xfrm>
              <a:off x="7716200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ïṡlïḑè">
              <a:extLst>
                <a:ext uri="{FF2B5EF4-FFF2-40B4-BE49-F238E27FC236}">
                  <a16:creationId xmlns:a16="http://schemas.microsoft.com/office/drawing/2014/main" id="{0B2D093E-4E2A-4229-AEC1-EA0FEE7DDC05}"/>
                </a:ext>
              </a:extLst>
            </p:cNvPr>
            <p:cNvSpPr/>
            <p:nvPr/>
          </p:nvSpPr>
          <p:spPr bwMode="auto">
            <a:xfrm>
              <a:off x="7716200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isḻíďê">
              <a:extLst>
                <a:ext uri="{FF2B5EF4-FFF2-40B4-BE49-F238E27FC236}">
                  <a16:creationId xmlns:a16="http://schemas.microsoft.com/office/drawing/2014/main" id="{ED873665-AEDC-4D99-ADBC-CEF150553A8B}"/>
                </a:ext>
              </a:extLst>
            </p:cNvPr>
            <p:cNvSpPr/>
            <p:nvPr/>
          </p:nvSpPr>
          <p:spPr bwMode="auto">
            <a:xfrm>
              <a:off x="7934006" y="3025009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íşlîďe">
              <a:extLst>
                <a:ext uri="{FF2B5EF4-FFF2-40B4-BE49-F238E27FC236}">
                  <a16:creationId xmlns:a16="http://schemas.microsoft.com/office/drawing/2014/main" id="{CAE0CF8A-0C05-49AA-9B25-30B2FC5DD818}"/>
                </a:ext>
              </a:extLst>
            </p:cNvPr>
            <p:cNvSpPr/>
            <p:nvPr/>
          </p:nvSpPr>
          <p:spPr bwMode="auto">
            <a:xfrm>
              <a:off x="7934006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íśľïḓê">
              <a:extLst>
                <a:ext uri="{FF2B5EF4-FFF2-40B4-BE49-F238E27FC236}">
                  <a16:creationId xmlns:a16="http://schemas.microsoft.com/office/drawing/2014/main" id="{9C9FD265-23B3-41A8-AE0A-9D2094844AB2}"/>
                </a:ext>
              </a:extLst>
            </p:cNvPr>
            <p:cNvSpPr/>
            <p:nvPr/>
          </p:nvSpPr>
          <p:spPr bwMode="auto">
            <a:xfrm>
              <a:off x="8154623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íṥľîḍé">
              <a:extLst>
                <a:ext uri="{FF2B5EF4-FFF2-40B4-BE49-F238E27FC236}">
                  <a16:creationId xmlns:a16="http://schemas.microsoft.com/office/drawing/2014/main" id="{DF7DA168-3602-46F2-AD26-64EE9904D217}"/>
                </a:ext>
              </a:extLst>
            </p:cNvPr>
            <p:cNvSpPr/>
            <p:nvPr/>
          </p:nvSpPr>
          <p:spPr bwMode="auto">
            <a:xfrm>
              <a:off x="8154623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íṣḷïḋe">
              <a:extLst>
                <a:ext uri="{FF2B5EF4-FFF2-40B4-BE49-F238E27FC236}">
                  <a16:creationId xmlns:a16="http://schemas.microsoft.com/office/drawing/2014/main" id="{C4E58C84-10C6-4254-B11A-D6C5EDD27841}"/>
                </a:ext>
              </a:extLst>
            </p:cNvPr>
            <p:cNvSpPr/>
            <p:nvPr/>
          </p:nvSpPr>
          <p:spPr bwMode="auto">
            <a:xfrm>
              <a:off x="8373834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išļïḋé">
              <a:extLst>
                <a:ext uri="{FF2B5EF4-FFF2-40B4-BE49-F238E27FC236}">
                  <a16:creationId xmlns:a16="http://schemas.microsoft.com/office/drawing/2014/main" id="{B39CB386-EB65-4046-B441-C80A5ACD01E9}"/>
                </a:ext>
              </a:extLst>
            </p:cNvPr>
            <p:cNvSpPr/>
            <p:nvPr/>
          </p:nvSpPr>
          <p:spPr bwMode="auto">
            <a:xfrm>
              <a:off x="8373834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îšļîḑé">
              <a:extLst>
                <a:ext uri="{FF2B5EF4-FFF2-40B4-BE49-F238E27FC236}">
                  <a16:creationId xmlns:a16="http://schemas.microsoft.com/office/drawing/2014/main" id="{B2AB2A0D-7C6F-4CA5-BD35-07411902EEBF}"/>
                </a:ext>
              </a:extLst>
            </p:cNvPr>
            <p:cNvSpPr/>
            <p:nvPr/>
          </p:nvSpPr>
          <p:spPr bwMode="auto">
            <a:xfrm>
              <a:off x="8594451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íṡ1iḋé">
              <a:extLst>
                <a:ext uri="{FF2B5EF4-FFF2-40B4-BE49-F238E27FC236}">
                  <a16:creationId xmlns:a16="http://schemas.microsoft.com/office/drawing/2014/main" id="{217B4813-9F84-49C7-A7F7-94FAFA7B8F1E}"/>
                </a:ext>
              </a:extLst>
            </p:cNvPr>
            <p:cNvSpPr/>
            <p:nvPr/>
          </p:nvSpPr>
          <p:spPr bwMode="auto">
            <a:xfrm>
              <a:off x="3102919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íṧļîḍe">
              <a:extLst>
                <a:ext uri="{FF2B5EF4-FFF2-40B4-BE49-F238E27FC236}">
                  <a16:creationId xmlns:a16="http://schemas.microsoft.com/office/drawing/2014/main" id="{A0134812-228D-41C3-8F01-59A150D0CB05}"/>
                </a:ext>
              </a:extLst>
            </p:cNvPr>
            <p:cNvSpPr/>
            <p:nvPr/>
          </p:nvSpPr>
          <p:spPr bwMode="auto">
            <a:xfrm>
              <a:off x="310291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ïṥļiďè">
              <a:extLst>
                <a:ext uri="{FF2B5EF4-FFF2-40B4-BE49-F238E27FC236}">
                  <a16:creationId xmlns:a16="http://schemas.microsoft.com/office/drawing/2014/main" id="{3C09A865-CCF9-4716-8BF6-1A7A1C9C3B3E}"/>
                </a:ext>
              </a:extLst>
            </p:cNvPr>
            <p:cNvSpPr/>
            <p:nvPr/>
          </p:nvSpPr>
          <p:spPr bwMode="auto">
            <a:xfrm>
              <a:off x="3323536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iṣļiḍe">
              <a:extLst>
                <a:ext uri="{FF2B5EF4-FFF2-40B4-BE49-F238E27FC236}">
                  <a16:creationId xmlns:a16="http://schemas.microsoft.com/office/drawing/2014/main" id="{71CB96B2-48D9-4D24-ADF5-F4F48A8375C5}"/>
                </a:ext>
              </a:extLst>
            </p:cNvPr>
            <p:cNvSpPr/>
            <p:nvPr/>
          </p:nvSpPr>
          <p:spPr bwMode="auto">
            <a:xfrm>
              <a:off x="3323536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îŝ1ïḍê">
              <a:extLst>
                <a:ext uri="{FF2B5EF4-FFF2-40B4-BE49-F238E27FC236}">
                  <a16:creationId xmlns:a16="http://schemas.microsoft.com/office/drawing/2014/main" id="{8B7F466C-2761-47BA-917B-081AC2765BE8}"/>
                </a:ext>
              </a:extLst>
            </p:cNvPr>
            <p:cNvSpPr/>
            <p:nvPr/>
          </p:nvSpPr>
          <p:spPr bwMode="auto">
            <a:xfrm>
              <a:off x="3542748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iŝḻïḋe">
              <a:extLst>
                <a:ext uri="{FF2B5EF4-FFF2-40B4-BE49-F238E27FC236}">
                  <a16:creationId xmlns:a16="http://schemas.microsoft.com/office/drawing/2014/main" id="{99CBF1DE-89DA-4D17-BCEE-4FBADEBEE9C3}"/>
                </a:ext>
              </a:extLst>
            </p:cNvPr>
            <p:cNvSpPr/>
            <p:nvPr/>
          </p:nvSpPr>
          <p:spPr bwMode="auto">
            <a:xfrm>
              <a:off x="3542748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îśľiḍè">
              <a:extLst>
                <a:ext uri="{FF2B5EF4-FFF2-40B4-BE49-F238E27FC236}">
                  <a16:creationId xmlns:a16="http://schemas.microsoft.com/office/drawing/2014/main" id="{E2A36E57-51CA-4544-B0C9-E834DCEC9821}"/>
                </a:ext>
              </a:extLst>
            </p:cNvPr>
            <p:cNvSpPr/>
            <p:nvPr/>
          </p:nvSpPr>
          <p:spPr bwMode="auto">
            <a:xfrm>
              <a:off x="3763364" y="3228763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ŝľîḓé">
              <a:extLst>
                <a:ext uri="{FF2B5EF4-FFF2-40B4-BE49-F238E27FC236}">
                  <a16:creationId xmlns:a16="http://schemas.microsoft.com/office/drawing/2014/main" id="{985741C8-AC2C-4DE1-92D6-F46B781CE1BE}"/>
                </a:ext>
              </a:extLst>
            </p:cNvPr>
            <p:cNvSpPr/>
            <p:nvPr/>
          </p:nvSpPr>
          <p:spPr bwMode="auto">
            <a:xfrm>
              <a:off x="3763364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ïśḻíḍê">
              <a:extLst>
                <a:ext uri="{FF2B5EF4-FFF2-40B4-BE49-F238E27FC236}">
                  <a16:creationId xmlns:a16="http://schemas.microsoft.com/office/drawing/2014/main" id="{47030735-3817-46C4-B110-AD2FA96DB384}"/>
                </a:ext>
              </a:extLst>
            </p:cNvPr>
            <p:cNvSpPr/>
            <p:nvPr/>
          </p:nvSpPr>
          <p:spPr bwMode="auto">
            <a:xfrm>
              <a:off x="3981170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ïsḻiḍè">
              <a:extLst>
                <a:ext uri="{FF2B5EF4-FFF2-40B4-BE49-F238E27FC236}">
                  <a16:creationId xmlns:a16="http://schemas.microsoft.com/office/drawing/2014/main" id="{DC2264EE-EBFE-45B0-9CB6-579B5146493B}"/>
                </a:ext>
              </a:extLst>
            </p:cNvPr>
            <p:cNvSpPr/>
            <p:nvPr/>
          </p:nvSpPr>
          <p:spPr bwMode="auto">
            <a:xfrm>
              <a:off x="3981170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îṩľïḋê">
              <a:extLst>
                <a:ext uri="{FF2B5EF4-FFF2-40B4-BE49-F238E27FC236}">
                  <a16:creationId xmlns:a16="http://schemas.microsoft.com/office/drawing/2014/main" id="{6E58E9C4-6D77-49F1-81B1-163F71541D93}"/>
                </a:ext>
              </a:extLst>
            </p:cNvPr>
            <p:cNvSpPr/>
            <p:nvPr/>
          </p:nvSpPr>
          <p:spPr bwMode="auto">
            <a:xfrm>
              <a:off x="4201787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islíḑé">
              <a:extLst>
                <a:ext uri="{FF2B5EF4-FFF2-40B4-BE49-F238E27FC236}">
                  <a16:creationId xmlns:a16="http://schemas.microsoft.com/office/drawing/2014/main" id="{DF04F43D-63D3-463B-92A7-3A73F3BBCEF5}"/>
                </a:ext>
              </a:extLst>
            </p:cNvPr>
            <p:cNvSpPr/>
            <p:nvPr/>
          </p:nvSpPr>
          <p:spPr bwMode="auto">
            <a:xfrm>
              <a:off x="4201787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ïs1iḓé">
              <a:extLst>
                <a:ext uri="{FF2B5EF4-FFF2-40B4-BE49-F238E27FC236}">
                  <a16:creationId xmlns:a16="http://schemas.microsoft.com/office/drawing/2014/main" id="{6DBF1DAE-25D3-479E-AD01-463D3AA8E766}"/>
                </a:ext>
              </a:extLst>
            </p:cNvPr>
            <p:cNvSpPr/>
            <p:nvPr/>
          </p:nvSpPr>
          <p:spPr bwMode="auto">
            <a:xfrm>
              <a:off x="4420999" y="322876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sḻíďe">
              <a:extLst>
                <a:ext uri="{FF2B5EF4-FFF2-40B4-BE49-F238E27FC236}">
                  <a16:creationId xmlns:a16="http://schemas.microsoft.com/office/drawing/2014/main" id="{D720A9DB-A3B6-47F8-A3F8-CEE063AC8784}"/>
                </a:ext>
              </a:extLst>
            </p:cNvPr>
            <p:cNvSpPr/>
            <p:nvPr/>
          </p:nvSpPr>
          <p:spPr bwMode="auto">
            <a:xfrm>
              <a:off x="442099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şliďe">
              <a:extLst>
                <a:ext uri="{FF2B5EF4-FFF2-40B4-BE49-F238E27FC236}">
                  <a16:creationId xmlns:a16="http://schemas.microsoft.com/office/drawing/2014/main" id="{F83D9ACA-C668-47BC-8963-3B2E14CDE259}"/>
                </a:ext>
              </a:extLst>
            </p:cNvPr>
            <p:cNvSpPr/>
            <p:nvPr/>
          </p:nvSpPr>
          <p:spPr bwMode="auto">
            <a:xfrm>
              <a:off x="4640211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iṥḻïḍe">
              <a:extLst>
                <a:ext uri="{FF2B5EF4-FFF2-40B4-BE49-F238E27FC236}">
                  <a16:creationId xmlns:a16="http://schemas.microsoft.com/office/drawing/2014/main" id="{C1FA6829-CBBA-4981-998A-49B686BE1ED2}"/>
                </a:ext>
              </a:extLst>
            </p:cNvPr>
            <p:cNvSpPr/>
            <p:nvPr/>
          </p:nvSpPr>
          <p:spPr bwMode="auto">
            <a:xfrm>
              <a:off x="4640211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iṣľîḍé">
              <a:extLst>
                <a:ext uri="{FF2B5EF4-FFF2-40B4-BE49-F238E27FC236}">
                  <a16:creationId xmlns:a16="http://schemas.microsoft.com/office/drawing/2014/main" id="{BC53A2ED-339B-401E-8CDC-A68F41DC27FB}"/>
                </a:ext>
              </a:extLst>
            </p:cNvPr>
            <p:cNvSpPr/>
            <p:nvPr/>
          </p:nvSpPr>
          <p:spPr bwMode="auto">
            <a:xfrm>
              <a:off x="4860827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íṡļiḍè">
              <a:extLst>
                <a:ext uri="{FF2B5EF4-FFF2-40B4-BE49-F238E27FC236}">
                  <a16:creationId xmlns:a16="http://schemas.microsoft.com/office/drawing/2014/main" id="{4762E82E-8E80-46E3-895F-17E66E59FB3A}"/>
                </a:ext>
              </a:extLst>
            </p:cNvPr>
            <p:cNvSpPr/>
            <p:nvPr/>
          </p:nvSpPr>
          <p:spPr bwMode="auto">
            <a:xfrm>
              <a:off x="4860827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ïṧľiḍè">
              <a:extLst>
                <a:ext uri="{FF2B5EF4-FFF2-40B4-BE49-F238E27FC236}">
                  <a16:creationId xmlns:a16="http://schemas.microsoft.com/office/drawing/2014/main" id="{9D9CE7B1-636C-4D0A-B068-22DB87C2031C}"/>
                </a:ext>
              </a:extLst>
            </p:cNvPr>
            <p:cNvSpPr/>
            <p:nvPr/>
          </p:nvSpPr>
          <p:spPr bwMode="auto">
            <a:xfrm>
              <a:off x="5080039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ṡļíďè">
              <a:extLst>
                <a:ext uri="{FF2B5EF4-FFF2-40B4-BE49-F238E27FC236}">
                  <a16:creationId xmlns:a16="http://schemas.microsoft.com/office/drawing/2014/main" id="{617EB87F-31B6-4EFA-B7B1-99DB7812CFED}"/>
                </a:ext>
              </a:extLst>
            </p:cNvPr>
            <p:cNvSpPr/>
            <p:nvPr/>
          </p:nvSpPr>
          <p:spPr bwMode="auto">
            <a:xfrm>
              <a:off x="508003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îSliḋe">
              <a:extLst>
                <a:ext uri="{FF2B5EF4-FFF2-40B4-BE49-F238E27FC236}">
                  <a16:creationId xmlns:a16="http://schemas.microsoft.com/office/drawing/2014/main" id="{9091A54C-D56E-47BA-96FF-CA3E108CF18E}"/>
                </a:ext>
              </a:extLst>
            </p:cNvPr>
            <p:cNvSpPr/>
            <p:nvPr/>
          </p:nvSpPr>
          <p:spPr bwMode="auto">
            <a:xfrm>
              <a:off x="5299250" y="3228763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ïşḷide">
              <a:extLst>
                <a:ext uri="{FF2B5EF4-FFF2-40B4-BE49-F238E27FC236}">
                  <a16:creationId xmlns:a16="http://schemas.microsoft.com/office/drawing/2014/main" id="{ABB838BF-A7B2-4482-B061-22EEC8ACC59B}"/>
                </a:ext>
              </a:extLst>
            </p:cNvPr>
            <p:cNvSpPr/>
            <p:nvPr/>
          </p:nvSpPr>
          <p:spPr bwMode="auto">
            <a:xfrm>
              <a:off x="5518462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íSļiḓé">
              <a:extLst>
                <a:ext uri="{FF2B5EF4-FFF2-40B4-BE49-F238E27FC236}">
                  <a16:creationId xmlns:a16="http://schemas.microsoft.com/office/drawing/2014/main" id="{D9A0C1CC-4542-4D69-9E52-D85917EDE84B}"/>
                </a:ext>
              </a:extLst>
            </p:cNvPr>
            <p:cNvSpPr/>
            <p:nvPr/>
          </p:nvSpPr>
          <p:spPr bwMode="auto">
            <a:xfrm>
              <a:off x="5518462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íŝļïḋe">
              <a:extLst>
                <a:ext uri="{FF2B5EF4-FFF2-40B4-BE49-F238E27FC236}">
                  <a16:creationId xmlns:a16="http://schemas.microsoft.com/office/drawing/2014/main" id="{B28DCAA3-F757-4E9C-96C2-CA65BEF70F76}"/>
                </a:ext>
              </a:extLst>
            </p:cNvPr>
            <p:cNvSpPr/>
            <p:nvPr/>
          </p:nvSpPr>
          <p:spPr bwMode="auto">
            <a:xfrm>
              <a:off x="5739079" y="322876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îş1îḍe">
              <a:extLst>
                <a:ext uri="{FF2B5EF4-FFF2-40B4-BE49-F238E27FC236}">
                  <a16:creationId xmlns:a16="http://schemas.microsoft.com/office/drawing/2014/main" id="{D460F90C-42A8-46EB-84AD-B73F0BAEC27B}"/>
                </a:ext>
              </a:extLst>
            </p:cNvPr>
            <p:cNvSpPr/>
            <p:nvPr/>
          </p:nvSpPr>
          <p:spPr bwMode="auto">
            <a:xfrm>
              <a:off x="5958291" y="322876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íŝḷiďè">
              <a:extLst>
                <a:ext uri="{FF2B5EF4-FFF2-40B4-BE49-F238E27FC236}">
                  <a16:creationId xmlns:a16="http://schemas.microsoft.com/office/drawing/2014/main" id="{5573DF3B-EEC1-4465-8786-8FCD1EDD60C9}"/>
                </a:ext>
              </a:extLst>
            </p:cNvPr>
            <p:cNvSpPr/>
            <p:nvPr/>
          </p:nvSpPr>
          <p:spPr bwMode="auto">
            <a:xfrm>
              <a:off x="6178907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íś1îḍè">
              <a:extLst>
                <a:ext uri="{FF2B5EF4-FFF2-40B4-BE49-F238E27FC236}">
                  <a16:creationId xmlns:a16="http://schemas.microsoft.com/office/drawing/2014/main" id="{82D78F2D-1C5F-4ACD-ABA7-0DA34B270C82}"/>
                </a:ext>
              </a:extLst>
            </p:cNvPr>
            <p:cNvSpPr/>
            <p:nvPr/>
          </p:nvSpPr>
          <p:spPr bwMode="auto">
            <a:xfrm>
              <a:off x="6178907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îŝḷíďè">
              <a:extLst>
                <a:ext uri="{FF2B5EF4-FFF2-40B4-BE49-F238E27FC236}">
                  <a16:creationId xmlns:a16="http://schemas.microsoft.com/office/drawing/2014/main" id="{16E3ADC7-8D7F-4301-9014-D4CBDE008EBA}"/>
                </a:ext>
              </a:extLst>
            </p:cNvPr>
            <p:cNvSpPr/>
            <p:nvPr/>
          </p:nvSpPr>
          <p:spPr bwMode="auto">
            <a:xfrm>
              <a:off x="6398119" y="3228763"/>
              <a:ext cx="160193" cy="160193"/>
            </a:xfrm>
            <a:custGeom>
              <a:avLst/>
              <a:gdLst>
                <a:gd name="T0" fmla="*/ 13 w 102"/>
                <a:gd name="T1" fmla="*/ 0 h 102"/>
                <a:gd name="T2" fmla="*/ 0 w 102"/>
                <a:gd name="T3" fmla="*/ 0 h 102"/>
                <a:gd name="T4" fmla="*/ 0 w 102"/>
                <a:gd name="T5" fmla="*/ 102 h 102"/>
                <a:gd name="T6" fmla="*/ 102 w 102"/>
                <a:gd name="T7" fmla="*/ 102 h 102"/>
                <a:gd name="T8" fmla="*/ 102 w 102"/>
                <a:gd name="T9" fmla="*/ 73 h 102"/>
                <a:gd name="T10" fmla="*/ 20 w 102"/>
                <a:gd name="T11" fmla="*/ 12 h 102"/>
                <a:gd name="T12" fmla="*/ 13 w 102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2">
                  <a:moveTo>
                    <a:pt x="1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70" y="62"/>
                    <a:pt x="41" y="40"/>
                    <a:pt x="20" y="12"/>
                  </a:cubicBezTo>
                  <a:cubicBezTo>
                    <a:pt x="18" y="8"/>
                    <a:pt x="15" y="4"/>
                    <a:pt x="13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îṡļïďe">
              <a:extLst>
                <a:ext uri="{FF2B5EF4-FFF2-40B4-BE49-F238E27FC236}">
                  <a16:creationId xmlns:a16="http://schemas.microsoft.com/office/drawing/2014/main" id="{DA2B9F53-69AF-40D9-ADA6-B7A3D6B825E6}"/>
                </a:ext>
              </a:extLst>
            </p:cNvPr>
            <p:cNvSpPr/>
            <p:nvPr/>
          </p:nvSpPr>
          <p:spPr bwMode="auto">
            <a:xfrm>
              <a:off x="7495582" y="3228763"/>
              <a:ext cx="161599" cy="160193"/>
            </a:xfrm>
            <a:custGeom>
              <a:avLst/>
              <a:gdLst>
                <a:gd name="T0" fmla="*/ 103 w 103"/>
                <a:gd name="T1" fmla="*/ 0 h 102"/>
                <a:gd name="T2" fmla="*/ 23 w 103"/>
                <a:gd name="T3" fmla="*/ 0 h 102"/>
                <a:gd name="T4" fmla="*/ 19 w 103"/>
                <a:gd name="T5" fmla="*/ 2 h 102"/>
                <a:gd name="T6" fmla="*/ 16 w 103"/>
                <a:gd name="T7" fmla="*/ 2 h 102"/>
                <a:gd name="T8" fmla="*/ 6 w 103"/>
                <a:gd name="T9" fmla="*/ 0 h 102"/>
                <a:gd name="T10" fmla="*/ 6 w 103"/>
                <a:gd name="T11" fmla="*/ 0 h 102"/>
                <a:gd name="T12" fmla="*/ 0 w 103"/>
                <a:gd name="T13" fmla="*/ 0 h 102"/>
                <a:gd name="T14" fmla="*/ 0 w 103"/>
                <a:gd name="T15" fmla="*/ 102 h 102"/>
                <a:gd name="T16" fmla="*/ 103 w 103"/>
                <a:gd name="T17" fmla="*/ 102 h 102"/>
                <a:gd name="T18" fmla="*/ 103 w 103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"/>
                    <a:pt x="20" y="2"/>
                    <a:pt x="19" y="2"/>
                  </a:cubicBezTo>
                  <a:cubicBezTo>
                    <a:pt x="18" y="2"/>
                    <a:pt x="17" y="2"/>
                    <a:pt x="16" y="2"/>
                  </a:cubicBezTo>
                  <a:cubicBezTo>
                    <a:pt x="12" y="2"/>
                    <a:pt x="9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03" y="102"/>
                    <a:pt x="103" y="102"/>
                    <a:pt x="103" y="102"/>
                  </a:cubicBezTo>
                  <a:cubicBezTo>
                    <a:pt x="103" y="0"/>
                    <a:pt x="103" y="0"/>
                    <a:pt x="103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îṧḻiḑè">
              <a:extLst>
                <a:ext uri="{FF2B5EF4-FFF2-40B4-BE49-F238E27FC236}">
                  <a16:creationId xmlns:a16="http://schemas.microsoft.com/office/drawing/2014/main" id="{27728AFA-A9E8-4536-8517-1196121647A2}"/>
                </a:ext>
              </a:extLst>
            </p:cNvPr>
            <p:cNvSpPr/>
            <p:nvPr/>
          </p:nvSpPr>
          <p:spPr bwMode="auto">
            <a:xfrm>
              <a:off x="7716199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$ļîḑè">
              <a:extLst>
                <a:ext uri="{FF2B5EF4-FFF2-40B4-BE49-F238E27FC236}">
                  <a16:creationId xmlns:a16="http://schemas.microsoft.com/office/drawing/2014/main" id="{85B5D8A6-8FE9-48CE-97C1-3D2A83943C1F}"/>
                </a:ext>
              </a:extLst>
            </p:cNvPr>
            <p:cNvSpPr/>
            <p:nvPr/>
          </p:nvSpPr>
          <p:spPr bwMode="auto">
            <a:xfrm>
              <a:off x="771619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iś1iḓé">
              <a:extLst>
                <a:ext uri="{FF2B5EF4-FFF2-40B4-BE49-F238E27FC236}">
                  <a16:creationId xmlns:a16="http://schemas.microsoft.com/office/drawing/2014/main" id="{6E7DB2CC-A16F-4207-B0D3-8C6D881FB05A}"/>
                </a:ext>
              </a:extLst>
            </p:cNvPr>
            <p:cNvSpPr/>
            <p:nvPr/>
          </p:nvSpPr>
          <p:spPr bwMode="auto">
            <a:xfrm>
              <a:off x="7934006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íşlidé">
              <a:extLst>
                <a:ext uri="{FF2B5EF4-FFF2-40B4-BE49-F238E27FC236}">
                  <a16:creationId xmlns:a16="http://schemas.microsoft.com/office/drawing/2014/main" id="{75529494-608F-4B24-A1B7-4FAACC26E72E}"/>
                </a:ext>
              </a:extLst>
            </p:cNvPr>
            <p:cNvSpPr/>
            <p:nvPr/>
          </p:nvSpPr>
          <p:spPr bwMode="auto">
            <a:xfrm>
              <a:off x="7934006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í$1îďê">
              <a:extLst>
                <a:ext uri="{FF2B5EF4-FFF2-40B4-BE49-F238E27FC236}">
                  <a16:creationId xmlns:a16="http://schemas.microsoft.com/office/drawing/2014/main" id="{A4F1B48D-BB4D-4180-BA44-E698EB401DA2}"/>
                </a:ext>
              </a:extLst>
            </p:cNvPr>
            <p:cNvSpPr/>
            <p:nvPr/>
          </p:nvSpPr>
          <p:spPr bwMode="auto">
            <a:xfrm>
              <a:off x="8154622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îṥḻîḍe">
              <a:extLst>
                <a:ext uri="{FF2B5EF4-FFF2-40B4-BE49-F238E27FC236}">
                  <a16:creationId xmlns:a16="http://schemas.microsoft.com/office/drawing/2014/main" id="{059E768B-2672-4DB0-9BE1-7CE3C1FF6D40}"/>
                </a:ext>
              </a:extLst>
            </p:cNvPr>
            <p:cNvSpPr/>
            <p:nvPr/>
          </p:nvSpPr>
          <p:spPr bwMode="auto">
            <a:xfrm>
              <a:off x="8154622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îṩḷïḑe">
              <a:extLst>
                <a:ext uri="{FF2B5EF4-FFF2-40B4-BE49-F238E27FC236}">
                  <a16:creationId xmlns:a16="http://schemas.microsoft.com/office/drawing/2014/main" id="{9BF1651C-1A7A-451F-98B8-E930E979BA61}"/>
                </a:ext>
              </a:extLst>
            </p:cNvPr>
            <p:cNvSpPr/>
            <p:nvPr/>
          </p:nvSpPr>
          <p:spPr bwMode="auto">
            <a:xfrm>
              <a:off x="8373834" y="3228763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S1íḋé">
              <a:extLst>
                <a:ext uri="{FF2B5EF4-FFF2-40B4-BE49-F238E27FC236}">
                  <a16:creationId xmlns:a16="http://schemas.microsoft.com/office/drawing/2014/main" id="{ED634490-2B36-4486-B554-F0CF00888091}"/>
                </a:ext>
              </a:extLst>
            </p:cNvPr>
            <p:cNvSpPr/>
            <p:nvPr/>
          </p:nvSpPr>
          <p:spPr bwMode="auto">
            <a:xfrm>
              <a:off x="8373834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íṩļiḍê">
              <a:extLst>
                <a:ext uri="{FF2B5EF4-FFF2-40B4-BE49-F238E27FC236}">
                  <a16:creationId xmlns:a16="http://schemas.microsoft.com/office/drawing/2014/main" id="{E49FB30E-4CE3-469A-8D35-BFF679F017EB}"/>
                </a:ext>
              </a:extLst>
            </p:cNvPr>
            <p:cNvSpPr/>
            <p:nvPr/>
          </p:nvSpPr>
          <p:spPr bwMode="auto">
            <a:xfrm>
              <a:off x="8594451" y="322876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ïṥḷíḑè">
              <a:extLst>
                <a:ext uri="{FF2B5EF4-FFF2-40B4-BE49-F238E27FC236}">
                  <a16:creationId xmlns:a16="http://schemas.microsoft.com/office/drawing/2014/main" id="{ED95913B-9833-4DB2-8E45-B080D8ACB1C3}"/>
                </a:ext>
              </a:extLst>
            </p:cNvPr>
            <p:cNvSpPr/>
            <p:nvPr/>
          </p:nvSpPr>
          <p:spPr bwMode="auto">
            <a:xfrm>
              <a:off x="3102919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i$lîde">
              <a:extLst>
                <a:ext uri="{FF2B5EF4-FFF2-40B4-BE49-F238E27FC236}">
                  <a16:creationId xmlns:a16="http://schemas.microsoft.com/office/drawing/2014/main" id="{DF4727A8-0B32-4847-A0B4-900A7BAE8D8C}"/>
                </a:ext>
              </a:extLst>
            </p:cNvPr>
            <p:cNvSpPr/>
            <p:nvPr/>
          </p:nvSpPr>
          <p:spPr bwMode="auto">
            <a:xfrm>
              <a:off x="310291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íṥḻïḓè">
              <a:extLst>
                <a:ext uri="{FF2B5EF4-FFF2-40B4-BE49-F238E27FC236}">
                  <a16:creationId xmlns:a16="http://schemas.microsoft.com/office/drawing/2014/main" id="{4E5F7BF4-5132-45C1-AD36-398B31E20954}"/>
                </a:ext>
              </a:extLst>
            </p:cNvPr>
            <p:cNvSpPr/>
            <p:nvPr/>
          </p:nvSpPr>
          <p:spPr bwMode="auto">
            <a:xfrm>
              <a:off x="3323535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îṣľiḍe">
              <a:extLst>
                <a:ext uri="{FF2B5EF4-FFF2-40B4-BE49-F238E27FC236}">
                  <a16:creationId xmlns:a16="http://schemas.microsoft.com/office/drawing/2014/main" id="{A45142B0-F57E-4F7D-A9E2-9CA0EC1E0EBD}"/>
                </a:ext>
              </a:extLst>
            </p:cNvPr>
            <p:cNvSpPr/>
            <p:nvPr/>
          </p:nvSpPr>
          <p:spPr bwMode="auto">
            <a:xfrm>
              <a:off x="3323535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S1îḍè">
              <a:extLst>
                <a:ext uri="{FF2B5EF4-FFF2-40B4-BE49-F238E27FC236}">
                  <a16:creationId xmlns:a16="http://schemas.microsoft.com/office/drawing/2014/main" id="{B33ABEE6-A61D-43D7-930E-1B2D15B1126B}"/>
                </a:ext>
              </a:extLst>
            </p:cNvPr>
            <p:cNvSpPr/>
            <p:nvPr/>
          </p:nvSpPr>
          <p:spPr bwMode="auto">
            <a:xfrm>
              <a:off x="3542747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íṥ1ïḓê">
              <a:extLst>
                <a:ext uri="{FF2B5EF4-FFF2-40B4-BE49-F238E27FC236}">
                  <a16:creationId xmlns:a16="http://schemas.microsoft.com/office/drawing/2014/main" id="{F42C1292-5948-4504-8537-B26A65A93378}"/>
                </a:ext>
              </a:extLst>
            </p:cNvPr>
            <p:cNvSpPr/>
            <p:nvPr/>
          </p:nvSpPr>
          <p:spPr bwMode="auto">
            <a:xfrm>
              <a:off x="3542747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í$ḷîḑè">
              <a:extLst>
                <a:ext uri="{FF2B5EF4-FFF2-40B4-BE49-F238E27FC236}">
                  <a16:creationId xmlns:a16="http://schemas.microsoft.com/office/drawing/2014/main" id="{2372F38A-2F3B-4BB1-8308-697EC5DC6E3F}"/>
                </a:ext>
              </a:extLst>
            </p:cNvPr>
            <p:cNvSpPr/>
            <p:nvPr/>
          </p:nvSpPr>
          <p:spPr bwMode="auto">
            <a:xfrm>
              <a:off x="3763364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ï$ḻïďé">
              <a:extLst>
                <a:ext uri="{FF2B5EF4-FFF2-40B4-BE49-F238E27FC236}">
                  <a16:creationId xmlns:a16="http://schemas.microsoft.com/office/drawing/2014/main" id="{641C808D-A6D4-4D90-8E9D-E3A114692B11}"/>
                </a:ext>
              </a:extLst>
            </p:cNvPr>
            <p:cNvSpPr/>
            <p:nvPr/>
          </p:nvSpPr>
          <p:spPr bwMode="auto">
            <a:xfrm>
              <a:off x="3763364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îṩḷíḋê">
              <a:extLst>
                <a:ext uri="{FF2B5EF4-FFF2-40B4-BE49-F238E27FC236}">
                  <a16:creationId xmlns:a16="http://schemas.microsoft.com/office/drawing/2014/main" id="{B4CBFE5D-D771-4A1C-AB23-1A099375B044}"/>
                </a:ext>
              </a:extLst>
            </p:cNvPr>
            <p:cNvSpPr/>
            <p:nvPr/>
          </p:nvSpPr>
          <p:spPr bwMode="auto">
            <a:xfrm>
              <a:off x="3981170" y="3431113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îṧlîḓé">
              <a:extLst>
                <a:ext uri="{FF2B5EF4-FFF2-40B4-BE49-F238E27FC236}">
                  <a16:creationId xmlns:a16="http://schemas.microsoft.com/office/drawing/2014/main" id="{4EB030DE-B999-4785-BBCA-FE1BFF84BCEA}"/>
                </a:ext>
              </a:extLst>
            </p:cNvPr>
            <p:cNvSpPr/>
            <p:nvPr/>
          </p:nvSpPr>
          <p:spPr bwMode="auto">
            <a:xfrm>
              <a:off x="3981170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íṣḻïḋè">
              <a:extLst>
                <a:ext uri="{FF2B5EF4-FFF2-40B4-BE49-F238E27FC236}">
                  <a16:creationId xmlns:a16="http://schemas.microsoft.com/office/drawing/2014/main" id="{1054A38A-E0CA-4490-AB70-7431CA45DBC3}"/>
                </a:ext>
              </a:extLst>
            </p:cNvPr>
            <p:cNvSpPr/>
            <p:nvPr/>
          </p:nvSpPr>
          <p:spPr bwMode="auto">
            <a:xfrm>
              <a:off x="4201787" y="343111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ṩḷiḍè">
              <a:extLst>
                <a:ext uri="{FF2B5EF4-FFF2-40B4-BE49-F238E27FC236}">
                  <a16:creationId xmlns:a16="http://schemas.microsoft.com/office/drawing/2014/main" id="{F1603167-C274-47EA-B361-B418163B534E}"/>
                </a:ext>
              </a:extLst>
            </p:cNvPr>
            <p:cNvSpPr/>
            <p:nvPr/>
          </p:nvSpPr>
          <p:spPr bwMode="auto">
            <a:xfrm>
              <a:off x="4201787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î$ḻide">
              <a:extLst>
                <a:ext uri="{FF2B5EF4-FFF2-40B4-BE49-F238E27FC236}">
                  <a16:creationId xmlns:a16="http://schemas.microsoft.com/office/drawing/2014/main" id="{6ADCFBD7-E38A-42B2-B47C-22A7E2C411AC}"/>
                </a:ext>
              </a:extLst>
            </p:cNvPr>
            <p:cNvSpPr/>
            <p:nvPr/>
          </p:nvSpPr>
          <p:spPr bwMode="auto">
            <a:xfrm>
              <a:off x="4420999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iṥ1íďê">
              <a:extLst>
                <a:ext uri="{FF2B5EF4-FFF2-40B4-BE49-F238E27FC236}">
                  <a16:creationId xmlns:a16="http://schemas.microsoft.com/office/drawing/2014/main" id="{596B1A49-4E68-43BE-93BC-AD18CAE7561D}"/>
                </a:ext>
              </a:extLst>
            </p:cNvPr>
            <p:cNvSpPr/>
            <p:nvPr/>
          </p:nvSpPr>
          <p:spPr bwMode="auto">
            <a:xfrm>
              <a:off x="442099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ïsliḍê">
              <a:extLst>
                <a:ext uri="{FF2B5EF4-FFF2-40B4-BE49-F238E27FC236}">
                  <a16:creationId xmlns:a16="http://schemas.microsoft.com/office/drawing/2014/main" id="{0912FE3D-E64B-4CD2-82E5-6D130E6D8359}"/>
                </a:ext>
              </a:extLst>
            </p:cNvPr>
            <p:cNvSpPr/>
            <p:nvPr/>
          </p:nvSpPr>
          <p:spPr bwMode="auto">
            <a:xfrm>
              <a:off x="4640211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îšľiḋe">
              <a:extLst>
                <a:ext uri="{FF2B5EF4-FFF2-40B4-BE49-F238E27FC236}">
                  <a16:creationId xmlns:a16="http://schemas.microsoft.com/office/drawing/2014/main" id="{EF2695D6-5500-4A62-83AB-EEF30725C96C}"/>
                </a:ext>
              </a:extLst>
            </p:cNvPr>
            <p:cNvSpPr/>
            <p:nvPr/>
          </p:nvSpPr>
          <p:spPr bwMode="auto">
            <a:xfrm>
              <a:off x="4640211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îSḻîďè">
              <a:extLst>
                <a:ext uri="{FF2B5EF4-FFF2-40B4-BE49-F238E27FC236}">
                  <a16:creationId xmlns:a16="http://schemas.microsoft.com/office/drawing/2014/main" id="{6D6BAF84-F438-47A4-8627-5A435E0B94BC}"/>
                </a:ext>
              </a:extLst>
            </p:cNvPr>
            <p:cNvSpPr/>
            <p:nvPr/>
          </p:nvSpPr>
          <p:spPr bwMode="auto">
            <a:xfrm>
              <a:off x="4860827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ïṣ1íḓe">
              <a:extLst>
                <a:ext uri="{FF2B5EF4-FFF2-40B4-BE49-F238E27FC236}">
                  <a16:creationId xmlns:a16="http://schemas.microsoft.com/office/drawing/2014/main" id="{2BA66F80-3FEB-4D22-A9DF-E5EF901317A6}"/>
                </a:ext>
              </a:extLst>
            </p:cNvPr>
            <p:cNvSpPr/>
            <p:nvPr/>
          </p:nvSpPr>
          <p:spPr bwMode="auto">
            <a:xfrm>
              <a:off x="4860827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ïṩḷiḍè">
              <a:extLst>
                <a:ext uri="{FF2B5EF4-FFF2-40B4-BE49-F238E27FC236}">
                  <a16:creationId xmlns:a16="http://schemas.microsoft.com/office/drawing/2014/main" id="{C788D9EE-9B9D-4600-BC2A-EFFBA063E50C}"/>
                </a:ext>
              </a:extLst>
            </p:cNvPr>
            <p:cNvSpPr/>
            <p:nvPr/>
          </p:nvSpPr>
          <p:spPr bwMode="auto">
            <a:xfrm>
              <a:off x="5080039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íşḷïde">
              <a:extLst>
                <a:ext uri="{FF2B5EF4-FFF2-40B4-BE49-F238E27FC236}">
                  <a16:creationId xmlns:a16="http://schemas.microsoft.com/office/drawing/2014/main" id="{DF9B1307-E685-4DF7-915D-51EBFDAF53EC}"/>
                </a:ext>
              </a:extLst>
            </p:cNvPr>
            <p:cNvSpPr/>
            <p:nvPr/>
          </p:nvSpPr>
          <p:spPr bwMode="auto">
            <a:xfrm>
              <a:off x="508003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ṧ1îḍé">
              <a:extLst>
                <a:ext uri="{FF2B5EF4-FFF2-40B4-BE49-F238E27FC236}">
                  <a16:creationId xmlns:a16="http://schemas.microsoft.com/office/drawing/2014/main" id="{A6F10BEA-1E1D-46C3-B9B4-8D49128015F4}"/>
                </a:ext>
              </a:extLst>
            </p:cNvPr>
            <p:cNvSpPr/>
            <p:nvPr/>
          </p:nvSpPr>
          <p:spPr bwMode="auto">
            <a:xfrm>
              <a:off x="5299250" y="343111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iśḻïḑe">
              <a:extLst>
                <a:ext uri="{FF2B5EF4-FFF2-40B4-BE49-F238E27FC236}">
                  <a16:creationId xmlns:a16="http://schemas.microsoft.com/office/drawing/2014/main" id="{32B78D37-076B-4B48-ACC5-6D03D1B686C0}"/>
                </a:ext>
              </a:extLst>
            </p:cNvPr>
            <p:cNvSpPr/>
            <p:nvPr/>
          </p:nvSpPr>
          <p:spPr bwMode="auto">
            <a:xfrm>
              <a:off x="5299250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iṣļîḍè">
              <a:extLst>
                <a:ext uri="{FF2B5EF4-FFF2-40B4-BE49-F238E27FC236}">
                  <a16:creationId xmlns:a16="http://schemas.microsoft.com/office/drawing/2014/main" id="{F8DC4FA6-B9B5-4AAD-A052-BAD995235F9C}"/>
                </a:ext>
              </a:extLst>
            </p:cNvPr>
            <p:cNvSpPr/>
            <p:nvPr/>
          </p:nvSpPr>
          <p:spPr bwMode="auto">
            <a:xfrm>
              <a:off x="5518462" y="3431113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ïṥliḋê">
              <a:extLst>
                <a:ext uri="{FF2B5EF4-FFF2-40B4-BE49-F238E27FC236}">
                  <a16:creationId xmlns:a16="http://schemas.microsoft.com/office/drawing/2014/main" id="{35E2C9E5-0599-47EF-A4A1-E73F81112F0B}"/>
                </a:ext>
              </a:extLst>
            </p:cNvPr>
            <p:cNvSpPr/>
            <p:nvPr/>
          </p:nvSpPr>
          <p:spPr bwMode="auto">
            <a:xfrm>
              <a:off x="5739079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íṣľiḓè">
              <a:extLst>
                <a:ext uri="{FF2B5EF4-FFF2-40B4-BE49-F238E27FC236}">
                  <a16:creationId xmlns:a16="http://schemas.microsoft.com/office/drawing/2014/main" id="{B3F912A3-EE97-4CDA-AD3C-127B769DEA0C}"/>
                </a:ext>
              </a:extLst>
            </p:cNvPr>
            <p:cNvSpPr/>
            <p:nvPr/>
          </p:nvSpPr>
          <p:spPr bwMode="auto">
            <a:xfrm>
              <a:off x="573907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íṣ1ïḋe">
              <a:extLst>
                <a:ext uri="{FF2B5EF4-FFF2-40B4-BE49-F238E27FC236}">
                  <a16:creationId xmlns:a16="http://schemas.microsoft.com/office/drawing/2014/main" id="{6297706B-2BF1-400F-84A9-16E203D7D525}"/>
                </a:ext>
              </a:extLst>
            </p:cNvPr>
            <p:cNvSpPr/>
            <p:nvPr/>
          </p:nvSpPr>
          <p:spPr bwMode="auto">
            <a:xfrm>
              <a:off x="5958291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í$1íḋè">
              <a:extLst>
                <a:ext uri="{FF2B5EF4-FFF2-40B4-BE49-F238E27FC236}">
                  <a16:creationId xmlns:a16="http://schemas.microsoft.com/office/drawing/2014/main" id="{65E12C2D-4771-496D-BEE8-A09FCACEA005}"/>
                </a:ext>
              </a:extLst>
            </p:cNvPr>
            <p:cNvSpPr/>
            <p:nvPr/>
          </p:nvSpPr>
          <p:spPr bwMode="auto">
            <a:xfrm>
              <a:off x="5958291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işḻîďê">
              <a:extLst>
                <a:ext uri="{FF2B5EF4-FFF2-40B4-BE49-F238E27FC236}">
                  <a16:creationId xmlns:a16="http://schemas.microsoft.com/office/drawing/2014/main" id="{231BF92D-79D5-4F30-B919-E49AA979C0E0}"/>
                </a:ext>
              </a:extLst>
            </p:cNvPr>
            <p:cNvSpPr/>
            <p:nvPr/>
          </p:nvSpPr>
          <p:spPr bwMode="auto">
            <a:xfrm>
              <a:off x="6178907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ïṧļíďé">
              <a:extLst>
                <a:ext uri="{FF2B5EF4-FFF2-40B4-BE49-F238E27FC236}">
                  <a16:creationId xmlns:a16="http://schemas.microsoft.com/office/drawing/2014/main" id="{C27F59ED-0F95-4905-898E-4A15AAC241F4}"/>
                </a:ext>
              </a:extLst>
            </p:cNvPr>
            <p:cNvSpPr/>
            <p:nvPr/>
          </p:nvSpPr>
          <p:spPr bwMode="auto">
            <a:xfrm>
              <a:off x="6178907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ïSļiḍê">
              <a:extLst>
                <a:ext uri="{FF2B5EF4-FFF2-40B4-BE49-F238E27FC236}">
                  <a16:creationId xmlns:a16="http://schemas.microsoft.com/office/drawing/2014/main" id="{84F8AA12-D4DC-4B2D-A427-15BF062A280B}"/>
                </a:ext>
              </a:extLst>
            </p:cNvPr>
            <p:cNvSpPr/>
            <p:nvPr/>
          </p:nvSpPr>
          <p:spPr bwMode="auto">
            <a:xfrm>
              <a:off x="6398119" y="343111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iSļîḑê">
              <a:extLst>
                <a:ext uri="{FF2B5EF4-FFF2-40B4-BE49-F238E27FC236}">
                  <a16:creationId xmlns:a16="http://schemas.microsoft.com/office/drawing/2014/main" id="{EB90ECEA-E787-4E75-BEBA-6C97A4395BC1}"/>
                </a:ext>
              </a:extLst>
            </p:cNvPr>
            <p:cNvSpPr/>
            <p:nvPr/>
          </p:nvSpPr>
          <p:spPr bwMode="auto">
            <a:xfrm>
              <a:off x="6618736" y="3525262"/>
              <a:ext cx="35131" cy="66045"/>
            </a:xfrm>
            <a:custGeom>
              <a:avLst/>
              <a:gdLst>
                <a:gd name="T0" fmla="*/ 0 w 23"/>
                <a:gd name="T1" fmla="*/ 0 h 42"/>
                <a:gd name="T2" fmla="*/ 0 w 23"/>
                <a:gd name="T3" fmla="*/ 42 h 42"/>
                <a:gd name="T4" fmla="*/ 23 w 23"/>
                <a:gd name="T5" fmla="*/ 42 h 42"/>
                <a:gd name="T6" fmla="*/ 0 w 23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0" y="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4" y="29"/>
                    <a:pt x="6" y="15"/>
                    <a:pt x="0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iślíḋe">
              <a:extLst>
                <a:ext uri="{FF2B5EF4-FFF2-40B4-BE49-F238E27FC236}">
                  <a16:creationId xmlns:a16="http://schemas.microsoft.com/office/drawing/2014/main" id="{DC3A992E-0312-4A08-BC14-41B70CF439F1}"/>
                </a:ext>
              </a:extLst>
            </p:cNvPr>
            <p:cNvSpPr/>
            <p:nvPr/>
          </p:nvSpPr>
          <p:spPr bwMode="auto">
            <a:xfrm>
              <a:off x="7523686" y="3431113"/>
              <a:ext cx="133495" cy="15458"/>
            </a:xfrm>
            <a:custGeom>
              <a:avLst/>
              <a:gdLst>
                <a:gd name="T0" fmla="*/ 85 w 85"/>
                <a:gd name="T1" fmla="*/ 0 h 10"/>
                <a:gd name="T2" fmla="*/ 0 w 85"/>
                <a:gd name="T3" fmla="*/ 0 h 10"/>
                <a:gd name="T4" fmla="*/ 5 w 85"/>
                <a:gd name="T5" fmla="*/ 6 h 10"/>
                <a:gd name="T6" fmla="*/ 6 w 85"/>
                <a:gd name="T7" fmla="*/ 6 h 10"/>
                <a:gd name="T8" fmla="*/ 33 w 85"/>
                <a:gd name="T9" fmla="*/ 10 h 10"/>
                <a:gd name="T10" fmla="*/ 44 w 85"/>
                <a:gd name="T11" fmla="*/ 8 h 10"/>
                <a:gd name="T12" fmla="*/ 80 w 85"/>
                <a:gd name="T13" fmla="*/ 2 h 10"/>
                <a:gd name="T14" fmla="*/ 85 w 85"/>
                <a:gd name="T15" fmla="*/ 2 h 10"/>
                <a:gd name="T16" fmla="*/ 85 w 85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0">
                  <a:moveTo>
                    <a:pt x="8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4" y="4"/>
                    <a:pt x="5" y="6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15" y="8"/>
                    <a:pt x="25" y="10"/>
                    <a:pt x="33" y="10"/>
                  </a:cubicBezTo>
                  <a:cubicBezTo>
                    <a:pt x="38" y="10"/>
                    <a:pt x="41" y="9"/>
                    <a:pt x="44" y="8"/>
                  </a:cubicBezTo>
                  <a:cubicBezTo>
                    <a:pt x="56" y="4"/>
                    <a:pt x="68" y="2"/>
                    <a:pt x="80" y="2"/>
                  </a:cubicBezTo>
                  <a:cubicBezTo>
                    <a:pt x="82" y="2"/>
                    <a:pt x="83" y="2"/>
                    <a:pt x="85" y="2"/>
                  </a:cubicBezTo>
                  <a:cubicBezTo>
                    <a:pt x="85" y="0"/>
                    <a:pt x="85" y="0"/>
                    <a:pt x="85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ṩľïďè">
              <a:extLst>
                <a:ext uri="{FF2B5EF4-FFF2-40B4-BE49-F238E27FC236}">
                  <a16:creationId xmlns:a16="http://schemas.microsoft.com/office/drawing/2014/main" id="{ADDF95A5-EDF3-4FDE-8C30-6A5F28D7E0C2}"/>
                </a:ext>
              </a:extLst>
            </p:cNvPr>
            <p:cNvSpPr/>
            <p:nvPr/>
          </p:nvSpPr>
          <p:spPr bwMode="auto">
            <a:xfrm>
              <a:off x="7716199" y="3431113"/>
              <a:ext cx="160193" cy="36535"/>
            </a:xfrm>
            <a:custGeom>
              <a:avLst/>
              <a:gdLst>
                <a:gd name="T0" fmla="*/ 102 w 102"/>
                <a:gd name="T1" fmla="*/ 0 h 23"/>
                <a:gd name="T2" fmla="*/ 0 w 102"/>
                <a:gd name="T3" fmla="*/ 0 h 23"/>
                <a:gd name="T4" fmla="*/ 0 w 102"/>
                <a:gd name="T5" fmla="*/ 7 h 23"/>
                <a:gd name="T6" fmla="*/ 26 w 102"/>
                <a:gd name="T7" fmla="*/ 15 h 23"/>
                <a:gd name="T8" fmla="*/ 81 w 102"/>
                <a:gd name="T9" fmla="*/ 23 h 23"/>
                <a:gd name="T10" fmla="*/ 102 w 102"/>
                <a:gd name="T11" fmla="*/ 23 h 23"/>
                <a:gd name="T12" fmla="*/ 102 w 102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23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9" y="10"/>
                    <a:pt x="18" y="12"/>
                    <a:pt x="26" y="15"/>
                  </a:cubicBezTo>
                  <a:cubicBezTo>
                    <a:pt x="43" y="22"/>
                    <a:pt x="62" y="22"/>
                    <a:pt x="81" y="23"/>
                  </a:cubicBezTo>
                  <a:cubicBezTo>
                    <a:pt x="88" y="23"/>
                    <a:pt x="95" y="23"/>
                    <a:pt x="102" y="23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ïŝḷíḋê">
              <a:extLst>
                <a:ext uri="{FF2B5EF4-FFF2-40B4-BE49-F238E27FC236}">
                  <a16:creationId xmlns:a16="http://schemas.microsoft.com/office/drawing/2014/main" id="{D2927E8F-E14C-44CA-BA88-14A3DD8FED03}"/>
                </a:ext>
              </a:extLst>
            </p:cNvPr>
            <p:cNvSpPr/>
            <p:nvPr/>
          </p:nvSpPr>
          <p:spPr bwMode="auto">
            <a:xfrm>
              <a:off x="7934006" y="3431113"/>
              <a:ext cx="161599" cy="37941"/>
            </a:xfrm>
            <a:custGeom>
              <a:avLst/>
              <a:gdLst>
                <a:gd name="T0" fmla="*/ 102 w 102"/>
                <a:gd name="T1" fmla="*/ 0 h 24"/>
                <a:gd name="T2" fmla="*/ 0 w 102"/>
                <a:gd name="T3" fmla="*/ 0 h 24"/>
                <a:gd name="T4" fmla="*/ 0 w 102"/>
                <a:gd name="T5" fmla="*/ 24 h 24"/>
                <a:gd name="T6" fmla="*/ 51 w 102"/>
                <a:gd name="T7" fmla="*/ 20 h 24"/>
                <a:gd name="T8" fmla="*/ 94 w 102"/>
                <a:gd name="T9" fmla="*/ 16 h 24"/>
                <a:gd name="T10" fmla="*/ 100 w 102"/>
                <a:gd name="T11" fmla="*/ 16 h 24"/>
                <a:gd name="T12" fmla="*/ 102 w 102"/>
                <a:gd name="T13" fmla="*/ 16 h 24"/>
                <a:gd name="T14" fmla="*/ 102 w 102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4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7" y="23"/>
                    <a:pt x="34" y="22"/>
                    <a:pt x="51" y="20"/>
                  </a:cubicBezTo>
                  <a:cubicBezTo>
                    <a:pt x="65" y="18"/>
                    <a:pt x="80" y="16"/>
                    <a:pt x="94" y="16"/>
                  </a:cubicBezTo>
                  <a:cubicBezTo>
                    <a:pt x="96" y="16"/>
                    <a:pt x="98" y="16"/>
                    <a:pt x="100" y="16"/>
                  </a:cubicBezTo>
                  <a:cubicBezTo>
                    <a:pt x="101" y="16"/>
                    <a:pt x="102" y="16"/>
                    <a:pt x="102" y="16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îšļíde">
              <a:extLst>
                <a:ext uri="{FF2B5EF4-FFF2-40B4-BE49-F238E27FC236}">
                  <a16:creationId xmlns:a16="http://schemas.microsoft.com/office/drawing/2014/main" id="{D2B9C9E9-89AE-4D36-ABB5-9814CDE3B42B}"/>
                </a:ext>
              </a:extLst>
            </p:cNvPr>
            <p:cNvSpPr/>
            <p:nvPr/>
          </p:nvSpPr>
          <p:spPr bwMode="auto">
            <a:xfrm>
              <a:off x="8154622" y="3431113"/>
              <a:ext cx="161599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26 h 102"/>
                <a:gd name="T6" fmla="*/ 63 w 102"/>
                <a:gd name="T7" fmla="*/ 81 h 102"/>
                <a:gd name="T8" fmla="*/ 77 w 102"/>
                <a:gd name="T9" fmla="*/ 102 h 102"/>
                <a:gd name="T10" fmla="*/ 102 w 102"/>
                <a:gd name="T11" fmla="*/ 102 h 102"/>
                <a:gd name="T12" fmla="*/ 102 w 102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5" y="38"/>
                    <a:pt x="46" y="58"/>
                    <a:pt x="63" y="81"/>
                  </a:cubicBezTo>
                  <a:cubicBezTo>
                    <a:pt x="68" y="88"/>
                    <a:pt x="73" y="95"/>
                    <a:pt x="77" y="102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îśḷíḋe">
              <a:extLst>
                <a:ext uri="{FF2B5EF4-FFF2-40B4-BE49-F238E27FC236}">
                  <a16:creationId xmlns:a16="http://schemas.microsoft.com/office/drawing/2014/main" id="{8C63E9CA-E90C-4F5E-89A6-E91210B289EB}"/>
                </a:ext>
              </a:extLst>
            </p:cNvPr>
            <p:cNvSpPr/>
            <p:nvPr/>
          </p:nvSpPr>
          <p:spPr bwMode="auto">
            <a:xfrm>
              <a:off x="8373834" y="343111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ïṥľiḑé">
              <a:extLst>
                <a:ext uri="{FF2B5EF4-FFF2-40B4-BE49-F238E27FC236}">
                  <a16:creationId xmlns:a16="http://schemas.microsoft.com/office/drawing/2014/main" id="{6435E726-CA42-42F0-96F1-F0354470D050}"/>
                </a:ext>
              </a:extLst>
            </p:cNvPr>
            <p:cNvSpPr/>
            <p:nvPr/>
          </p:nvSpPr>
          <p:spPr bwMode="auto">
            <a:xfrm>
              <a:off x="8373834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îśļíḋé">
              <a:extLst>
                <a:ext uri="{FF2B5EF4-FFF2-40B4-BE49-F238E27FC236}">
                  <a16:creationId xmlns:a16="http://schemas.microsoft.com/office/drawing/2014/main" id="{6C13133F-1452-49C7-94B6-BCBB6F837C47}"/>
                </a:ext>
              </a:extLst>
            </p:cNvPr>
            <p:cNvSpPr/>
            <p:nvPr/>
          </p:nvSpPr>
          <p:spPr bwMode="auto">
            <a:xfrm>
              <a:off x="8594451" y="343111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ş1idé">
              <a:extLst>
                <a:ext uri="{FF2B5EF4-FFF2-40B4-BE49-F238E27FC236}">
                  <a16:creationId xmlns:a16="http://schemas.microsoft.com/office/drawing/2014/main" id="{2283B76D-F5F2-4B8D-BE64-7643557D9EEE}"/>
                </a:ext>
              </a:extLst>
            </p:cNvPr>
            <p:cNvSpPr/>
            <p:nvPr/>
          </p:nvSpPr>
          <p:spPr bwMode="auto">
            <a:xfrm>
              <a:off x="6846379" y="3584280"/>
              <a:ext cx="439829" cy="438423"/>
            </a:xfrm>
            <a:prstGeom prst="ellipse">
              <a:avLst/>
            </a:prstGeom>
            <a:solidFill>
              <a:srgbClr val="767D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iŝḷîďé">
              <a:extLst>
                <a:ext uri="{FF2B5EF4-FFF2-40B4-BE49-F238E27FC236}">
                  <a16:creationId xmlns:a16="http://schemas.microsoft.com/office/drawing/2014/main" id="{DC6A6270-7BFB-4950-969E-E755C7C88F7C}"/>
                </a:ext>
              </a:extLst>
            </p:cNvPr>
            <p:cNvSpPr/>
            <p:nvPr/>
          </p:nvSpPr>
          <p:spPr bwMode="auto">
            <a:xfrm>
              <a:off x="7043107" y="3355232"/>
              <a:ext cx="656230" cy="732111"/>
            </a:xfrm>
            <a:custGeom>
              <a:avLst/>
              <a:gdLst>
                <a:gd name="T0" fmla="*/ 7 w 417"/>
                <a:gd name="T1" fmla="*/ 107 h 465"/>
                <a:gd name="T2" fmla="*/ 42 w 417"/>
                <a:gd name="T3" fmla="*/ 290 h 465"/>
                <a:gd name="T4" fmla="*/ 41 w 417"/>
                <a:gd name="T5" fmla="*/ 345 h 465"/>
                <a:gd name="T6" fmla="*/ 15 w 417"/>
                <a:gd name="T7" fmla="*/ 384 h 465"/>
                <a:gd name="T8" fmla="*/ 5 w 417"/>
                <a:gd name="T9" fmla="*/ 427 h 465"/>
                <a:gd name="T10" fmla="*/ 41 w 417"/>
                <a:gd name="T11" fmla="*/ 454 h 465"/>
                <a:gd name="T12" fmla="*/ 173 w 417"/>
                <a:gd name="T13" fmla="*/ 444 h 465"/>
                <a:gd name="T14" fmla="*/ 228 w 417"/>
                <a:gd name="T15" fmla="*/ 421 h 465"/>
                <a:gd name="T16" fmla="*/ 275 w 417"/>
                <a:gd name="T17" fmla="*/ 377 h 465"/>
                <a:gd name="T18" fmla="*/ 417 w 417"/>
                <a:gd name="T19" fmla="*/ 120 h 465"/>
                <a:gd name="T20" fmla="*/ 284 w 417"/>
                <a:gd name="T21" fmla="*/ 67 h 465"/>
                <a:gd name="T22" fmla="*/ 266 w 417"/>
                <a:gd name="T23" fmla="*/ 0 h 465"/>
                <a:gd name="T24" fmla="*/ 181 w 417"/>
                <a:gd name="T25" fmla="*/ 25 h 465"/>
                <a:gd name="T26" fmla="*/ 131 w 417"/>
                <a:gd name="T27" fmla="*/ 50 h 465"/>
                <a:gd name="T28" fmla="*/ 74 w 417"/>
                <a:gd name="T29" fmla="*/ 83 h 465"/>
                <a:gd name="T30" fmla="*/ 7 w 417"/>
                <a:gd name="T31" fmla="*/ 10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465">
                  <a:moveTo>
                    <a:pt x="7" y="107"/>
                  </a:moveTo>
                  <a:cubicBezTo>
                    <a:pt x="21" y="168"/>
                    <a:pt x="33" y="229"/>
                    <a:pt x="42" y="290"/>
                  </a:cubicBezTo>
                  <a:cubicBezTo>
                    <a:pt x="45" y="309"/>
                    <a:pt x="48" y="328"/>
                    <a:pt x="41" y="345"/>
                  </a:cubicBezTo>
                  <a:cubicBezTo>
                    <a:pt x="36" y="360"/>
                    <a:pt x="24" y="371"/>
                    <a:pt x="15" y="384"/>
                  </a:cubicBezTo>
                  <a:cubicBezTo>
                    <a:pt x="7" y="396"/>
                    <a:pt x="0" y="413"/>
                    <a:pt x="5" y="427"/>
                  </a:cubicBezTo>
                  <a:cubicBezTo>
                    <a:pt x="11" y="442"/>
                    <a:pt x="26" y="449"/>
                    <a:pt x="41" y="454"/>
                  </a:cubicBezTo>
                  <a:cubicBezTo>
                    <a:pt x="84" y="465"/>
                    <a:pt x="130" y="457"/>
                    <a:pt x="173" y="444"/>
                  </a:cubicBezTo>
                  <a:cubicBezTo>
                    <a:pt x="193" y="439"/>
                    <a:pt x="211" y="431"/>
                    <a:pt x="228" y="421"/>
                  </a:cubicBezTo>
                  <a:cubicBezTo>
                    <a:pt x="247" y="410"/>
                    <a:pt x="261" y="394"/>
                    <a:pt x="275" y="377"/>
                  </a:cubicBezTo>
                  <a:cubicBezTo>
                    <a:pt x="338" y="302"/>
                    <a:pt x="378" y="211"/>
                    <a:pt x="417" y="120"/>
                  </a:cubicBezTo>
                  <a:cubicBezTo>
                    <a:pt x="367" y="125"/>
                    <a:pt x="317" y="105"/>
                    <a:pt x="284" y="67"/>
                  </a:cubicBezTo>
                  <a:cubicBezTo>
                    <a:pt x="269" y="48"/>
                    <a:pt x="257" y="23"/>
                    <a:pt x="266" y="0"/>
                  </a:cubicBezTo>
                  <a:cubicBezTo>
                    <a:pt x="240" y="14"/>
                    <a:pt x="209" y="15"/>
                    <a:pt x="181" y="25"/>
                  </a:cubicBezTo>
                  <a:cubicBezTo>
                    <a:pt x="164" y="32"/>
                    <a:pt x="147" y="40"/>
                    <a:pt x="131" y="50"/>
                  </a:cubicBezTo>
                  <a:cubicBezTo>
                    <a:pt x="112" y="61"/>
                    <a:pt x="93" y="72"/>
                    <a:pt x="74" y="83"/>
                  </a:cubicBezTo>
                  <a:cubicBezTo>
                    <a:pt x="52" y="97"/>
                    <a:pt x="32" y="108"/>
                    <a:pt x="7" y="107"/>
                  </a:cubicBezTo>
                </a:path>
              </a:pathLst>
            </a:cu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íṣliḓe">
              <a:extLst>
                <a:ext uri="{FF2B5EF4-FFF2-40B4-BE49-F238E27FC236}">
                  <a16:creationId xmlns:a16="http://schemas.microsoft.com/office/drawing/2014/main" id="{F5EE1E48-5FF7-430C-9FB3-DDA39E34E143}"/>
                </a:ext>
              </a:extLst>
            </p:cNvPr>
            <p:cNvSpPr/>
            <p:nvPr/>
          </p:nvSpPr>
          <p:spPr bwMode="auto">
            <a:xfrm>
              <a:off x="6566743" y="3469053"/>
              <a:ext cx="1455790" cy="1892808"/>
            </a:xfrm>
            <a:custGeom>
              <a:avLst/>
              <a:gdLst>
                <a:gd name="T0" fmla="*/ 602 w 925"/>
                <a:gd name="T1" fmla="*/ 140 h 1203"/>
                <a:gd name="T2" fmla="*/ 500 w 925"/>
                <a:gd name="T3" fmla="*/ 261 h 1203"/>
                <a:gd name="T4" fmla="*/ 348 w 925"/>
                <a:gd name="T5" fmla="*/ 269 h 1203"/>
                <a:gd name="T6" fmla="*/ 289 w 925"/>
                <a:gd name="T7" fmla="*/ 217 h 1203"/>
                <a:gd name="T8" fmla="*/ 219 w 925"/>
                <a:gd name="T9" fmla="*/ 187 h 1203"/>
                <a:gd name="T10" fmla="*/ 148 w 925"/>
                <a:gd name="T11" fmla="*/ 234 h 1203"/>
                <a:gd name="T12" fmla="*/ 69 w 925"/>
                <a:gd name="T13" fmla="*/ 340 h 1203"/>
                <a:gd name="T14" fmla="*/ 21 w 925"/>
                <a:gd name="T15" fmla="*/ 587 h 1203"/>
                <a:gd name="T16" fmla="*/ 36 w 925"/>
                <a:gd name="T17" fmla="*/ 841 h 1203"/>
                <a:gd name="T18" fmla="*/ 0 w 925"/>
                <a:gd name="T19" fmla="*/ 1151 h 1203"/>
                <a:gd name="T20" fmla="*/ 494 w 925"/>
                <a:gd name="T21" fmla="*/ 1192 h 1203"/>
                <a:gd name="T22" fmla="*/ 812 w 925"/>
                <a:gd name="T23" fmla="*/ 1202 h 1203"/>
                <a:gd name="T24" fmla="*/ 866 w 925"/>
                <a:gd name="T25" fmla="*/ 1192 h 1203"/>
                <a:gd name="T26" fmla="*/ 888 w 925"/>
                <a:gd name="T27" fmla="*/ 1165 h 1203"/>
                <a:gd name="T28" fmla="*/ 913 w 925"/>
                <a:gd name="T29" fmla="*/ 1077 h 1203"/>
                <a:gd name="T30" fmla="*/ 924 w 925"/>
                <a:gd name="T31" fmla="*/ 844 h 1203"/>
                <a:gd name="T32" fmla="*/ 901 w 925"/>
                <a:gd name="T33" fmla="*/ 281 h 1203"/>
                <a:gd name="T34" fmla="*/ 870 w 925"/>
                <a:gd name="T35" fmla="*/ 146 h 1203"/>
                <a:gd name="T36" fmla="*/ 784 w 925"/>
                <a:gd name="T37" fmla="*/ 41 h 1203"/>
                <a:gd name="T38" fmla="*/ 668 w 925"/>
                <a:gd name="T39" fmla="*/ 15 h 1203"/>
                <a:gd name="T40" fmla="*/ 602 w 925"/>
                <a:gd name="T41" fmla="*/ 140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25" h="1203">
                  <a:moveTo>
                    <a:pt x="602" y="140"/>
                  </a:moveTo>
                  <a:cubicBezTo>
                    <a:pt x="577" y="187"/>
                    <a:pt x="545" y="233"/>
                    <a:pt x="500" y="261"/>
                  </a:cubicBezTo>
                  <a:cubicBezTo>
                    <a:pt x="455" y="289"/>
                    <a:pt x="393" y="297"/>
                    <a:pt x="348" y="269"/>
                  </a:cubicBezTo>
                  <a:cubicBezTo>
                    <a:pt x="326" y="255"/>
                    <a:pt x="309" y="235"/>
                    <a:pt x="289" y="217"/>
                  </a:cubicBezTo>
                  <a:cubicBezTo>
                    <a:pt x="269" y="200"/>
                    <a:pt x="245" y="185"/>
                    <a:pt x="219" y="187"/>
                  </a:cubicBezTo>
                  <a:cubicBezTo>
                    <a:pt x="190" y="189"/>
                    <a:pt x="167" y="212"/>
                    <a:pt x="148" y="234"/>
                  </a:cubicBezTo>
                  <a:cubicBezTo>
                    <a:pt x="118" y="267"/>
                    <a:pt x="90" y="301"/>
                    <a:pt x="69" y="340"/>
                  </a:cubicBezTo>
                  <a:cubicBezTo>
                    <a:pt x="29" y="415"/>
                    <a:pt x="19" y="502"/>
                    <a:pt x="21" y="587"/>
                  </a:cubicBezTo>
                  <a:cubicBezTo>
                    <a:pt x="23" y="672"/>
                    <a:pt x="35" y="756"/>
                    <a:pt x="36" y="841"/>
                  </a:cubicBezTo>
                  <a:cubicBezTo>
                    <a:pt x="36" y="945"/>
                    <a:pt x="18" y="1049"/>
                    <a:pt x="0" y="1151"/>
                  </a:cubicBezTo>
                  <a:cubicBezTo>
                    <a:pt x="165" y="1131"/>
                    <a:pt x="329" y="1175"/>
                    <a:pt x="494" y="1192"/>
                  </a:cubicBezTo>
                  <a:cubicBezTo>
                    <a:pt x="600" y="1203"/>
                    <a:pt x="706" y="1203"/>
                    <a:pt x="812" y="1202"/>
                  </a:cubicBezTo>
                  <a:cubicBezTo>
                    <a:pt x="830" y="1202"/>
                    <a:pt x="850" y="1202"/>
                    <a:pt x="866" y="1192"/>
                  </a:cubicBezTo>
                  <a:cubicBezTo>
                    <a:pt x="875" y="1185"/>
                    <a:pt x="883" y="1176"/>
                    <a:pt x="888" y="1165"/>
                  </a:cubicBezTo>
                  <a:cubicBezTo>
                    <a:pt x="903" y="1138"/>
                    <a:pt x="909" y="1107"/>
                    <a:pt x="913" y="1077"/>
                  </a:cubicBezTo>
                  <a:cubicBezTo>
                    <a:pt x="923" y="1000"/>
                    <a:pt x="923" y="922"/>
                    <a:pt x="924" y="844"/>
                  </a:cubicBezTo>
                  <a:cubicBezTo>
                    <a:pt x="924" y="656"/>
                    <a:pt x="925" y="468"/>
                    <a:pt x="901" y="281"/>
                  </a:cubicBezTo>
                  <a:cubicBezTo>
                    <a:pt x="895" y="235"/>
                    <a:pt x="888" y="189"/>
                    <a:pt x="870" y="146"/>
                  </a:cubicBezTo>
                  <a:cubicBezTo>
                    <a:pt x="853" y="103"/>
                    <a:pt x="824" y="64"/>
                    <a:pt x="784" y="41"/>
                  </a:cubicBezTo>
                  <a:cubicBezTo>
                    <a:pt x="758" y="26"/>
                    <a:pt x="698" y="0"/>
                    <a:pt x="668" y="15"/>
                  </a:cubicBezTo>
                  <a:cubicBezTo>
                    <a:pt x="634" y="32"/>
                    <a:pt x="618" y="108"/>
                    <a:pt x="602" y="140"/>
                  </a:cubicBezTo>
                </a:path>
              </a:pathLst>
            </a:custGeom>
            <a:solidFill>
              <a:srgbClr val="767D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íṧlidè">
              <a:extLst>
                <a:ext uri="{FF2B5EF4-FFF2-40B4-BE49-F238E27FC236}">
                  <a16:creationId xmlns:a16="http://schemas.microsoft.com/office/drawing/2014/main" id="{3EA6C570-46FC-436A-BE9C-B21846517D4E}"/>
                </a:ext>
              </a:extLst>
            </p:cNvPr>
            <p:cNvSpPr/>
            <p:nvPr/>
          </p:nvSpPr>
          <p:spPr bwMode="auto">
            <a:xfrm>
              <a:off x="7473099" y="3425492"/>
              <a:ext cx="1042660" cy="1871730"/>
            </a:xfrm>
            <a:custGeom>
              <a:avLst/>
              <a:gdLst>
                <a:gd name="T0" fmla="*/ 38 w 662"/>
                <a:gd name="T1" fmla="*/ 698 h 1190"/>
                <a:gd name="T2" fmla="*/ 60 w 662"/>
                <a:gd name="T3" fmla="*/ 356 h 1190"/>
                <a:gd name="T4" fmla="*/ 40 w 662"/>
                <a:gd name="T5" fmla="*/ 274 h 1190"/>
                <a:gd name="T6" fmla="*/ 81 w 662"/>
                <a:gd name="T7" fmla="*/ 179 h 1190"/>
                <a:gd name="T8" fmla="*/ 83 w 662"/>
                <a:gd name="T9" fmla="*/ 143 h 1190"/>
                <a:gd name="T10" fmla="*/ 39 w 662"/>
                <a:gd name="T11" fmla="*/ 97 h 1190"/>
                <a:gd name="T12" fmla="*/ 3 w 662"/>
                <a:gd name="T13" fmla="*/ 15 h 1190"/>
                <a:gd name="T14" fmla="*/ 38 w 662"/>
                <a:gd name="T15" fmla="*/ 10 h 1190"/>
                <a:gd name="T16" fmla="*/ 76 w 662"/>
                <a:gd name="T17" fmla="*/ 12 h 1190"/>
                <a:gd name="T18" fmla="*/ 180 w 662"/>
                <a:gd name="T19" fmla="*/ 19 h 1190"/>
                <a:gd name="T20" fmla="*/ 235 w 662"/>
                <a:gd name="T21" fmla="*/ 27 h 1190"/>
                <a:gd name="T22" fmla="*/ 344 w 662"/>
                <a:gd name="T23" fmla="*/ 24 h 1190"/>
                <a:gd name="T24" fmla="*/ 393 w 662"/>
                <a:gd name="T25" fmla="*/ 20 h 1190"/>
                <a:gd name="T26" fmla="*/ 496 w 662"/>
                <a:gd name="T27" fmla="*/ 85 h 1190"/>
                <a:gd name="T28" fmla="*/ 556 w 662"/>
                <a:gd name="T29" fmla="*/ 194 h 1190"/>
                <a:gd name="T30" fmla="*/ 607 w 662"/>
                <a:gd name="T31" fmla="*/ 285 h 1190"/>
                <a:gd name="T32" fmla="*/ 636 w 662"/>
                <a:gd name="T33" fmla="*/ 373 h 1190"/>
                <a:gd name="T34" fmla="*/ 657 w 662"/>
                <a:gd name="T35" fmla="*/ 450 h 1190"/>
                <a:gd name="T36" fmla="*/ 662 w 662"/>
                <a:gd name="T37" fmla="*/ 484 h 1190"/>
                <a:gd name="T38" fmla="*/ 650 w 662"/>
                <a:gd name="T39" fmla="*/ 518 h 1190"/>
                <a:gd name="T40" fmla="*/ 575 w 662"/>
                <a:gd name="T41" fmla="*/ 632 h 1190"/>
                <a:gd name="T42" fmla="*/ 454 w 662"/>
                <a:gd name="T43" fmla="*/ 796 h 1190"/>
                <a:gd name="T44" fmla="*/ 433 w 662"/>
                <a:gd name="T45" fmla="*/ 873 h 1190"/>
                <a:gd name="T46" fmla="*/ 390 w 662"/>
                <a:gd name="T47" fmla="*/ 1190 h 1190"/>
                <a:gd name="T48" fmla="*/ 243 w 662"/>
                <a:gd name="T49" fmla="*/ 1141 h 1190"/>
                <a:gd name="T50" fmla="*/ 167 w 662"/>
                <a:gd name="T51" fmla="*/ 1129 h 1190"/>
                <a:gd name="T52" fmla="*/ 139 w 662"/>
                <a:gd name="T53" fmla="*/ 1128 h 1190"/>
                <a:gd name="T54" fmla="*/ 95 w 662"/>
                <a:gd name="T55" fmla="*/ 1125 h 1190"/>
                <a:gd name="T56" fmla="*/ 50 w 662"/>
                <a:gd name="T57" fmla="*/ 1023 h 1190"/>
                <a:gd name="T58" fmla="*/ 39 w 662"/>
                <a:gd name="T59" fmla="*/ 871 h 1190"/>
                <a:gd name="T60" fmla="*/ 38 w 662"/>
                <a:gd name="T61" fmla="*/ 698 h 1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62" h="1190">
                  <a:moveTo>
                    <a:pt x="38" y="698"/>
                  </a:moveTo>
                  <a:cubicBezTo>
                    <a:pt x="32" y="582"/>
                    <a:pt x="6" y="459"/>
                    <a:pt x="60" y="356"/>
                  </a:cubicBezTo>
                  <a:cubicBezTo>
                    <a:pt x="73" y="330"/>
                    <a:pt x="26" y="299"/>
                    <a:pt x="40" y="274"/>
                  </a:cubicBezTo>
                  <a:cubicBezTo>
                    <a:pt x="58" y="245"/>
                    <a:pt x="72" y="212"/>
                    <a:pt x="81" y="179"/>
                  </a:cubicBezTo>
                  <a:cubicBezTo>
                    <a:pt x="84" y="167"/>
                    <a:pt x="86" y="155"/>
                    <a:pt x="83" y="143"/>
                  </a:cubicBezTo>
                  <a:cubicBezTo>
                    <a:pt x="78" y="122"/>
                    <a:pt x="57" y="109"/>
                    <a:pt x="39" y="97"/>
                  </a:cubicBezTo>
                  <a:cubicBezTo>
                    <a:pt x="20" y="82"/>
                    <a:pt x="10" y="39"/>
                    <a:pt x="3" y="15"/>
                  </a:cubicBezTo>
                  <a:cubicBezTo>
                    <a:pt x="0" y="2"/>
                    <a:pt x="17" y="6"/>
                    <a:pt x="38" y="10"/>
                  </a:cubicBezTo>
                  <a:cubicBezTo>
                    <a:pt x="52" y="13"/>
                    <a:pt x="67" y="15"/>
                    <a:pt x="76" y="12"/>
                  </a:cubicBezTo>
                  <a:cubicBezTo>
                    <a:pt x="108" y="0"/>
                    <a:pt x="148" y="8"/>
                    <a:pt x="180" y="19"/>
                  </a:cubicBezTo>
                  <a:cubicBezTo>
                    <a:pt x="197" y="26"/>
                    <a:pt x="216" y="26"/>
                    <a:pt x="235" y="27"/>
                  </a:cubicBezTo>
                  <a:cubicBezTo>
                    <a:pt x="272" y="28"/>
                    <a:pt x="308" y="29"/>
                    <a:pt x="344" y="24"/>
                  </a:cubicBezTo>
                  <a:cubicBezTo>
                    <a:pt x="361" y="22"/>
                    <a:pt x="377" y="19"/>
                    <a:pt x="393" y="20"/>
                  </a:cubicBezTo>
                  <a:cubicBezTo>
                    <a:pt x="435" y="22"/>
                    <a:pt x="471" y="51"/>
                    <a:pt x="496" y="85"/>
                  </a:cubicBezTo>
                  <a:cubicBezTo>
                    <a:pt x="520" y="118"/>
                    <a:pt x="536" y="158"/>
                    <a:pt x="556" y="194"/>
                  </a:cubicBezTo>
                  <a:cubicBezTo>
                    <a:pt x="573" y="224"/>
                    <a:pt x="593" y="253"/>
                    <a:pt x="607" y="285"/>
                  </a:cubicBezTo>
                  <a:cubicBezTo>
                    <a:pt x="620" y="313"/>
                    <a:pt x="628" y="343"/>
                    <a:pt x="636" y="373"/>
                  </a:cubicBezTo>
                  <a:cubicBezTo>
                    <a:pt x="657" y="450"/>
                    <a:pt x="657" y="450"/>
                    <a:pt x="657" y="450"/>
                  </a:cubicBezTo>
                  <a:cubicBezTo>
                    <a:pt x="660" y="461"/>
                    <a:pt x="662" y="472"/>
                    <a:pt x="662" y="484"/>
                  </a:cubicBezTo>
                  <a:cubicBezTo>
                    <a:pt x="661" y="496"/>
                    <a:pt x="655" y="507"/>
                    <a:pt x="650" y="518"/>
                  </a:cubicBezTo>
                  <a:cubicBezTo>
                    <a:pt x="629" y="559"/>
                    <a:pt x="604" y="597"/>
                    <a:pt x="575" y="632"/>
                  </a:cubicBezTo>
                  <a:cubicBezTo>
                    <a:pt x="532" y="685"/>
                    <a:pt x="479" y="733"/>
                    <a:pt x="454" y="796"/>
                  </a:cubicBezTo>
                  <a:cubicBezTo>
                    <a:pt x="444" y="821"/>
                    <a:pt x="438" y="847"/>
                    <a:pt x="433" y="873"/>
                  </a:cubicBezTo>
                  <a:cubicBezTo>
                    <a:pt x="413" y="978"/>
                    <a:pt x="398" y="1084"/>
                    <a:pt x="390" y="1190"/>
                  </a:cubicBezTo>
                  <a:cubicBezTo>
                    <a:pt x="343" y="1168"/>
                    <a:pt x="294" y="1152"/>
                    <a:pt x="243" y="1141"/>
                  </a:cubicBezTo>
                  <a:cubicBezTo>
                    <a:pt x="218" y="1136"/>
                    <a:pt x="193" y="1132"/>
                    <a:pt x="167" y="1129"/>
                  </a:cubicBezTo>
                  <a:cubicBezTo>
                    <a:pt x="159" y="1128"/>
                    <a:pt x="149" y="1128"/>
                    <a:pt x="139" y="1128"/>
                  </a:cubicBezTo>
                  <a:cubicBezTo>
                    <a:pt x="124" y="1129"/>
                    <a:pt x="108" y="1129"/>
                    <a:pt x="95" y="1125"/>
                  </a:cubicBezTo>
                  <a:cubicBezTo>
                    <a:pt x="59" y="1115"/>
                    <a:pt x="55" y="1055"/>
                    <a:pt x="50" y="1023"/>
                  </a:cubicBezTo>
                  <a:cubicBezTo>
                    <a:pt x="41" y="973"/>
                    <a:pt x="40" y="922"/>
                    <a:pt x="39" y="871"/>
                  </a:cubicBezTo>
                  <a:cubicBezTo>
                    <a:pt x="39" y="813"/>
                    <a:pt x="41" y="756"/>
                    <a:pt x="38" y="698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ïş1iďê">
              <a:extLst>
                <a:ext uri="{FF2B5EF4-FFF2-40B4-BE49-F238E27FC236}">
                  <a16:creationId xmlns:a16="http://schemas.microsoft.com/office/drawing/2014/main" id="{7D12B4A9-EA8F-46ED-8F4C-C33E1696690C}"/>
                </a:ext>
              </a:extLst>
            </p:cNvPr>
            <p:cNvSpPr/>
            <p:nvPr/>
          </p:nvSpPr>
          <p:spPr bwMode="auto">
            <a:xfrm>
              <a:off x="5754536" y="4098584"/>
              <a:ext cx="660445" cy="983642"/>
            </a:xfrm>
            <a:custGeom>
              <a:avLst/>
              <a:gdLst>
                <a:gd name="T0" fmla="*/ 347 w 419"/>
                <a:gd name="T1" fmla="*/ 54 h 625"/>
                <a:gd name="T2" fmla="*/ 419 w 419"/>
                <a:gd name="T3" fmla="*/ 336 h 625"/>
                <a:gd name="T4" fmla="*/ 416 w 419"/>
                <a:gd name="T5" fmla="*/ 338 h 625"/>
                <a:gd name="T6" fmla="*/ 406 w 419"/>
                <a:gd name="T7" fmla="*/ 346 h 625"/>
                <a:gd name="T8" fmla="*/ 382 w 419"/>
                <a:gd name="T9" fmla="*/ 365 h 625"/>
                <a:gd name="T10" fmla="*/ 376 w 419"/>
                <a:gd name="T11" fmla="*/ 374 h 625"/>
                <a:gd name="T12" fmla="*/ 376 w 419"/>
                <a:gd name="T13" fmla="*/ 392 h 625"/>
                <a:gd name="T14" fmla="*/ 313 w 419"/>
                <a:gd name="T15" fmla="*/ 397 h 625"/>
                <a:gd name="T16" fmla="*/ 262 w 419"/>
                <a:gd name="T17" fmla="*/ 407 h 625"/>
                <a:gd name="T18" fmla="*/ 232 w 419"/>
                <a:gd name="T19" fmla="*/ 474 h 625"/>
                <a:gd name="T20" fmla="*/ 229 w 419"/>
                <a:gd name="T21" fmla="*/ 501 h 625"/>
                <a:gd name="T22" fmla="*/ 227 w 419"/>
                <a:gd name="T23" fmla="*/ 526 h 625"/>
                <a:gd name="T24" fmla="*/ 226 w 419"/>
                <a:gd name="T25" fmla="*/ 610 h 625"/>
                <a:gd name="T26" fmla="*/ 227 w 419"/>
                <a:gd name="T27" fmla="*/ 625 h 625"/>
                <a:gd name="T28" fmla="*/ 46 w 419"/>
                <a:gd name="T29" fmla="*/ 557 h 625"/>
                <a:gd name="T30" fmla="*/ 11 w 419"/>
                <a:gd name="T31" fmla="*/ 529 h 625"/>
                <a:gd name="T32" fmla="*/ 2 w 419"/>
                <a:gd name="T33" fmla="*/ 487 h 625"/>
                <a:gd name="T34" fmla="*/ 3 w 419"/>
                <a:gd name="T35" fmla="*/ 481 h 625"/>
                <a:gd name="T36" fmla="*/ 12 w 419"/>
                <a:gd name="T37" fmla="*/ 447 h 625"/>
                <a:gd name="T38" fmla="*/ 89 w 419"/>
                <a:gd name="T39" fmla="*/ 316 h 625"/>
                <a:gd name="T40" fmla="*/ 126 w 419"/>
                <a:gd name="T41" fmla="*/ 262 h 625"/>
                <a:gd name="T42" fmla="*/ 133 w 419"/>
                <a:gd name="T43" fmla="*/ 234 h 625"/>
                <a:gd name="T44" fmla="*/ 210 w 419"/>
                <a:gd name="T45" fmla="*/ 137 h 625"/>
                <a:gd name="T46" fmla="*/ 221 w 419"/>
                <a:gd name="T47" fmla="*/ 109 h 625"/>
                <a:gd name="T48" fmla="*/ 238 w 419"/>
                <a:gd name="T49" fmla="*/ 90 h 625"/>
                <a:gd name="T50" fmla="*/ 247 w 419"/>
                <a:gd name="T51" fmla="*/ 83 h 625"/>
                <a:gd name="T52" fmla="*/ 328 w 419"/>
                <a:gd name="T53" fmla="*/ 13 h 625"/>
                <a:gd name="T54" fmla="*/ 343 w 419"/>
                <a:gd name="T55" fmla="*/ 0 h 625"/>
                <a:gd name="T56" fmla="*/ 347 w 419"/>
                <a:gd name="T57" fmla="*/ 54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9" h="625">
                  <a:moveTo>
                    <a:pt x="347" y="54"/>
                  </a:moveTo>
                  <a:cubicBezTo>
                    <a:pt x="364" y="150"/>
                    <a:pt x="382" y="246"/>
                    <a:pt x="419" y="336"/>
                  </a:cubicBezTo>
                  <a:cubicBezTo>
                    <a:pt x="418" y="337"/>
                    <a:pt x="417" y="338"/>
                    <a:pt x="416" y="338"/>
                  </a:cubicBezTo>
                  <a:cubicBezTo>
                    <a:pt x="413" y="341"/>
                    <a:pt x="410" y="344"/>
                    <a:pt x="406" y="346"/>
                  </a:cubicBezTo>
                  <a:cubicBezTo>
                    <a:pt x="398" y="352"/>
                    <a:pt x="389" y="357"/>
                    <a:pt x="382" y="365"/>
                  </a:cubicBezTo>
                  <a:cubicBezTo>
                    <a:pt x="379" y="368"/>
                    <a:pt x="377" y="371"/>
                    <a:pt x="376" y="374"/>
                  </a:cubicBezTo>
                  <a:cubicBezTo>
                    <a:pt x="374" y="380"/>
                    <a:pt x="374" y="387"/>
                    <a:pt x="376" y="392"/>
                  </a:cubicBezTo>
                  <a:cubicBezTo>
                    <a:pt x="357" y="401"/>
                    <a:pt x="335" y="398"/>
                    <a:pt x="313" y="397"/>
                  </a:cubicBezTo>
                  <a:cubicBezTo>
                    <a:pt x="295" y="397"/>
                    <a:pt x="277" y="397"/>
                    <a:pt x="262" y="407"/>
                  </a:cubicBezTo>
                  <a:cubicBezTo>
                    <a:pt x="242" y="422"/>
                    <a:pt x="236" y="449"/>
                    <a:pt x="232" y="474"/>
                  </a:cubicBezTo>
                  <a:cubicBezTo>
                    <a:pt x="231" y="483"/>
                    <a:pt x="230" y="492"/>
                    <a:pt x="229" y="501"/>
                  </a:cubicBezTo>
                  <a:cubicBezTo>
                    <a:pt x="228" y="509"/>
                    <a:pt x="227" y="517"/>
                    <a:pt x="227" y="526"/>
                  </a:cubicBezTo>
                  <a:cubicBezTo>
                    <a:pt x="225" y="554"/>
                    <a:pt x="225" y="582"/>
                    <a:pt x="226" y="610"/>
                  </a:cubicBezTo>
                  <a:cubicBezTo>
                    <a:pt x="226" y="615"/>
                    <a:pt x="227" y="620"/>
                    <a:pt x="227" y="625"/>
                  </a:cubicBezTo>
                  <a:cubicBezTo>
                    <a:pt x="162" y="624"/>
                    <a:pt x="102" y="590"/>
                    <a:pt x="46" y="557"/>
                  </a:cubicBezTo>
                  <a:cubicBezTo>
                    <a:pt x="33" y="549"/>
                    <a:pt x="20" y="541"/>
                    <a:pt x="11" y="529"/>
                  </a:cubicBezTo>
                  <a:cubicBezTo>
                    <a:pt x="4" y="516"/>
                    <a:pt x="0" y="502"/>
                    <a:pt x="2" y="487"/>
                  </a:cubicBezTo>
                  <a:cubicBezTo>
                    <a:pt x="2" y="485"/>
                    <a:pt x="2" y="483"/>
                    <a:pt x="3" y="481"/>
                  </a:cubicBezTo>
                  <a:cubicBezTo>
                    <a:pt x="4" y="469"/>
                    <a:pt x="8" y="458"/>
                    <a:pt x="12" y="447"/>
                  </a:cubicBezTo>
                  <a:cubicBezTo>
                    <a:pt x="29" y="399"/>
                    <a:pt x="55" y="355"/>
                    <a:pt x="89" y="316"/>
                  </a:cubicBezTo>
                  <a:cubicBezTo>
                    <a:pt x="103" y="299"/>
                    <a:pt x="119" y="283"/>
                    <a:pt x="126" y="262"/>
                  </a:cubicBezTo>
                  <a:cubicBezTo>
                    <a:pt x="129" y="253"/>
                    <a:pt x="130" y="243"/>
                    <a:pt x="133" y="234"/>
                  </a:cubicBezTo>
                  <a:cubicBezTo>
                    <a:pt x="146" y="194"/>
                    <a:pt x="194" y="176"/>
                    <a:pt x="210" y="137"/>
                  </a:cubicBezTo>
                  <a:cubicBezTo>
                    <a:pt x="214" y="128"/>
                    <a:pt x="216" y="118"/>
                    <a:pt x="221" y="109"/>
                  </a:cubicBezTo>
                  <a:cubicBezTo>
                    <a:pt x="226" y="102"/>
                    <a:pt x="231" y="96"/>
                    <a:pt x="238" y="90"/>
                  </a:cubicBezTo>
                  <a:cubicBezTo>
                    <a:pt x="241" y="88"/>
                    <a:pt x="244" y="86"/>
                    <a:pt x="247" y="83"/>
                  </a:cubicBezTo>
                  <a:cubicBezTo>
                    <a:pt x="275" y="61"/>
                    <a:pt x="302" y="38"/>
                    <a:pt x="328" y="13"/>
                  </a:cubicBezTo>
                  <a:cubicBezTo>
                    <a:pt x="333" y="9"/>
                    <a:pt x="338" y="4"/>
                    <a:pt x="343" y="0"/>
                  </a:cubicBezTo>
                  <a:cubicBezTo>
                    <a:pt x="342" y="18"/>
                    <a:pt x="343" y="36"/>
                    <a:pt x="347" y="54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í$ļiḋe">
              <a:extLst>
                <a:ext uri="{FF2B5EF4-FFF2-40B4-BE49-F238E27FC236}">
                  <a16:creationId xmlns:a16="http://schemas.microsoft.com/office/drawing/2014/main" id="{0AF4C009-C446-443F-A9AE-30F8CE7F60D2}"/>
                </a:ext>
              </a:extLst>
            </p:cNvPr>
            <p:cNvSpPr/>
            <p:nvPr/>
          </p:nvSpPr>
          <p:spPr bwMode="auto">
            <a:xfrm>
              <a:off x="6295539" y="3598332"/>
              <a:ext cx="705412" cy="1800065"/>
            </a:xfrm>
            <a:custGeom>
              <a:avLst/>
              <a:gdLst>
                <a:gd name="T0" fmla="*/ 407 w 448"/>
                <a:gd name="T1" fmla="*/ 88 h 1144"/>
                <a:gd name="T2" fmla="*/ 389 w 448"/>
                <a:gd name="T3" fmla="*/ 105 h 1144"/>
                <a:gd name="T4" fmla="*/ 387 w 448"/>
                <a:gd name="T5" fmla="*/ 107 h 1144"/>
                <a:gd name="T6" fmla="*/ 381 w 448"/>
                <a:gd name="T7" fmla="*/ 113 h 1144"/>
                <a:gd name="T8" fmla="*/ 351 w 448"/>
                <a:gd name="T9" fmla="*/ 148 h 1144"/>
                <a:gd name="T10" fmla="*/ 350 w 448"/>
                <a:gd name="T11" fmla="*/ 149 h 1144"/>
                <a:gd name="T12" fmla="*/ 343 w 448"/>
                <a:gd name="T13" fmla="*/ 272 h 1144"/>
                <a:gd name="T14" fmla="*/ 352 w 448"/>
                <a:gd name="T15" fmla="*/ 428 h 1144"/>
                <a:gd name="T16" fmla="*/ 343 w 448"/>
                <a:gd name="T17" fmla="*/ 643 h 1144"/>
                <a:gd name="T18" fmla="*/ 344 w 448"/>
                <a:gd name="T19" fmla="*/ 692 h 1144"/>
                <a:gd name="T20" fmla="*/ 349 w 448"/>
                <a:gd name="T21" fmla="*/ 772 h 1144"/>
                <a:gd name="T22" fmla="*/ 358 w 448"/>
                <a:gd name="T23" fmla="*/ 859 h 1144"/>
                <a:gd name="T24" fmla="*/ 364 w 448"/>
                <a:gd name="T25" fmla="*/ 926 h 1144"/>
                <a:gd name="T26" fmla="*/ 367 w 448"/>
                <a:gd name="T27" fmla="*/ 961 h 1144"/>
                <a:gd name="T28" fmla="*/ 369 w 448"/>
                <a:gd name="T29" fmla="*/ 1002 h 1144"/>
                <a:gd name="T30" fmla="*/ 369 w 448"/>
                <a:gd name="T31" fmla="*/ 1027 h 1144"/>
                <a:gd name="T32" fmla="*/ 369 w 448"/>
                <a:gd name="T33" fmla="*/ 1042 h 1144"/>
                <a:gd name="T34" fmla="*/ 368 w 448"/>
                <a:gd name="T35" fmla="*/ 1070 h 1144"/>
                <a:gd name="T36" fmla="*/ 366 w 448"/>
                <a:gd name="T37" fmla="*/ 1106 h 1144"/>
                <a:gd name="T38" fmla="*/ 353 w 448"/>
                <a:gd name="T39" fmla="*/ 1143 h 1144"/>
                <a:gd name="T40" fmla="*/ 351 w 448"/>
                <a:gd name="T41" fmla="*/ 1144 h 1144"/>
                <a:gd name="T42" fmla="*/ 338 w 448"/>
                <a:gd name="T43" fmla="*/ 1143 h 1144"/>
                <a:gd name="T44" fmla="*/ 69 w 448"/>
                <a:gd name="T45" fmla="*/ 1138 h 1144"/>
                <a:gd name="T46" fmla="*/ 75 w 448"/>
                <a:gd name="T47" fmla="*/ 1097 h 1144"/>
                <a:gd name="T48" fmla="*/ 77 w 448"/>
                <a:gd name="T49" fmla="*/ 1078 h 1144"/>
                <a:gd name="T50" fmla="*/ 80 w 448"/>
                <a:gd name="T51" fmla="*/ 1056 h 1144"/>
                <a:gd name="T52" fmla="*/ 82 w 448"/>
                <a:gd name="T53" fmla="*/ 1032 h 1144"/>
                <a:gd name="T54" fmla="*/ 88 w 448"/>
                <a:gd name="T55" fmla="*/ 970 h 1144"/>
                <a:gd name="T56" fmla="*/ 93 w 448"/>
                <a:gd name="T57" fmla="*/ 880 h 1144"/>
                <a:gd name="T58" fmla="*/ 94 w 448"/>
                <a:gd name="T59" fmla="*/ 836 h 1144"/>
                <a:gd name="T60" fmla="*/ 95 w 448"/>
                <a:gd name="T61" fmla="*/ 782 h 1144"/>
                <a:gd name="T62" fmla="*/ 95 w 448"/>
                <a:gd name="T63" fmla="*/ 730 h 1144"/>
                <a:gd name="T64" fmla="*/ 94 w 448"/>
                <a:gd name="T65" fmla="*/ 713 h 1144"/>
                <a:gd name="T66" fmla="*/ 92 w 448"/>
                <a:gd name="T67" fmla="*/ 697 h 1144"/>
                <a:gd name="T68" fmla="*/ 80 w 448"/>
                <a:gd name="T69" fmla="*/ 664 h 1144"/>
                <a:gd name="T70" fmla="*/ 77 w 448"/>
                <a:gd name="T71" fmla="*/ 657 h 1144"/>
                <a:gd name="T72" fmla="*/ 76 w 448"/>
                <a:gd name="T73" fmla="*/ 654 h 1144"/>
                <a:gd name="T74" fmla="*/ 131 w 448"/>
                <a:gd name="T75" fmla="*/ 579 h 1144"/>
                <a:gd name="T76" fmla="*/ 187 w 448"/>
                <a:gd name="T77" fmla="*/ 440 h 1144"/>
                <a:gd name="T78" fmla="*/ 118 w 448"/>
                <a:gd name="T79" fmla="*/ 317 h 1144"/>
                <a:gd name="T80" fmla="*/ 78 w 448"/>
                <a:gd name="T81" fmla="*/ 310 h 1144"/>
                <a:gd name="T82" fmla="*/ 24 w 448"/>
                <a:gd name="T83" fmla="*/ 294 h 1144"/>
                <a:gd name="T84" fmla="*/ 0 w 448"/>
                <a:gd name="T85" fmla="*/ 318 h 1144"/>
                <a:gd name="T86" fmla="*/ 9 w 448"/>
                <a:gd name="T87" fmla="*/ 283 h 1144"/>
                <a:gd name="T88" fmla="*/ 14 w 448"/>
                <a:gd name="T89" fmla="*/ 283 h 1144"/>
                <a:gd name="T90" fmla="*/ 14 w 448"/>
                <a:gd name="T91" fmla="*/ 279 h 1144"/>
                <a:gd name="T92" fmla="*/ 23 w 448"/>
                <a:gd name="T93" fmla="*/ 265 h 1144"/>
                <a:gd name="T94" fmla="*/ 83 w 448"/>
                <a:gd name="T95" fmla="*/ 224 h 1144"/>
                <a:gd name="T96" fmla="*/ 93 w 448"/>
                <a:gd name="T97" fmla="*/ 194 h 1144"/>
                <a:gd name="T98" fmla="*/ 157 w 448"/>
                <a:gd name="T99" fmla="*/ 136 h 1144"/>
                <a:gd name="T100" fmla="*/ 198 w 448"/>
                <a:gd name="T101" fmla="*/ 60 h 1144"/>
                <a:gd name="T102" fmla="*/ 246 w 448"/>
                <a:gd name="T103" fmla="*/ 20 h 1144"/>
                <a:gd name="T104" fmla="*/ 251 w 448"/>
                <a:gd name="T105" fmla="*/ 18 h 1144"/>
                <a:gd name="T106" fmla="*/ 358 w 448"/>
                <a:gd name="T107" fmla="*/ 0 h 1144"/>
                <a:gd name="T108" fmla="*/ 423 w 448"/>
                <a:gd name="T109" fmla="*/ 8 h 1144"/>
                <a:gd name="T110" fmla="*/ 430 w 448"/>
                <a:gd name="T111" fmla="*/ 12 h 1144"/>
                <a:gd name="T112" fmla="*/ 407 w 448"/>
                <a:gd name="T113" fmla="*/ 88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8" h="1144">
                  <a:moveTo>
                    <a:pt x="407" y="88"/>
                  </a:moveTo>
                  <a:cubicBezTo>
                    <a:pt x="401" y="94"/>
                    <a:pt x="395" y="99"/>
                    <a:pt x="389" y="105"/>
                  </a:cubicBezTo>
                  <a:cubicBezTo>
                    <a:pt x="387" y="107"/>
                    <a:pt x="387" y="107"/>
                    <a:pt x="387" y="107"/>
                  </a:cubicBezTo>
                  <a:cubicBezTo>
                    <a:pt x="381" y="113"/>
                    <a:pt x="381" y="113"/>
                    <a:pt x="381" y="113"/>
                  </a:cubicBezTo>
                  <a:cubicBezTo>
                    <a:pt x="369" y="123"/>
                    <a:pt x="359" y="135"/>
                    <a:pt x="351" y="148"/>
                  </a:cubicBezTo>
                  <a:cubicBezTo>
                    <a:pt x="350" y="149"/>
                    <a:pt x="350" y="149"/>
                    <a:pt x="350" y="149"/>
                  </a:cubicBezTo>
                  <a:cubicBezTo>
                    <a:pt x="329" y="185"/>
                    <a:pt x="337" y="230"/>
                    <a:pt x="343" y="272"/>
                  </a:cubicBezTo>
                  <a:cubicBezTo>
                    <a:pt x="350" y="323"/>
                    <a:pt x="353" y="376"/>
                    <a:pt x="352" y="428"/>
                  </a:cubicBezTo>
                  <a:cubicBezTo>
                    <a:pt x="351" y="500"/>
                    <a:pt x="343" y="571"/>
                    <a:pt x="343" y="643"/>
                  </a:cubicBezTo>
                  <a:cubicBezTo>
                    <a:pt x="343" y="660"/>
                    <a:pt x="343" y="676"/>
                    <a:pt x="344" y="692"/>
                  </a:cubicBezTo>
                  <a:cubicBezTo>
                    <a:pt x="345" y="719"/>
                    <a:pt x="347" y="745"/>
                    <a:pt x="349" y="772"/>
                  </a:cubicBezTo>
                  <a:cubicBezTo>
                    <a:pt x="352" y="801"/>
                    <a:pt x="355" y="830"/>
                    <a:pt x="358" y="859"/>
                  </a:cubicBezTo>
                  <a:cubicBezTo>
                    <a:pt x="360" y="881"/>
                    <a:pt x="362" y="904"/>
                    <a:pt x="364" y="926"/>
                  </a:cubicBezTo>
                  <a:cubicBezTo>
                    <a:pt x="365" y="938"/>
                    <a:pt x="366" y="949"/>
                    <a:pt x="367" y="961"/>
                  </a:cubicBezTo>
                  <a:cubicBezTo>
                    <a:pt x="368" y="974"/>
                    <a:pt x="368" y="988"/>
                    <a:pt x="369" y="1002"/>
                  </a:cubicBezTo>
                  <a:cubicBezTo>
                    <a:pt x="369" y="1010"/>
                    <a:pt x="369" y="1019"/>
                    <a:pt x="369" y="1027"/>
                  </a:cubicBezTo>
                  <a:cubicBezTo>
                    <a:pt x="369" y="1032"/>
                    <a:pt x="369" y="1037"/>
                    <a:pt x="369" y="1042"/>
                  </a:cubicBezTo>
                  <a:cubicBezTo>
                    <a:pt x="369" y="1051"/>
                    <a:pt x="369" y="1061"/>
                    <a:pt x="368" y="1070"/>
                  </a:cubicBezTo>
                  <a:cubicBezTo>
                    <a:pt x="368" y="1082"/>
                    <a:pt x="367" y="1094"/>
                    <a:pt x="366" y="1106"/>
                  </a:cubicBezTo>
                  <a:cubicBezTo>
                    <a:pt x="365" y="1119"/>
                    <a:pt x="362" y="1133"/>
                    <a:pt x="353" y="1143"/>
                  </a:cubicBezTo>
                  <a:cubicBezTo>
                    <a:pt x="353" y="1143"/>
                    <a:pt x="352" y="1144"/>
                    <a:pt x="351" y="1144"/>
                  </a:cubicBezTo>
                  <a:cubicBezTo>
                    <a:pt x="338" y="1143"/>
                    <a:pt x="338" y="1143"/>
                    <a:pt x="338" y="1143"/>
                  </a:cubicBezTo>
                  <a:cubicBezTo>
                    <a:pt x="249" y="1132"/>
                    <a:pt x="159" y="1130"/>
                    <a:pt x="69" y="1138"/>
                  </a:cubicBezTo>
                  <a:cubicBezTo>
                    <a:pt x="71" y="1124"/>
                    <a:pt x="73" y="1111"/>
                    <a:pt x="75" y="1097"/>
                  </a:cubicBezTo>
                  <a:cubicBezTo>
                    <a:pt x="76" y="1091"/>
                    <a:pt x="76" y="1084"/>
                    <a:pt x="77" y="1078"/>
                  </a:cubicBezTo>
                  <a:cubicBezTo>
                    <a:pt x="78" y="1071"/>
                    <a:pt x="79" y="1063"/>
                    <a:pt x="80" y="1056"/>
                  </a:cubicBezTo>
                  <a:cubicBezTo>
                    <a:pt x="81" y="1048"/>
                    <a:pt x="81" y="1040"/>
                    <a:pt x="82" y="1032"/>
                  </a:cubicBezTo>
                  <a:cubicBezTo>
                    <a:pt x="84" y="1011"/>
                    <a:pt x="86" y="991"/>
                    <a:pt x="88" y="970"/>
                  </a:cubicBezTo>
                  <a:cubicBezTo>
                    <a:pt x="90" y="940"/>
                    <a:pt x="92" y="910"/>
                    <a:pt x="93" y="880"/>
                  </a:cubicBezTo>
                  <a:cubicBezTo>
                    <a:pt x="94" y="865"/>
                    <a:pt x="94" y="851"/>
                    <a:pt x="94" y="836"/>
                  </a:cubicBezTo>
                  <a:cubicBezTo>
                    <a:pt x="95" y="818"/>
                    <a:pt x="95" y="800"/>
                    <a:pt x="95" y="782"/>
                  </a:cubicBezTo>
                  <a:cubicBezTo>
                    <a:pt x="95" y="765"/>
                    <a:pt x="95" y="748"/>
                    <a:pt x="95" y="730"/>
                  </a:cubicBezTo>
                  <a:cubicBezTo>
                    <a:pt x="95" y="724"/>
                    <a:pt x="94" y="719"/>
                    <a:pt x="94" y="713"/>
                  </a:cubicBezTo>
                  <a:cubicBezTo>
                    <a:pt x="93" y="708"/>
                    <a:pt x="93" y="703"/>
                    <a:pt x="92" y="697"/>
                  </a:cubicBezTo>
                  <a:cubicBezTo>
                    <a:pt x="89" y="686"/>
                    <a:pt x="85" y="674"/>
                    <a:pt x="80" y="664"/>
                  </a:cubicBezTo>
                  <a:cubicBezTo>
                    <a:pt x="79" y="661"/>
                    <a:pt x="78" y="660"/>
                    <a:pt x="77" y="657"/>
                  </a:cubicBezTo>
                  <a:cubicBezTo>
                    <a:pt x="77" y="656"/>
                    <a:pt x="76" y="655"/>
                    <a:pt x="76" y="654"/>
                  </a:cubicBezTo>
                  <a:cubicBezTo>
                    <a:pt x="99" y="634"/>
                    <a:pt x="115" y="606"/>
                    <a:pt x="131" y="579"/>
                  </a:cubicBezTo>
                  <a:cubicBezTo>
                    <a:pt x="157" y="535"/>
                    <a:pt x="183" y="490"/>
                    <a:pt x="187" y="440"/>
                  </a:cubicBezTo>
                  <a:cubicBezTo>
                    <a:pt x="191" y="389"/>
                    <a:pt x="166" y="333"/>
                    <a:pt x="118" y="317"/>
                  </a:cubicBezTo>
                  <a:cubicBezTo>
                    <a:pt x="105" y="313"/>
                    <a:pt x="91" y="312"/>
                    <a:pt x="78" y="310"/>
                  </a:cubicBezTo>
                  <a:cubicBezTo>
                    <a:pt x="65" y="308"/>
                    <a:pt x="39" y="303"/>
                    <a:pt x="24" y="294"/>
                  </a:cubicBezTo>
                  <a:cubicBezTo>
                    <a:pt x="16" y="302"/>
                    <a:pt x="8" y="310"/>
                    <a:pt x="0" y="318"/>
                  </a:cubicBezTo>
                  <a:cubicBezTo>
                    <a:pt x="0" y="306"/>
                    <a:pt x="3" y="294"/>
                    <a:pt x="9" y="283"/>
                  </a:cubicBezTo>
                  <a:cubicBezTo>
                    <a:pt x="14" y="283"/>
                    <a:pt x="14" y="283"/>
                    <a:pt x="14" y="283"/>
                  </a:cubicBezTo>
                  <a:cubicBezTo>
                    <a:pt x="14" y="282"/>
                    <a:pt x="14" y="281"/>
                    <a:pt x="14" y="279"/>
                  </a:cubicBezTo>
                  <a:cubicBezTo>
                    <a:pt x="14" y="275"/>
                    <a:pt x="17" y="270"/>
                    <a:pt x="23" y="265"/>
                  </a:cubicBezTo>
                  <a:cubicBezTo>
                    <a:pt x="42" y="249"/>
                    <a:pt x="71" y="245"/>
                    <a:pt x="83" y="224"/>
                  </a:cubicBezTo>
                  <a:cubicBezTo>
                    <a:pt x="88" y="215"/>
                    <a:pt x="89" y="204"/>
                    <a:pt x="93" y="194"/>
                  </a:cubicBezTo>
                  <a:cubicBezTo>
                    <a:pt x="104" y="167"/>
                    <a:pt x="137" y="158"/>
                    <a:pt x="157" y="136"/>
                  </a:cubicBezTo>
                  <a:cubicBezTo>
                    <a:pt x="177" y="114"/>
                    <a:pt x="182" y="84"/>
                    <a:pt x="198" y="60"/>
                  </a:cubicBezTo>
                  <a:cubicBezTo>
                    <a:pt x="210" y="42"/>
                    <a:pt x="227" y="29"/>
                    <a:pt x="246" y="20"/>
                  </a:cubicBezTo>
                  <a:cubicBezTo>
                    <a:pt x="248" y="19"/>
                    <a:pt x="249" y="18"/>
                    <a:pt x="251" y="18"/>
                  </a:cubicBezTo>
                  <a:cubicBezTo>
                    <a:pt x="284" y="4"/>
                    <a:pt x="324" y="0"/>
                    <a:pt x="358" y="0"/>
                  </a:cubicBezTo>
                  <a:cubicBezTo>
                    <a:pt x="371" y="0"/>
                    <a:pt x="406" y="1"/>
                    <a:pt x="423" y="8"/>
                  </a:cubicBezTo>
                  <a:cubicBezTo>
                    <a:pt x="426" y="9"/>
                    <a:pt x="428" y="10"/>
                    <a:pt x="430" y="12"/>
                  </a:cubicBezTo>
                  <a:cubicBezTo>
                    <a:pt x="448" y="32"/>
                    <a:pt x="420" y="73"/>
                    <a:pt x="407" y="88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iṩliḋè">
              <a:extLst>
                <a:ext uri="{FF2B5EF4-FFF2-40B4-BE49-F238E27FC236}">
                  <a16:creationId xmlns:a16="http://schemas.microsoft.com/office/drawing/2014/main" id="{9C345D07-80DD-4955-9E9C-B2E292692957}"/>
                </a:ext>
              </a:extLst>
            </p:cNvPr>
            <p:cNvSpPr/>
            <p:nvPr/>
          </p:nvSpPr>
          <p:spPr bwMode="auto">
            <a:xfrm>
              <a:off x="6181717" y="4008651"/>
              <a:ext cx="571918" cy="642178"/>
            </a:xfrm>
            <a:custGeom>
              <a:avLst/>
              <a:gdLst>
                <a:gd name="T0" fmla="*/ 82 w 363"/>
                <a:gd name="T1" fmla="*/ 19 h 408"/>
                <a:gd name="T2" fmla="*/ 269 w 363"/>
                <a:gd name="T3" fmla="*/ 39 h 408"/>
                <a:gd name="T4" fmla="*/ 339 w 363"/>
                <a:gd name="T5" fmla="*/ 106 h 408"/>
                <a:gd name="T6" fmla="*/ 360 w 363"/>
                <a:gd name="T7" fmla="*/ 250 h 408"/>
                <a:gd name="T8" fmla="*/ 348 w 363"/>
                <a:gd name="T9" fmla="*/ 323 h 408"/>
                <a:gd name="T10" fmla="*/ 287 w 363"/>
                <a:gd name="T11" fmla="*/ 380 h 408"/>
                <a:gd name="T12" fmla="*/ 238 w 363"/>
                <a:gd name="T13" fmla="*/ 402 h 408"/>
                <a:gd name="T14" fmla="*/ 156 w 363"/>
                <a:gd name="T15" fmla="*/ 398 h 408"/>
                <a:gd name="T16" fmla="*/ 74 w 363"/>
                <a:gd name="T17" fmla="*/ 364 h 408"/>
                <a:gd name="T18" fmla="*/ 49 w 363"/>
                <a:gd name="T19" fmla="*/ 318 h 408"/>
                <a:gd name="T20" fmla="*/ 21 w 363"/>
                <a:gd name="T21" fmla="*/ 248 h 408"/>
                <a:gd name="T22" fmla="*/ 21 w 363"/>
                <a:gd name="T23" fmla="*/ 135 h 408"/>
                <a:gd name="T24" fmla="*/ 52 w 363"/>
                <a:gd name="T25" fmla="*/ 82 h 408"/>
                <a:gd name="T26" fmla="*/ 82 w 363"/>
                <a:gd name="T27" fmla="*/ 1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3" h="408">
                  <a:moveTo>
                    <a:pt x="82" y="19"/>
                  </a:moveTo>
                  <a:cubicBezTo>
                    <a:pt x="144" y="0"/>
                    <a:pt x="212" y="7"/>
                    <a:pt x="269" y="39"/>
                  </a:cubicBezTo>
                  <a:cubicBezTo>
                    <a:pt x="298" y="55"/>
                    <a:pt x="323" y="77"/>
                    <a:pt x="339" y="106"/>
                  </a:cubicBezTo>
                  <a:cubicBezTo>
                    <a:pt x="363" y="149"/>
                    <a:pt x="362" y="201"/>
                    <a:pt x="360" y="250"/>
                  </a:cubicBezTo>
                  <a:cubicBezTo>
                    <a:pt x="360" y="275"/>
                    <a:pt x="358" y="301"/>
                    <a:pt x="348" y="323"/>
                  </a:cubicBezTo>
                  <a:cubicBezTo>
                    <a:pt x="335" y="348"/>
                    <a:pt x="311" y="366"/>
                    <a:pt x="287" y="380"/>
                  </a:cubicBezTo>
                  <a:cubicBezTo>
                    <a:pt x="272" y="390"/>
                    <a:pt x="255" y="397"/>
                    <a:pt x="238" y="402"/>
                  </a:cubicBezTo>
                  <a:cubicBezTo>
                    <a:pt x="211" y="408"/>
                    <a:pt x="183" y="403"/>
                    <a:pt x="156" y="398"/>
                  </a:cubicBezTo>
                  <a:cubicBezTo>
                    <a:pt x="126" y="392"/>
                    <a:pt x="95" y="386"/>
                    <a:pt x="74" y="364"/>
                  </a:cubicBezTo>
                  <a:cubicBezTo>
                    <a:pt x="62" y="351"/>
                    <a:pt x="56" y="335"/>
                    <a:pt x="49" y="318"/>
                  </a:cubicBezTo>
                  <a:cubicBezTo>
                    <a:pt x="40" y="295"/>
                    <a:pt x="31" y="272"/>
                    <a:pt x="21" y="248"/>
                  </a:cubicBezTo>
                  <a:cubicBezTo>
                    <a:pt x="5" y="208"/>
                    <a:pt x="0" y="174"/>
                    <a:pt x="21" y="135"/>
                  </a:cubicBezTo>
                  <a:cubicBezTo>
                    <a:pt x="31" y="117"/>
                    <a:pt x="43" y="100"/>
                    <a:pt x="52" y="82"/>
                  </a:cubicBezTo>
                  <a:cubicBezTo>
                    <a:pt x="57" y="73"/>
                    <a:pt x="74" y="21"/>
                    <a:pt x="82" y="19"/>
                  </a:cubicBezTo>
                  <a:close/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sļîḓê">
              <a:extLst>
                <a:ext uri="{FF2B5EF4-FFF2-40B4-BE49-F238E27FC236}">
                  <a16:creationId xmlns:a16="http://schemas.microsoft.com/office/drawing/2014/main" id="{D92EE53B-1230-42C8-B767-3FF583B931BF}"/>
                </a:ext>
              </a:extLst>
            </p:cNvPr>
            <p:cNvSpPr/>
            <p:nvPr/>
          </p:nvSpPr>
          <p:spPr bwMode="auto">
            <a:xfrm>
              <a:off x="3125402" y="4756219"/>
              <a:ext cx="5832997" cy="642178"/>
            </a:xfrm>
            <a:custGeom>
              <a:avLst/>
              <a:gdLst>
                <a:gd name="T0" fmla="*/ 3704 w 3704"/>
                <a:gd name="T1" fmla="*/ 236 h 408"/>
                <a:gd name="T2" fmla="*/ 3704 w 3704"/>
                <a:gd name="T3" fmla="*/ 355 h 408"/>
                <a:gd name="T4" fmla="*/ 3445 w 3704"/>
                <a:gd name="T5" fmla="*/ 406 h 408"/>
                <a:gd name="T6" fmla="*/ 2366 w 3704"/>
                <a:gd name="T7" fmla="*/ 406 h 408"/>
                <a:gd name="T8" fmla="*/ 2365 w 3704"/>
                <a:gd name="T9" fmla="*/ 408 h 408"/>
                <a:gd name="T10" fmla="*/ 2352 w 3704"/>
                <a:gd name="T11" fmla="*/ 406 h 408"/>
                <a:gd name="T12" fmla="*/ 433 w 3704"/>
                <a:gd name="T13" fmla="*/ 406 h 408"/>
                <a:gd name="T14" fmla="*/ 0 w 3704"/>
                <a:gd name="T15" fmla="*/ 289 h 408"/>
                <a:gd name="T16" fmla="*/ 0 w 3704"/>
                <a:gd name="T17" fmla="*/ 106 h 408"/>
                <a:gd name="T18" fmla="*/ 923 w 3704"/>
                <a:gd name="T19" fmla="*/ 0 h 408"/>
                <a:gd name="T20" fmla="*/ 924 w 3704"/>
                <a:gd name="T21" fmla="*/ 0 h 408"/>
                <a:gd name="T22" fmla="*/ 1461 w 3704"/>
                <a:gd name="T23" fmla="*/ 45 h 408"/>
                <a:gd name="T24" fmla="*/ 1600 w 3704"/>
                <a:gd name="T25" fmla="*/ 57 h 408"/>
                <a:gd name="T26" fmla="*/ 1672 w 3704"/>
                <a:gd name="T27" fmla="*/ 63 h 408"/>
                <a:gd name="T28" fmla="*/ 1822 w 3704"/>
                <a:gd name="T29" fmla="*/ 76 h 408"/>
                <a:gd name="T30" fmla="*/ 1899 w 3704"/>
                <a:gd name="T31" fmla="*/ 83 h 408"/>
                <a:gd name="T32" fmla="*/ 2011 w 3704"/>
                <a:gd name="T33" fmla="*/ 92 h 408"/>
                <a:gd name="T34" fmla="*/ 2027 w 3704"/>
                <a:gd name="T35" fmla="*/ 94 h 408"/>
                <a:gd name="T36" fmla="*/ 2107 w 3704"/>
                <a:gd name="T37" fmla="*/ 100 h 408"/>
                <a:gd name="T38" fmla="*/ 2217 w 3704"/>
                <a:gd name="T39" fmla="*/ 109 h 408"/>
                <a:gd name="T40" fmla="*/ 2371 w 3704"/>
                <a:gd name="T41" fmla="*/ 122 h 408"/>
                <a:gd name="T42" fmla="*/ 2628 w 3704"/>
                <a:gd name="T43" fmla="*/ 144 h 408"/>
                <a:gd name="T44" fmla="*/ 2808 w 3704"/>
                <a:gd name="T45" fmla="*/ 160 h 408"/>
                <a:gd name="T46" fmla="*/ 3105 w 3704"/>
                <a:gd name="T47" fmla="*/ 185 h 408"/>
                <a:gd name="T48" fmla="*/ 3161 w 3704"/>
                <a:gd name="T49" fmla="*/ 189 h 408"/>
                <a:gd name="T50" fmla="*/ 3167 w 3704"/>
                <a:gd name="T51" fmla="*/ 190 h 408"/>
                <a:gd name="T52" fmla="*/ 3173 w 3704"/>
                <a:gd name="T53" fmla="*/ 190 h 408"/>
                <a:gd name="T54" fmla="*/ 3247 w 3704"/>
                <a:gd name="T55" fmla="*/ 197 h 408"/>
                <a:gd name="T56" fmla="*/ 3329 w 3704"/>
                <a:gd name="T57" fmla="*/ 204 h 408"/>
                <a:gd name="T58" fmla="*/ 3338 w 3704"/>
                <a:gd name="T59" fmla="*/ 204 h 408"/>
                <a:gd name="T60" fmla="*/ 3704 w 3704"/>
                <a:gd name="T61" fmla="*/ 23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04" h="408">
                  <a:moveTo>
                    <a:pt x="3704" y="236"/>
                  </a:moveTo>
                  <a:cubicBezTo>
                    <a:pt x="3704" y="355"/>
                    <a:pt x="3704" y="355"/>
                    <a:pt x="3704" y="355"/>
                  </a:cubicBezTo>
                  <a:cubicBezTo>
                    <a:pt x="3622" y="389"/>
                    <a:pt x="3534" y="407"/>
                    <a:pt x="3445" y="406"/>
                  </a:cubicBezTo>
                  <a:cubicBezTo>
                    <a:pt x="2366" y="406"/>
                    <a:pt x="2366" y="406"/>
                    <a:pt x="2366" y="406"/>
                  </a:cubicBezTo>
                  <a:cubicBezTo>
                    <a:pt x="2366" y="407"/>
                    <a:pt x="2365" y="407"/>
                    <a:pt x="2365" y="408"/>
                  </a:cubicBezTo>
                  <a:cubicBezTo>
                    <a:pt x="2352" y="406"/>
                    <a:pt x="2352" y="406"/>
                    <a:pt x="2352" y="406"/>
                  </a:cubicBezTo>
                  <a:cubicBezTo>
                    <a:pt x="433" y="406"/>
                    <a:pt x="433" y="406"/>
                    <a:pt x="433" y="406"/>
                  </a:cubicBezTo>
                  <a:cubicBezTo>
                    <a:pt x="272" y="406"/>
                    <a:pt x="122" y="363"/>
                    <a:pt x="0" y="289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923" y="0"/>
                    <a:pt x="923" y="0"/>
                    <a:pt x="923" y="0"/>
                  </a:cubicBezTo>
                  <a:cubicBezTo>
                    <a:pt x="924" y="0"/>
                    <a:pt x="924" y="0"/>
                    <a:pt x="924" y="0"/>
                  </a:cubicBezTo>
                  <a:cubicBezTo>
                    <a:pt x="1461" y="45"/>
                    <a:pt x="1461" y="45"/>
                    <a:pt x="1461" y="45"/>
                  </a:cubicBezTo>
                  <a:cubicBezTo>
                    <a:pt x="1600" y="57"/>
                    <a:pt x="1600" y="57"/>
                    <a:pt x="1600" y="57"/>
                  </a:cubicBezTo>
                  <a:cubicBezTo>
                    <a:pt x="1672" y="63"/>
                    <a:pt x="1672" y="63"/>
                    <a:pt x="1672" y="63"/>
                  </a:cubicBezTo>
                  <a:cubicBezTo>
                    <a:pt x="1822" y="76"/>
                    <a:pt x="1822" y="76"/>
                    <a:pt x="1822" y="76"/>
                  </a:cubicBezTo>
                  <a:cubicBezTo>
                    <a:pt x="1899" y="83"/>
                    <a:pt x="1899" y="83"/>
                    <a:pt x="1899" y="83"/>
                  </a:cubicBezTo>
                  <a:cubicBezTo>
                    <a:pt x="2011" y="92"/>
                    <a:pt x="2011" y="92"/>
                    <a:pt x="2011" y="92"/>
                  </a:cubicBezTo>
                  <a:cubicBezTo>
                    <a:pt x="2027" y="94"/>
                    <a:pt x="2027" y="94"/>
                    <a:pt x="2027" y="94"/>
                  </a:cubicBezTo>
                  <a:cubicBezTo>
                    <a:pt x="2107" y="100"/>
                    <a:pt x="2107" y="100"/>
                    <a:pt x="2107" y="100"/>
                  </a:cubicBezTo>
                  <a:cubicBezTo>
                    <a:pt x="2217" y="109"/>
                    <a:pt x="2217" y="109"/>
                    <a:pt x="2217" y="109"/>
                  </a:cubicBezTo>
                  <a:cubicBezTo>
                    <a:pt x="2371" y="122"/>
                    <a:pt x="2371" y="122"/>
                    <a:pt x="2371" y="122"/>
                  </a:cubicBezTo>
                  <a:cubicBezTo>
                    <a:pt x="2628" y="144"/>
                    <a:pt x="2628" y="144"/>
                    <a:pt x="2628" y="144"/>
                  </a:cubicBezTo>
                  <a:cubicBezTo>
                    <a:pt x="2808" y="160"/>
                    <a:pt x="2808" y="160"/>
                    <a:pt x="2808" y="160"/>
                  </a:cubicBezTo>
                  <a:cubicBezTo>
                    <a:pt x="3105" y="185"/>
                    <a:pt x="3105" y="185"/>
                    <a:pt x="3105" y="185"/>
                  </a:cubicBezTo>
                  <a:cubicBezTo>
                    <a:pt x="3161" y="189"/>
                    <a:pt x="3161" y="189"/>
                    <a:pt x="3161" y="189"/>
                  </a:cubicBezTo>
                  <a:cubicBezTo>
                    <a:pt x="3167" y="190"/>
                    <a:pt x="3167" y="190"/>
                    <a:pt x="3167" y="190"/>
                  </a:cubicBezTo>
                  <a:cubicBezTo>
                    <a:pt x="3173" y="190"/>
                    <a:pt x="3173" y="190"/>
                    <a:pt x="3173" y="190"/>
                  </a:cubicBezTo>
                  <a:cubicBezTo>
                    <a:pt x="3247" y="197"/>
                    <a:pt x="3247" y="197"/>
                    <a:pt x="3247" y="197"/>
                  </a:cubicBezTo>
                  <a:cubicBezTo>
                    <a:pt x="3329" y="204"/>
                    <a:pt x="3329" y="204"/>
                    <a:pt x="3329" y="204"/>
                  </a:cubicBezTo>
                  <a:cubicBezTo>
                    <a:pt x="3338" y="204"/>
                    <a:pt x="3338" y="204"/>
                    <a:pt x="3338" y="204"/>
                  </a:cubicBezTo>
                  <a:cubicBezTo>
                    <a:pt x="3704" y="236"/>
                    <a:pt x="3704" y="236"/>
                    <a:pt x="3704" y="236"/>
                  </a:cubicBezTo>
                </a:path>
              </a:pathLst>
            </a:custGeom>
            <a:solidFill>
              <a:srgbClr val="504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iṩļîḋè">
              <a:extLst>
                <a:ext uri="{FF2B5EF4-FFF2-40B4-BE49-F238E27FC236}">
                  <a16:creationId xmlns:a16="http://schemas.microsoft.com/office/drawing/2014/main" id="{C1169DEB-39BB-45A1-BE0B-0E4F6175FBE7}"/>
                </a:ext>
              </a:extLst>
            </p:cNvPr>
            <p:cNvSpPr/>
            <p:nvPr/>
          </p:nvSpPr>
          <p:spPr bwMode="auto">
            <a:xfrm>
              <a:off x="5359674" y="4809617"/>
              <a:ext cx="1891403" cy="487606"/>
            </a:xfrm>
            <a:custGeom>
              <a:avLst/>
              <a:gdLst>
                <a:gd name="T0" fmla="*/ 1346 w 1346"/>
                <a:gd name="T1" fmla="*/ 221 h 347"/>
                <a:gd name="T2" fmla="*/ 49 w 1346"/>
                <a:gd name="T3" fmla="*/ 0 h 347"/>
                <a:gd name="T4" fmla="*/ 0 w 1346"/>
                <a:gd name="T5" fmla="*/ 254 h 347"/>
                <a:gd name="T6" fmla="*/ 594 w 1346"/>
                <a:gd name="T7" fmla="*/ 325 h 347"/>
                <a:gd name="T8" fmla="*/ 777 w 1346"/>
                <a:gd name="T9" fmla="*/ 347 h 347"/>
                <a:gd name="T10" fmla="*/ 1280 w 1346"/>
                <a:gd name="T11" fmla="*/ 249 h 347"/>
                <a:gd name="T12" fmla="*/ 1346 w 1346"/>
                <a:gd name="T13" fmla="*/ 22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6" h="347">
                  <a:moveTo>
                    <a:pt x="1346" y="221"/>
                  </a:moveTo>
                  <a:lnTo>
                    <a:pt x="49" y="0"/>
                  </a:lnTo>
                  <a:lnTo>
                    <a:pt x="0" y="254"/>
                  </a:lnTo>
                  <a:lnTo>
                    <a:pt x="594" y="325"/>
                  </a:lnTo>
                  <a:lnTo>
                    <a:pt x="777" y="347"/>
                  </a:lnTo>
                  <a:lnTo>
                    <a:pt x="1280" y="249"/>
                  </a:lnTo>
                  <a:lnTo>
                    <a:pt x="1346" y="221"/>
                  </a:lnTo>
                  <a:close/>
                </a:path>
              </a:pathLst>
            </a:custGeom>
            <a:solidFill>
              <a:srgbClr val="9C9C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iSḻîḋe">
              <a:extLst>
                <a:ext uri="{FF2B5EF4-FFF2-40B4-BE49-F238E27FC236}">
                  <a16:creationId xmlns:a16="http://schemas.microsoft.com/office/drawing/2014/main" id="{01821731-8E99-44E6-B94E-0D52620C24AB}"/>
                </a:ext>
              </a:extLst>
            </p:cNvPr>
            <p:cNvSpPr/>
            <p:nvPr/>
          </p:nvSpPr>
          <p:spPr bwMode="auto">
            <a:xfrm>
              <a:off x="5359674" y="4809617"/>
              <a:ext cx="1891403" cy="487606"/>
            </a:xfrm>
            <a:custGeom>
              <a:avLst/>
              <a:gdLst>
                <a:gd name="T0" fmla="*/ 1346 w 1346"/>
                <a:gd name="T1" fmla="*/ 221 h 347"/>
                <a:gd name="T2" fmla="*/ 49 w 1346"/>
                <a:gd name="T3" fmla="*/ 0 h 347"/>
                <a:gd name="T4" fmla="*/ 0 w 1346"/>
                <a:gd name="T5" fmla="*/ 254 h 347"/>
                <a:gd name="T6" fmla="*/ 594 w 1346"/>
                <a:gd name="T7" fmla="*/ 325 h 347"/>
                <a:gd name="T8" fmla="*/ 777 w 1346"/>
                <a:gd name="T9" fmla="*/ 347 h 347"/>
                <a:gd name="T10" fmla="*/ 1280 w 1346"/>
                <a:gd name="T11" fmla="*/ 249 h 347"/>
                <a:gd name="T12" fmla="*/ 1346 w 1346"/>
                <a:gd name="T13" fmla="*/ 22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6" h="347">
                  <a:moveTo>
                    <a:pt x="1346" y="221"/>
                  </a:moveTo>
                  <a:lnTo>
                    <a:pt x="49" y="0"/>
                  </a:lnTo>
                  <a:lnTo>
                    <a:pt x="0" y="254"/>
                  </a:lnTo>
                  <a:lnTo>
                    <a:pt x="594" y="325"/>
                  </a:lnTo>
                  <a:lnTo>
                    <a:pt x="777" y="347"/>
                  </a:lnTo>
                  <a:lnTo>
                    <a:pt x="1280" y="249"/>
                  </a:lnTo>
                  <a:lnTo>
                    <a:pt x="1346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šḷîḍé">
              <a:extLst>
                <a:ext uri="{FF2B5EF4-FFF2-40B4-BE49-F238E27FC236}">
                  <a16:creationId xmlns:a16="http://schemas.microsoft.com/office/drawing/2014/main" id="{DF74D817-6399-4096-8E9A-A90557CD571B}"/>
                </a:ext>
              </a:extLst>
            </p:cNvPr>
            <p:cNvSpPr/>
            <p:nvPr/>
          </p:nvSpPr>
          <p:spPr bwMode="auto">
            <a:xfrm>
              <a:off x="6308186" y="5106114"/>
              <a:ext cx="951323" cy="233264"/>
            </a:xfrm>
            <a:custGeom>
              <a:avLst/>
              <a:gdLst>
                <a:gd name="T0" fmla="*/ 0 w 604"/>
                <a:gd name="T1" fmla="*/ 111 h 148"/>
                <a:gd name="T2" fmla="*/ 580 w 604"/>
                <a:gd name="T3" fmla="*/ 2 h 148"/>
                <a:gd name="T4" fmla="*/ 603 w 604"/>
                <a:gd name="T5" fmla="*/ 18 h 148"/>
                <a:gd name="T6" fmla="*/ 604 w 604"/>
                <a:gd name="T7" fmla="*/ 22 h 148"/>
                <a:gd name="T8" fmla="*/ 587 w 604"/>
                <a:gd name="T9" fmla="*/ 42 h 148"/>
                <a:gd name="T10" fmla="*/ 21 w 604"/>
                <a:gd name="T11" fmla="*/ 148 h 148"/>
                <a:gd name="T12" fmla="*/ 0 w 604"/>
                <a:gd name="T13" fmla="*/ 11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148">
                  <a:moveTo>
                    <a:pt x="0" y="111"/>
                  </a:moveTo>
                  <a:cubicBezTo>
                    <a:pt x="580" y="2"/>
                    <a:pt x="580" y="2"/>
                    <a:pt x="580" y="2"/>
                  </a:cubicBezTo>
                  <a:cubicBezTo>
                    <a:pt x="591" y="0"/>
                    <a:pt x="601" y="7"/>
                    <a:pt x="603" y="18"/>
                  </a:cubicBezTo>
                  <a:cubicBezTo>
                    <a:pt x="603" y="19"/>
                    <a:pt x="604" y="21"/>
                    <a:pt x="604" y="22"/>
                  </a:cubicBezTo>
                  <a:cubicBezTo>
                    <a:pt x="604" y="32"/>
                    <a:pt x="597" y="40"/>
                    <a:pt x="587" y="42"/>
                  </a:cubicBezTo>
                  <a:cubicBezTo>
                    <a:pt x="21" y="148"/>
                    <a:pt x="21" y="148"/>
                    <a:pt x="21" y="148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9C9C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i$ľiďè">
              <a:extLst>
                <a:ext uri="{FF2B5EF4-FFF2-40B4-BE49-F238E27FC236}">
                  <a16:creationId xmlns:a16="http://schemas.microsoft.com/office/drawing/2014/main" id="{C32656C2-B396-45A9-AA3A-E73C5243E716}"/>
                </a:ext>
              </a:extLst>
            </p:cNvPr>
            <p:cNvSpPr/>
            <p:nvPr/>
          </p:nvSpPr>
          <p:spPr bwMode="auto">
            <a:xfrm>
              <a:off x="5990610" y="4610078"/>
              <a:ext cx="1333538" cy="536787"/>
            </a:xfrm>
            <a:custGeom>
              <a:avLst/>
              <a:gdLst>
                <a:gd name="T0" fmla="*/ 453 w 846"/>
                <a:gd name="T1" fmla="*/ 84 h 341"/>
                <a:gd name="T2" fmla="*/ 505 w 846"/>
                <a:gd name="T3" fmla="*/ 71 h 341"/>
                <a:gd name="T4" fmla="*/ 559 w 846"/>
                <a:gd name="T5" fmla="*/ 31 h 341"/>
                <a:gd name="T6" fmla="*/ 701 w 846"/>
                <a:gd name="T7" fmla="*/ 16 h 341"/>
                <a:gd name="T8" fmla="*/ 814 w 846"/>
                <a:gd name="T9" fmla="*/ 107 h 341"/>
                <a:gd name="T10" fmla="*/ 833 w 846"/>
                <a:gd name="T11" fmla="*/ 200 h 341"/>
                <a:gd name="T12" fmla="*/ 817 w 846"/>
                <a:gd name="T13" fmla="*/ 226 h 341"/>
                <a:gd name="T14" fmla="*/ 783 w 846"/>
                <a:gd name="T15" fmla="*/ 269 h 341"/>
                <a:gd name="T16" fmla="*/ 761 w 846"/>
                <a:gd name="T17" fmla="*/ 294 h 341"/>
                <a:gd name="T18" fmla="*/ 717 w 846"/>
                <a:gd name="T19" fmla="*/ 309 h 341"/>
                <a:gd name="T20" fmla="*/ 594 w 846"/>
                <a:gd name="T21" fmla="*/ 314 h 341"/>
                <a:gd name="T22" fmla="*/ 385 w 846"/>
                <a:gd name="T23" fmla="*/ 340 h 341"/>
                <a:gd name="T24" fmla="*/ 265 w 846"/>
                <a:gd name="T25" fmla="*/ 324 h 341"/>
                <a:gd name="T26" fmla="*/ 90 w 846"/>
                <a:gd name="T27" fmla="*/ 288 h 341"/>
                <a:gd name="T28" fmla="*/ 11 w 846"/>
                <a:gd name="T29" fmla="*/ 245 h 341"/>
                <a:gd name="T30" fmla="*/ 2 w 846"/>
                <a:gd name="T31" fmla="*/ 204 h 341"/>
                <a:gd name="T32" fmla="*/ 29 w 846"/>
                <a:gd name="T33" fmla="*/ 95 h 341"/>
                <a:gd name="T34" fmla="*/ 124 w 846"/>
                <a:gd name="T35" fmla="*/ 41 h 341"/>
                <a:gd name="T36" fmla="*/ 211 w 846"/>
                <a:gd name="T37" fmla="*/ 43 h 341"/>
                <a:gd name="T38" fmla="*/ 453 w 846"/>
                <a:gd name="T39" fmla="*/ 84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46" h="341">
                  <a:moveTo>
                    <a:pt x="453" y="84"/>
                  </a:moveTo>
                  <a:cubicBezTo>
                    <a:pt x="471" y="82"/>
                    <a:pt x="489" y="79"/>
                    <a:pt x="505" y="71"/>
                  </a:cubicBezTo>
                  <a:cubicBezTo>
                    <a:pt x="525" y="61"/>
                    <a:pt x="541" y="44"/>
                    <a:pt x="559" y="31"/>
                  </a:cubicBezTo>
                  <a:cubicBezTo>
                    <a:pt x="600" y="3"/>
                    <a:pt x="655" y="0"/>
                    <a:pt x="701" y="16"/>
                  </a:cubicBezTo>
                  <a:cubicBezTo>
                    <a:pt x="748" y="32"/>
                    <a:pt x="787" y="66"/>
                    <a:pt x="814" y="107"/>
                  </a:cubicBezTo>
                  <a:cubicBezTo>
                    <a:pt x="832" y="135"/>
                    <a:pt x="846" y="170"/>
                    <a:pt x="833" y="200"/>
                  </a:cubicBezTo>
                  <a:cubicBezTo>
                    <a:pt x="829" y="209"/>
                    <a:pt x="823" y="218"/>
                    <a:pt x="817" y="226"/>
                  </a:cubicBezTo>
                  <a:cubicBezTo>
                    <a:pt x="783" y="269"/>
                    <a:pt x="783" y="269"/>
                    <a:pt x="783" y="269"/>
                  </a:cubicBezTo>
                  <a:cubicBezTo>
                    <a:pt x="777" y="278"/>
                    <a:pt x="769" y="287"/>
                    <a:pt x="761" y="294"/>
                  </a:cubicBezTo>
                  <a:cubicBezTo>
                    <a:pt x="748" y="303"/>
                    <a:pt x="733" y="306"/>
                    <a:pt x="717" y="309"/>
                  </a:cubicBezTo>
                  <a:cubicBezTo>
                    <a:pt x="677" y="315"/>
                    <a:pt x="635" y="311"/>
                    <a:pt x="594" y="314"/>
                  </a:cubicBezTo>
                  <a:cubicBezTo>
                    <a:pt x="524" y="319"/>
                    <a:pt x="456" y="341"/>
                    <a:pt x="385" y="340"/>
                  </a:cubicBezTo>
                  <a:cubicBezTo>
                    <a:pt x="345" y="340"/>
                    <a:pt x="305" y="332"/>
                    <a:pt x="265" y="324"/>
                  </a:cubicBezTo>
                  <a:cubicBezTo>
                    <a:pt x="90" y="288"/>
                    <a:pt x="90" y="288"/>
                    <a:pt x="90" y="288"/>
                  </a:cubicBezTo>
                  <a:cubicBezTo>
                    <a:pt x="60" y="281"/>
                    <a:pt x="25" y="272"/>
                    <a:pt x="11" y="245"/>
                  </a:cubicBezTo>
                  <a:cubicBezTo>
                    <a:pt x="4" y="232"/>
                    <a:pt x="3" y="218"/>
                    <a:pt x="2" y="204"/>
                  </a:cubicBezTo>
                  <a:cubicBezTo>
                    <a:pt x="0" y="165"/>
                    <a:pt x="2" y="122"/>
                    <a:pt x="29" y="95"/>
                  </a:cubicBezTo>
                  <a:cubicBezTo>
                    <a:pt x="54" y="69"/>
                    <a:pt x="94" y="60"/>
                    <a:pt x="124" y="41"/>
                  </a:cubicBezTo>
                  <a:cubicBezTo>
                    <a:pt x="161" y="17"/>
                    <a:pt x="173" y="25"/>
                    <a:pt x="211" y="43"/>
                  </a:cubicBezTo>
                  <a:cubicBezTo>
                    <a:pt x="287" y="77"/>
                    <a:pt x="370" y="91"/>
                    <a:pt x="453" y="84"/>
                  </a:cubicBezTo>
                </a:path>
              </a:pathLst>
            </a:cu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ï$ļïḓê">
              <a:extLst>
                <a:ext uri="{FF2B5EF4-FFF2-40B4-BE49-F238E27FC236}">
                  <a16:creationId xmlns:a16="http://schemas.microsoft.com/office/drawing/2014/main" id="{C8FD8002-8907-48D4-835E-0916AF098946}"/>
                </a:ext>
              </a:extLst>
            </p:cNvPr>
            <p:cNvSpPr/>
            <p:nvPr/>
          </p:nvSpPr>
          <p:spPr bwMode="auto">
            <a:xfrm>
              <a:off x="5994826" y="4619914"/>
              <a:ext cx="1273114" cy="452475"/>
            </a:xfrm>
            <a:custGeom>
              <a:avLst/>
              <a:gdLst>
                <a:gd name="T0" fmla="*/ 643 w 809"/>
                <a:gd name="T1" fmla="*/ 0 h 288"/>
                <a:gd name="T2" fmla="*/ 557 w 809"/>
                <a:gd name="T3" fmla="*/ 25 h 288"/>
                <a:gd name="T4" fmla="*/ 535 w 809"/>
                <a:gd name="T5" fmla="*/ 43 h 288"/>
                <a:gd name="T6" fmla="*/ 503 w 809"/>
                <a:gd name="T7" fmla="*/ 65 h 288"/>
                <a:gd name="T8" fmla="*/ 451 w 809"/>
                <a:gd name="T9" fmla="*/ 78 h 288"/>
                <a:gd name="T10" fmla="*/ 407 w 809"/>
                <a:gd name="T11" fmla="*/ 80 h 288"/>
                <a:gd name="T12" fmla="*/ 285 w 809"/>
                <a:gd name="T13" fmla="*/ 64 h 288"/>
                <a:gd name="T14" fmla="*/ 209 w 809"/>
                <a:gd name="T15" fmla="*/ 37 h 288"/>
                <a:gd name="T16" fmla="*/ 161 w 809"/>
                <a:gd name="T17" fmla="*/ 20 h 288"/>
                <a:gd name="T18" fmla="*/ 122 w 809"/>
                <a:gd name="T19" fmla="*/ 35 h 288"/>
                <a:gd name="T20" fmla="*/ 27 w 809"/>
                <a:gd name="T21" fmla="*/ 89 h 288"/>
                <a:gd name="T22" fmla="*/ 0 w 809"/>
                <a:gd name="T23" fmla="*/ 163 h 288"/>
                <a:gd name="T24" fmla="*/ 0 w 809"/>
                <a:gd name="T25" fmla="*/ 177 h 288"/>
                <a:gd name="T26" fmla="*/ 0 w 809"/>
                <a:gd name="T27" fmla="*/ 198 h 288"/>
                <a:gd name="T28" fmla="*/ 9 w 809"/>
                <a:gd name="T29" fmla="*/ 239 h 288"/>
                <a:gd name="T30" fmla="*/ 88 w 809"/>
                <a:gd name="T31" fmla="*/ 282 h 288"/>
                <a:gd name="T32" fmla="*/ 119 w 809"/>
                <a:gd name="T33" fmla="*/ 288 h 288"/>
                <a:gd name="T34" fmla="*/ 129 w 809"/>
                <a:gd name="T35" fmla="*/ 264 h 288"/>
                <a:gd name="T36" fmla="*/ 210 w 809"/>
                <a:gd name="T37" fmla="*/ 176 h 288"/>
                <a:gd name="T38" fmla="*/ 426 w 809"/>
                <a:gd name="T39" fmla="*/ 109 h 288"/>
                <a:gd name="T40" fmla="*/ 544 w 809"/>
                <a:gd name="T41" fmla="*/ 123 h 288"/>
                <a:gd name="T42" fmla="*/ 605 w 809"/>
                <a:gd name="T43" fmla="*/ 136 h 288"/>
                <a:gd name="T44" fmla="*/ 618 w 809"/>
                <a:gd name="T45" fmla="*/ 137 h 288"/>
                <a:gd name="T46" fmla="*/ 742 w 809"/>
                <a:gd name="T47" fmla="*/ 110 h 288"/>
                <a:gd name="T48" fmla="*/ 809 w 809"/>
                <a:gd name="T49" fmla="*/ 97 h 288"/>
                <a:gd name="T50" fmla="*/ 699 w 809"/>
                <a:gd name="T51" fmla="*/ 10 h 288"/>
                <a:gd name="T52" fmla="*/ 643 w 809"/>
                <a:gd name="T53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09" h="288">
                  <a:moveTo>
                    <a:pt x="643" y="0"/>
                  </a:moveTo>
                  <a:cubicBezTo>
                    <a:pt x="612" y="0"/>
                    <a:pt x="582" y="8"/>
                    <a:pt x="557" y="25"/>
                  </a:cubicBezTo>
                  <a:cubicBezTo>
                    <a:pt x="549" y="31"/>
                    <a:pt x="542" y="37"/>
                    <a:pt x="535" y="43"/>
                  </a:cubicBezTo>
                  <a:cubicBezTo>
                    <a:pt x="525" y="51"/>
                    <a:pt x="515" y="59"/>
                    <a:pt x="503" y="65"/>
                  </a:cubicBezTo>
                  <a:cubicBezTo>
                    <a:pt x="487" y="73"/>
                    <a:pt x="469" y="76"/>
                    <a:pt x="451" y="78"/>
                  </a:cubicBezTo>
                  <a:cubicBezTo>
                    <a:pt x="436" y="79"/>
                    <a:pt x="422" y="80"/>
                    <a:pt x="407" y="80"/>
                  </a:cubicBezTo>
                  <a:cubicBezTo>
                    <a:pt x="366" y="80"/>
                    <a:pt x="325" y="74"/>
                    <a:pt x="285" y="64"/>
                  </a:cubicBezTo>
                  <a:cubicBezTo>
                    <a:pt x="259" y="57"/>
                    <a:pt x="234" y="48"/>
                    <a:pt x="209" y="37"/>
                  </a:cubicBezTo>
                  <a:cubicBezTo>
                    <a:pt x="188" y="27"/>
                    <a:pt x="175" y="20"/>
                    <a:pt x="161" y="20"/>
                  </a:cubicBezTo>
                  <a:cubicBezTo>
                    <a:pt x="150" y="20"/>
                    <a:pt x="138" y="25"/>
                    <a:pt x="122" y="35"/>
                  </a:cubicBezTo>
                  <a:cubicBezTo>
                    <a:pt x="92" y="54"/>
                    <a:pt x="52" y="63"/>
                    <a:pt x="27" y="89"/>
                  </a:cubicBezTo>
                  <a:cubicBezTo>
                    <a:pt x="8" y="108"/>
                    <a:pt x="2" y="135"/>
                    <a:pt x="0" y="163"/>
                  </a:cubicBezTo>
                  <a:cubicBezTo>
                    <a:pt x="0" y="168"/>
                    <a:pt x="0" y="173"/>
                    <a:pt x="0" y="177"/>
                  </a:cubicBezTo>
                  <a:cubicBezTo>
                    <a:pt x="0" y="184"/>
                    <a:pt x="0" y="191"/>
                    <a:pt x="0" y="198"/>
                  </a:cubicBezTo>
                  <a:cubicBezTo>
                    <a:pt x="1" y="212"/>
                    <a:pt x="2" y="226"/>
                    <a:pt x="9" y="239"/>
                  </a:cubicBezTo>
                  <a:cubicBezTo>
                    <a:pt x="23" y="266"/>
                    <a:pt x="58" y="275"/>
                    <a:pt x="88" y="282"/>
                  </a:cubicBezTo>
                  <a:cubicBezTo>
                    <a:pt x="119" y="288"/>
                    <a:pt x="119" y="288"/>
                    <a:pt x="119" y="288"/>
                  </a:cubicBezTo>
                  <a:cubicBezTo>
                    <a:pt x="120" y="280"/>
                    <a:pt x="124" y="272"/>
                    <a:pt x="129" y="264"/>
                  </a:cubicBezTo>
                  <a:cubicBezTo>
                    <a:pt x="152" y="232"/>
                    <a:pt x="178" y="201"/>
                    <a:pt x="210" y="176"/>
                  </a:cubicBezTo>
                  <a:cubicBezTo>
                    <a:pt x="271" y="129"/>
                    <a:pt x="348" y="109"/>
                    <a:pt x="426" y="109"/>
                  </a:cubicBezTo>
                  <a:cubicBezTo>
                    <a:pt x="466" y="109"/>
                    <a:pt x="506" y="114"/>
                    <a:pt x="544" y="123"/>
                  </a:cubicBezTo>
                  <a:cubicBezTo>
                    <a:pt x="564" y="128"/>
                    <a:pt x="584" y="135"/>
                    <a:pt x="605" y="136"/>
                  </a:cubicBezTo>
                  <a:cubicBezTo>
                    <a:pt x="609" y="137"/>
                    <a:pt x="613" y="137"/>
                    <a:pt x="618" y="137"/>
                  </a:cubicBezTo>
                  <a:cubicBezTo>
                    <a:pt x="660" y="137"/>
                    <a:pt x="701" y="120"/>
                    <a:pt x="742" y="110"/>
                  </a:cubicBezTo>
                  <a:cubicBezTo>
                    <a:pt x="764" y="104"/>
                    <a:pt x="787" y="100"/>
                    <a:pt x="809" y="97"/>
                  </a:cubicBezTo>
                  <a:cubicBezTo>
                    <a:pt x="782" y="58"/>
                    <a:pt x="744" y="25"/>
                    <a:pt x="699" y="10"/>
                  </a:cubicBezTo>
                  <a:cubicBezTo>
                    <a:pt x="681" y="3"/>
                    <a:pt x="662" y="0"/>
                    <a:pt x="643" y="0"/>
                  </a:cubicBezTo>
                </a:path>
              </a:pathLst>
            </a:custGeom>
            <a:solidFill>
              <a:srgbClr val="A56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ïśliďè">
              <a:extLst>
                <a:ext uri="{FF2B5EF4-FFF2-40B4-BE49-F238E27FC236}">
                  <a16:creationId xmlns:a16="http://schemas.microsoft.com/office/drawing/2014/main" id="{6EB1206E-2F4C-4B38-A143-71329AC36618}"/>
                </a:ext>
              </a:extLst>
            </p:cNvPr>
            <p:cNvSpPr/>
            <p:nvPr/>
          </p:nvSpPr>
          <p:spPr bwMode="auto">
            <a:xfrm>
              <a:off x="6167665" y="4612888"/>
              <a:ext cx="2151366" cy="615479"/>
            </a:xfrm>
            <a:custGeom>
              <a:avLst/>
              <a:gdLst>
                <a:gd name="T0" fmla="*/ 1044 w 1366"/>
                <a:gd name="T1" fmla="*/ 27 h 391"/>
                <a:gd name="T2" fmla="*/ 894 w 1366"/>
                <a:gd name="T3" fmla="*/ 76 h 391"/>
                <a:gd name="T4" fmla="*/ 632 w 1366"/>
                <a:gd name="T5" fmla="*/ 114 h 391"/>
                <a:gd name="T6" fmla="*/ 495 w 1366"/>
                <a:gd name="T7" fmla="*/ 140 h 391"/>
                <a:gd name="T8" fmla="*/ 434 w 1366"/>
                <a:gd name="T9" fmla="*/ 127 h 391"/>
                <a:gd name="T10" fmla="*/ 100 w 1366"/>
                <a:gd name="T11" fmla="*/ 180 h 391"/>
                <a:gd name="T12" fmla="*/ 19 w 1366"/>
                <a:gd name="T13" fmla="*/ 268 h 391"/>
                <a:gd name="T14" fmla="*/ 33 w 1366"/>
                <a:gd name="T15" fmla="*/ 350 h 391"/>
                <a:gd name="T16" fmla="*/ 42 w 1366"/>
                <a:gd name="T17" fmla="*/ 356 h 391"/>
                <a:gd name="T18" fmla="*/ 156 w 1366"/>
                <a:gd name="T19" fmla="*/ 386 h 391"/>
                <a:gd name="T20" fmla="*/ 314 w 1366"/>
                <a:gd name="T21" fmla="*/ 376 h 391"/>
                <a:gd name="T22" fmla="*/ 546 w 1366"/>
                <a:gd name="T23" fmla="*/ 342 h 391"/>
                <a:gd name="T24" fmla="*/ 629 w 1366"/>
                <a:gd name="T25" fmla="*/ 329 h 391"/>
                <a:gd name="T26" fmla="*/ 944 w 1366"/>
                <a:gd name="T27" fmla="*/ 320 h 391"/>
                <a:gd name="T28" fmla="*/ 1236 w 1366"/>
                <a:gd name="T29" fmla="*/ 313 h 391"/>
                <a:gd name="T30" fmla="*/ 1296 w 1366"/>
                <a:gd name="T31" fmla="*/ 300 h 391"/>
                <a:gd name="T32" fmla="*/ 1356 w 1366"/>
                <a:gd name="T33" fmla="*/ 169 h 391"/>
                <a:gd name="T34" fmla="*/ 1264 w 1366"/>
                <a:gd name="T35" fmla="*/ 49 h 391"/>
                <a:gd name="T36" fmla="*/ 1144 w 1366"/>
                <a:gd name="T37" fmla="*/ 9 h 391"/>
                <a:gd name="T38" fmla="*/ 1044 w 1366"/>
                <a:gd name="T39" fmla="*/ 27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66" h="391">
                  <a:moveTo>
                    <a:pt x="1044" y="27"/>
                  </a:moveTo>
                  <a:cubicBezTo>
                    <a:pt x="995" y="46"/>
                    <a:pt x="945" y="65"/>
                    <a:pt x="894" y="76"/>
                  </a:cubicBezTo>
                  <a:cubicBezTo>
                    <a:pt x="808" y="95"/>
                    <a:pt x="717" y="92"/>
                    <a:pt x="632" y="114"/>
                  </a:cubicBezTo>
                  <a:cubicBezTo>
                    <a:pt x="587" y="125"/>
                    <a:pt x="542" y="144"/>
                    <a:pt x="495" y="140"/>
                  </a:cubicBezTo>
                  <a:cubicBezTo>
                    <a:pt x="474" y="139"/>
                    <a:pt x="454" y="132"/>
                    <a:pt x="434" y="127"/>
                  </a:cubicBezTo>
                  <a:cubicBezTo>
                    <a:pt x="321" y="99"/>
                    <a:pt x="192" y="108"/>
                    <a:pt x="100" y="180"/>
                  </a:cubicBezTo>
                  <a:cubicBezTo>
                    <a:pt x="68" y="205"/>
                    <a:pt x="42" y="236"/>
                    <a:pt x="19" y="268"/>
                  </a:cubicBezTo>
                  <a:cubicBezTo>
                    <a:pt x="0" y="295"/>
                    <a:pt x="6" y="332"/>
                    <a:pt x="33" y="350"/>
                  </a:cubicBezTo>
                  <a:cubicBezTo>
                    <a:pt x="36" y="353"/>
                    <a:pt x="39" y="354"/>
                    <a:pt x="42" y="356"/>
                  </a:cubicBezTo>
                  <a:cubicBezTo>
                    <a:pt x="78" y="372"/>
                    <a:pt x="117" y="383"/>
                    <a:pt x="156" y="386"/>
                  </a:cubicBezTo>
                  <a:cubicBezTo>
                    <a:pt x="209" y="391"/>
                    <a:pt x="261" y="383"/>
                    <a:pt x="314" y="376"/>
                  </a:cubicBezTo>
                  <a:cubicBezTo>
                    <a:pt x="391" y="365"/>
                    <a:pt x="469" y="354"/>
                    <a:pt x="546" y="342"/>
                  </a:cubicBezTo>
                  <a:cubicBezTo>
                    <a:pt x="574" y="337"/>
                    <a:pt x="601" y="333"/>
                    <a:pt x="629" y="329"/>
                  </a:cubicBezTo>
                  <a:cubicBezTo>
                    <a:pt x="734" y="316"/>
                    <a:pt x="839" y="318"/>
                    <a:pt x="944" y="320"/>
                  </a:cubicBezTo>
                  <a:cubicBezTo>
                    <a:pt x="1042" y="322"/>
                    <a:pt x="1139" y="324"/>
                    <a:pt x="1236" y="313"/>
                  </a:cubicBezTo>
                  <a:cubicBezTo>
                    <a:pt x="1257" y="311"/>
                    <a:pt x="1277" y="308"/>
                    <a:pt x="1296" y="300"/>
                  </a:cubicBezTo>
                  <a:cubicBezTo>
                    <a:pt x="1343" y="278"/>
                    <a:pt x="1366" y="220"/>
                    <a:pt x="1356" y="169"/>
                  </a:cubicBezTo>
                  <a:cubicBezTo>
                    <a:pt x="1347" y="118"/>
                    <a:pt x="1309" y="75"/>
                    <a:pt x="1264" y="49"/>
                  </a:cubicBezTo>
                  <a:cubicBezTo>
                    <a:pt x="1227" y="28"/>
                    <a:pt x="1186" y="19"/>
                    <a:pt x="1144" y="9"/>
                  </a:cubicBezTo>
                  <a:cubicBezTo>
                    <a:pt x="1105" y="0"/>
                    <a:pt x="1081" y="12"/>
                    <a:pt x="1044" y="27"/>
                  </a:cubicBezTo>
                </a:path>
              </a:pathLst>
            </a:cu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íšḻiďe">
              <a:extLst>
                <a:ext uri="{FF2B5EF4-FFF2-40B4-BE49-F238E27FC236}">
                  <a16:creationId xmlns:a16="http://schemas.microsoft.com/office/drawing/2014/main" id="{D80EC3AE-12DC-40E0-8B52-CB013DD33D47}"/>
                </a:ext>
              </a:extLst>
            </p:cNvPr>
            <p:cNvSpPr/>
            <p:nvPr/>
          </p:nvSpPr>
          <p:spPr bwMode="auto">
            <a:xfrm>
              <a:off x="8178511" y="4209595"/>
              <a:ext cx="352706" cy="868415"/>
            </a:xfrm>
            <a:custGeom>
              <a:avLst/>
              <a:gdLst>
                <a:gd name="T0" fmla="*/ 210 w 224"/>
                <a:gd name="T1" fmla="*/ 0 h 551"/>
                <a:gd name="T2" fmla="*/ 202 w 224"/>
                <a:gd name="T3" fmla="*/ 19 h 551"/>
                <a:gd name="T4" fmla="*/ 127 w 224"/>
                <a:gd name="T5" fmla="*/ 133 h 551"/>
                <a:gd name="T6" fmla="*/ 6 w 224"/>
                <a:gd name="T7" fmla="*/ 297 h 551"/>
                <a:gd name="T8" fmla="*/ 0 w 224"/>
                <a:gd name="T9" fmla="*/ 313 h 551"/>
                <a:gd name="T10" fmla="*/ 79 w 224"/>
                <a:gd name="T11" fmla="*/ 425 h 551"/>
                <a:gd name="T12" fmla="*/ 38 w 224"/>
                <a:gd name="T13" fmla="*/ 544 h 551"/>
                <a:gd name="T14" fmla="*/ 120 w 224"/>
                <a:gd name="T15" fmla="*/ 551 h 551"/>
                <a:gd name="T16" fmla="*/ 120 w 224"/>
                <a:gd name="T17" fmla="*/ 551 h 551"/>
                <a:gd name="T18" fmla="*/ 134 w 224"/>
                <a:gd name="T19" fmla="*/ 545 h 551"/>
                <a:gd name="T20" fmla="*/ 199 w 224"/>
                <a:gd name="T21" fmla="*/ 444 h 551"/>
                <a:gd name="T22" fmla="*/ 218 w 224"/>
                <a:gd name="T23" fmla="*/ 341 h 551"/>
                <a:gd name="T24" fmla="*/ 210 w 224"/>
                <a:gd name="T25" fmla="*/ 191 h 551"/>
                <a:gd name="T26" fmla="*/ 222 w 224"/>
                <a:gd name="T27" fmla="*/ 82 h 551"/>
                <a:gd name="T28" fmla="*/ 210 w 224"/>
                <a:gd name="T29" fmla="*/ 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551">
                  <a:moveTo>
                    <a:pt x="210" y="0"/>
                  </a:moveTo>
                  <a:cubicBezTo>
                    <a:pt x="208" y="6"/>
                    <a:pt x="205" y="13"/>
                    <a:pt x="202" y="19"/>
                  </a:cubicBezTo>
                  <a:cubicBezTo>
                    <a:pt x="181" y="60"/>
                    <a:pt x="156" y="98"/>
                    <a:pt x="127" y="133"/>
                  </a:cubicBezTo>
                  <a:cubicBezTo>
                    <a:pt x="84" y="186"/>
                    <a:pt x="31" y="234"/>
                    <a:pt x="6" y="297"/>
                  </a:cubicBezTo>
                  <a:cubicBezTo>
                    <a:pt x="4" y="302"/>
                    <a:pt x="2" y="308"/>
                    <a:pt x="0" y="313"/>
                  </a:cubicBezTo>
                  <a:cubicBezTo>
                    <a:pt x="39" y="340"/>
                    <a:pt x="71" y="379"/>
                    <a:pt x="79" y="425"/>
                  </a:cubicBezTo>
                  <a:cubicBezTo>
                    <a:pt x="88" y="468"/>
                    <a:pt x="72" y="517"/>
                    <a:pt x="38" y="544"/>
                  </a:cubicBezTo>
                  <a:cubicBezTo>
                    <a:pt x="120" y="551"/>
                    <a:pt x="120" y="551"/>
                    <a:pt x="120" y="551"/>
                  </a:cubicBezTo>
                  <a:cubicBezTo>
                    <a:pt x="120" y="551"/>
                    <a:pt x="120" y="551"/>
                    <a:pt x="120" y="551"/>
                  </a:cubicBezTo>
                  <a:cubicBezTo>
                    <a:pt x="125" y="549"/>
                    <a:pt x="130" y="547"/>
                    <a:pt x="134" y="545"/>
                  </a:cubicBezTo>
                  <a:cubicBezTo>
                    <a:pt x="170" y="526"/>
                    <a:pt x="187" y="483"/>
                    <a:pt x="199" y="444"/>
                  </a:cubicBezTo>
                  <a:cubicBezTo>
                    <a:pt x="208" y="410"/>
                    <a:pt x="217" y="376"/>
                    <a:pt x="218" y="341"/>
                  </a:cubicBezTo>
                  <a:cubicBezTo>
                    <a:pt x="220" y="291"/>
                    <a:pt x="208" y="241"/>
                    <a:pt x="210" y="191"/>
                  </a:cubicBezTo>
                  <a:cubicBezTo>
                    <a:pt x="211" y="155"/>
                    <a:pt x="220" y="119"/>
                    <a:pt x="222" y="82"/>
                  </a:cubicBezTo>
                  <a:cubicBezTo>
                    <a:pt x="224" y="55"/>
                    <a:pt x="222" y="25"/>
                    <a:pt x="21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iṩliḍè">
              <a:extLst>
                <a:ext uri="{FF2B5EF4-FFF2-40B4-BE49-F238E27FC236}">
                  <a16:creationId xmlns:a16="http://schemas.microsoft.com/office/drawing/2014/main" id="{321857D3-0323-49BC-8977-36D4B1DE2ADC}"/>
                </a:ext>
              </a:extLst>
            </p:cNvPr>
            <p:cNvSpPr/>
            <p:nvPr/>
          </p:nvSpPr>
          <p:spPr bwMode="auto">
            <a:xfrm>
              <a:off x="7658586" y="3907477"/>
              <a:ext cx="851553" cy="795345"/>
            </a:xfrm>
            <a:custGeom>
              <a:avLst/>
              <a:gdLst>
                <a:gd name="T0" fmla="*/ 175 w 540"/>
                <a:gd name="T1" fmla="*/ 0 h 505"/>
                <a:gd name="T2" fmla="*/ 170 w 540"/>
                <a:gd name="T3" fmla="*/ 3 h 505"/>
                <a:gd name="T4" fmla="*/ 166 w 540"/>
                <a:gd name="T5" fmla="*/ 70 h 505"/>
                <a:gd name="T6" fmla="*/ 166 w 540"/>
                <a:gd name="T7" fmla="*/ 178 h 505"/>
                <a:gd name="T8" fmla="*/ 151 w 540"/>
                <a:gd name="T9" fmla="*/ 211 h 505"/>
                <a:gd name="T10" fmla="*/ 160 w 540"/>
                <a:gd name="T11" fmla="*/ 307 h 505"/>
                <a:gd name="T12" fmla="*/ 145 w 540"/>
                <a:gd name="T13" fmla="*/ 365 h 505"/>
                <a:gd name="T14" fmla="*/ 139 w 540"/>
                <a:gd name="T15" fmla="*/ 437 h 505"/>
                <a:gd name="T16" fmla="*/ 100 w 540"/>
                <a:gd name="T17" fmla="*/ 447 h 505"/>
                <a:gd name="T18" fmla="*/ 4 w 540"/>
                <a:gd name="T19" fmla="*/ 505 h 505"/>
                <a:gd name="T20" fmla="*/ 81 w 540"/>
                <a:gd name="T21" fmla="*/ 481 h 505"/>
                <a:gd name="T22" fmla="*/ 97 w 540"/>
                <a:gd name="T23" fmla="*/ 475 h 505"/>
                <a:gd name="T24" fmla="*/ 171 w 540"/>
                <a:gd name="T25" fmla="*/ 454 h 505"/>
                <a:gd name="T26" fmla="*/ 197 w 540"/>
                <a:gd name="T27" fmla="*/ 457 h 505"/>
                <a:gd name="T28" fmla="*/ 317 w 540"/>
                <a:gd name="T29" fmla="*/ 497 h 505"/>
                <a:gd name="T30" fmla="*/ 330 w 540"/>
                <a:gd name="T31" fmla="*/ 505 h 505"/>
                <a:gd name="T32" fmla="*/ 336 w 540"/>
                <a:gd name="T33" fmla="*/ 489 h 505"/>
                <a:gd name="T34" fmla="*/ 457 w 540"/>
                <a:gd name="T35" fmla="*/ 325 h 505"/>
                <a:gd name="T36" fmla="*/ 532 w 540"/>
                <a:gd name="T37" fmla="*/ 211 h 505"/>
                <a:gd name="T38" fmla="*/ 540 w 540"/>
                <a:gd name="T39" fmla="*/ 192 h 505"/>
                <a:gd name="T40" fmla="*/ 528 w 540"/>
                <a:gd name="T41" fmla="*/ 170 h 505"/>
                <a:gd name="T42" fmla="*/ 469 w 540"/>
                <a:gd name="T43" fmla="*/ 101 h 505"/>
                <a:gd name="T44" fmla="*/ 425 w 540"/>
                <a:gd name="T45" fmla="*/ 27 h 505"/>
                <a:gd name="T46" fmla="*/ 375 w 540"/>
                <a:gd name="T47" fmla="*/ 10 h 505"/>
                <a:gd name="T48" fmla="*/ 235 w 540"/>
                <a:gd name="T49" fmla="*/ 46 h 505"/>
                <a:gd name="T50" fmla="*/ 234 w 540"/>
                <a:gd name="T51" fmla="*/ 46 h 505"/>
                <a:gd name="T52" fmla="*/ 203 w 540"/>
                <a:gd name="T53" fmla="*/ 23 h 505"/>
                <a:gd name="T54" fmla="*/ 175 w 540"/>
                <a:gd name="T55" fmla="*/ 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40" h="505">
                  <a:moveTo>
                    <a:pt x="175" y="0"/>
                  </a:moveTo>
                  <a:cubicBezTo>
                    <a:pt x="173" y="0"/>
                    <a:pt x="171" y="1"/>
                    <a:pt x="170" y="3"/>
                  </a:cubicBezTo>
                  <a:cubicBezTo>
                    <a:pt x="157" y="22"/>
                    <a:pt x="162" y="47"/>
                    <a:pt x="166" y="70"/>
                  </a:cubicBezTo>
                  <a:cubicBezTo>
                    <a:pt x="174" y="106"/>
                    <a:pt x="180" y="144"/>
                    <a:pt x="166" y="178"/>
                  </a:cubicBezTo>
                  <a:cubicBezTo>
                    <a:pt x="161" y="189"/>
                    <a:pt x="154" y="199"/>
                    <a:pt x="151" y="211"/>
                  </a:cubicBezTo>
                  <a:cubicBezTo>
                    <a:pt x="143" y="242"/>
                    <a:pt x="164" y="275"/>
                    <a:pt x="160" y="307"/>
                  </a:cubicBezTo>
                  <a:cubicBezTo>
                    <a:pt x="158" y="327"/>
                    <a:pt x="146" y="345"/>
                    <a:pt x="145" y="365"/>
                  </a:cubicBezTo>
                  <a:cubicBezTo>
                    <a:pt x="144" y="390"/>
                    <a:pt x="159" y="422"/>
                    <a:pt x="139" y="437"/>
                  </a:cubicBezTo>
                  <a:cubicBezTo>
                    <a:pt x="128" y="446"/>
                    <a:pt x="113" y="444"/>
                    <a:pt x="100" y="447"/>
                  </a:cubicBezTo>
                  <a:cubicBezTo>
                    <a:pt x="74" y="453"/>
                    <a:pt x="0" y="478"/>
                    <a:pt x="4" y="505"/>
                  </a:cubicBezTo>
                  <a:cubicBezTo>
                    <a:pt x="19" y="493"/>
                    <a:pt x="49" y="485"/>
                    <a:pt x="81" y="481"/>
                  </a:cubicBezTo>
                  <a:cubicBezTo>
                    <a:pt x="86" y="479"/>
                    <a:pt x="91" y="477"/>
                    <a:pt x="97" y="475"/>
                  </a:cubicBezTo>
                  <a:cubicBezTo>
                    <a:pt x="125" y="464"/>
                    <a:pt x="146" y="454"/>
                    <a:pt x="171" y="454"/>
                  </a:cubicBezTo>
                  <a:cubicBezTo>
                    <a:pt x="179" y="454"/>
                    <a:pt x="188" y="455"/>
                    <a:pt x="197" y="457"/>
                  </a:cubicBezTo>
                  <a:cubicBezTo>
                    <a:pt x="239" y="467"/>
                    <a:pt x="280" y="476"/>
                    <a:pt x="317" y="497"/>
                  </a:cubicBezTo>
                  <a:cubicBezTo>
                    <a:pt x="322" y="500"/>
                    <a:pt x="326" y="503"/>
                    <a:pt x="330" y="505"/>
                  </a:cubicBezTo>
                  <a:cubicBezTo>
                    <a:pt x="332" y="500"/>
                    <a:pt x="334" y="494"/>
                    <a:pt x="336" y="489"/>
                  </a:cubicBezTo>
                  <a:cubicBezTo>
                    <a:pt x="361" y="426"/>
                    <a:pt x="414" y="378"/>
                    <a:pt x="457" y="325"/>
                  </a:cubicBezTo>
                  <a:cubicBezTo>
                    <a:pt x="486" y="290"/>
                    <a:pt x="511" y="252"/>
                    <a:pt x="532" y="211"/>
                  </a:cubicBezTo>
                  <a:cubicBezTo>
                    <a:pt x="535" y="205"/>
                    <a:pt x="538" y="198"/>
                    <a:pt x="540" y="192"/>
                  </a:cubicBezTo>
                  <a:cubicBezTo>
                    <a:pt x="537" y="184"/>
                    <a:pt x="533" y="177"/>
                    <a:pt x="528" y="170"/>
                  </a:cubicBezTo>
                  <a:cubicBezTo>
                    <a:pt x="509" y="146"/>
                    <a:pt x="480" y="131"/>
                    <a:pt x="469" y="101"/>
                  </a:cubicBezTo>
                  <a:cubicBezTo>
                    <a:pt x="457" y="71"/>
                    <a:pt x="454" y="48"/>
                    <a:pt x="425" y="27"/>
                  </a:cubicBezTo>
                  <a:cubicBezTo>
                    <a:pt x="409" y="15"/>
                    <a:pt x="392" y="10"/>
                    <a:pt x="375" y="10"/>
                  </a:cubicBezTo>
                  <a:cubicBezTo>
                    <a:pt x="332" y="10"/>
                    <a:pt x="285" y="39"/>
                    <a:pt x="235" y="46"/>
                  </a:cubicBezTo>
                  <a:cubicBezTo>
                    <a:pt x="235" y="46"/>
                    <a:pt x="234" y="46"/>
                    <a:pt x="234" y="46"/>
                  </a:cubicBezTo>
                  <a:cubicBezTo>
                    <a:pt x="225" y="46"/>
                    <a:pt x="213" y="34"/>
                    <a:pt x="203" y="23"/>
                  </a:cubicBezTo>
                  <a:cubicBezTo>
                    <a:pt x="192" y="11"/>
                    <a:pt x="182" y="0"/>
                    <a:pt x="175" y="0"/>
                  </a:cubicBezTo>
                </a:path>
              </a:pathLst>
            </a:custGeom>
            <a:solidFill>
              <a:srgbClr val="4442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îṧḷïḑè">
              <a:extLst>
                <a:ext uri="{FF2B5EF4-FFF2-40B4-BE49-F238E27FC236}">
                  <a16:creationId xmlns:a16="http://schemas.microsoft.com/office/drawing/2014/main" id="{9DB5616D-7748-466F-A7A9-8B22DEB028DF}"/>
                </a:ext>
              </a:extLst>
            </p:cNvPr>
            <p:cNvSpPr/>
            <p:nvPr/>
          </p:nvSpPr>
          <p:spPr bwMode="auto">
            <a:xfrm>
              <a:off x="8073120" y="5066768"/>
              <a:ext cx="295093" cy="50587"/>
            </a:xfrm>
            <a:custGeom>
              <a:avLst/>
              <a:gdLst>
                <a:gd name="T0" fmla="*/ 20 w 187"/>
                <a:gd name="T1" fmla="*/ 26 h 32"/>
                <a:gd name="T2" fmla="*/ 1 w 187"/>
                <a:gd name="T3" fmla="*/ 28 h 32"/>
                <a:gd name="T4" fmla="*/ 0 w 187"/>
                <a:gd name="T5" fmla="*/ 32 h 32"/>
                <a:gd name="T6" fmla="*/ 20 w 187"/>
                <a:gd name="T7" fmla="*/ 26 h 32"/>
                <a:gd name="T8" fmla="*/ 105 w 187"/>
                <a:gd name="T9" fmla="*/ 0 h 32"/>
                <a:gd name="T10" fmla="*/ 86 w 187"/>
                <a:gd name="T11" fmla="*/ 12 h 32"/>
                <a:gd name="T12" fmla="*/ 55 w 187"/>
                <a:gd name="T13" fmla="*/ 21 h 32"/>
                <a:gd name="T14" fmla="*/ 187 w 187"/>
                <a:gd name="T15" fmla="*/ 7 h 32"/>
                <a:gd name="T16" fmla="*/ 187 w 187"/>
                <a:gd name="T17" fmla="*/ 7 h 32"/>
                <a:gd name="T18" fmla="*/ 105 w 187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" h="32">
                  <a:moveTo>
                    <a:pt x="20" y="26"/>
                  </a:moveTo>
                  <a:cubicBezTo>
                    <a:pt x="14" y="27"/>
                    <a:pt x="7" y="27"/>
                    <a:pt x="1" y="28"/>
                  </a:cubicBezTo>
                  <a:cubicBezTo>
                    <a:pt x="0" y="29"/>
                    <a:pt x="0" y="30"/>
                    <a:pt x="0" y="32"/>
                  </a:cubicBezTo>
                  <a:cubicBezTo>
                    <a:pt x="6" y="29"/>
                    <a:pt x="13" y="28"/>
                    <a:pt x="20" y="26"/>
                  </a:cubicBezTo>
                  <a:moveTo>
                    <a:pt x="105" y="0"/>
                  </a:moveTo>
                  <a:cubicBezTo>
                    <a:pt x="99" y="4"/>
                    <a:pt x="93" y="8"/>
                    <a:pt x="86" y="12"/>
                  </a:cubicBezTo>
                  <a:cubicBezTo>
                    <a:pt x="76" y="16"/>
                    <a:pt x="66" y="19"/>
                    <a:pt x="55" y="21"/>
                  </a:cubicBezTo>
                  <a:cubicBezTo>
                    <a:pt x="100" y="18"/>
                    <a:pt x="152" y="18"/>
                    <a:pt x="187" y="7"/>
                  </a:cubicBezTo>
                  <a:cubicBezTo>
                    <a:pt x="187" y="7"/>
                    <a:pt x="187" y="7"/>
                    <a:pt x="187" y="7"/>
                  </a:cubicBezTo>
                  <a:cubicBezTo>
                    <a:pt x="105" y="0"/>
                    <a:pt x="105" y="0"/>
                    <a:pt x="105" y="0"/>
                  </a:cubicBezTo>
                </a:path>
              </a:pathLst>
            </a:custGeom>
            <a:solidFill>
              <a:srgbClr val="484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îsľiḓe">
              <a:extLst>
                <a:ext uri="{FF2B5EF4-FFF2-40B4-BE49-F238E27FC236}">
                  <a16:creationId xmlns:a16="http://schemas.microsoft.com/office/drawing/2014/main" id="{CFCE46B9-F98A-4D4D-8D54-511A8AAB97DD}"/>
                </a:ext>
              </a:extLst>
            </p:cNvPr>
            <p:cNvSpPr/>
            <p:nvPr/>
          </p:nvSpPr>
          <p:spPr bwMode="auto">
            <a:xfrm>
              <a:off x="7786459" y="4622724"/>
              <a:ext cx="531167" cy="487606"/>
            </a:xfrm>
            <a:custGeom>
              <a:avLst/>
              <a:gdLst>
                <a:gd name="T0" fmla="*/ 90 w 337"/>
                <a:gd name="T1" fmla="*/ 0 h 310"/>
                <a:gd name="T2" fmla="*/ 16 w 337"/>
                <a:gd name="T3" fmla="*/ 21 h 310"/>
                <a:gd name="T4" fmla="*/ 0 w 337"/>
                <a:gd name="T5" fmla="*/ 27 h 310"/>
                <a:gd name="T6" fmla="*/ 54 w 337"/>
                <a:gd name="T7" fmla="*/ 23 h 310"/>
                <a:gd name="T8" fmla="*/ 95 w 337"/>
                <a:gd name="T9" fmla="*/ 26 h 310"/>
                <a:gd name="T10" fmla="*/ 201 w 337"/>
                <a:gd name="T11" fmla="*/ 86 h 310"/>
                <a:gd name="T12" fmla="*/ 238 w 337"/>
                <a:gd name="T13" fmla="*/ 153 h 310"/>
                <a:gd name="T14" fmla="*/ 235 w 337"/>
                <a:gd name="T15" fmla="*/ 214 h 310"/>
                <a:gd name="T16" fmla="*/ 183 w 337"/>
                <a:gd name="T17" fmla="*/ 310 h 310"/>
                <a:gd name="T18" fmla="*/ 202 w 337"/>
                <a:gd name="T19" fmla="*/ 308 h 310"/>
                <a:gd name="T20" fmla="*/ 237 w 337"/>
                <a:gd name="T21" fmla="*/ 303 h 310"/>
                <a:gd name="T22" fmla="*/ 268 w 337"/>
                <a:gd name="T23" fmla="*/ 294 h 310"/>
                <a:gd name="T24" fmla="*/ 287 w 337"/>
                <a:gd name="T25" fmla="*/ 282 h 310"/>
                <a:gd name="T26" fmla="*/ 328 w 337"/>
                <a:gd name="T27" fmla="*/ 163 h 310"/>
                <a:gd name="T28" fmla="*/ 249 w 337"/>
                <a:gd name="T29" fmla="*/ 51 h 310"/>
                <a:gd name="T30" fmla="*/ 236 w 337"/>
                <a:gd name="T31" fmla="*/ 43 h 310"/>
                <a:gd name="T32" fmla="*/ 116 w 337"/>
                <a:gd name="T33" fmla="*/ 3 h 310"/>
                <a:gd name="T34" fmla="*/ 90 w 337"/>
                <a:gd name="T35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7" h="310">
                  <a:moveTo>
                    <a:pt x="90" y="0"/>
                  </a:moveTo>
                  <a:cubicBezTo>
                    <a:pt x="65" y="0"/>
                    <a:pt x="44" y="10"/>
                    <a:pt x="16" y="21"/>
                  </a:cubicBezTo>
                  <a:cubicBezTo>
                    <a:pt x="10" y="23"/>
                    <a:pt x="5" y="25"/>
                    <a:pt x="0" y="27"/>
                  </a:cubicBezTo>
                  <a:cubicBezTo>
                    <a:pt x="18" y="25"/>
                    <a:pt x="37" y="23"/>
                    <a:pt x="54" y="23"/>
                  </a:cubicBezTo>
                  <a:cubicBezTo>
                    <a:pt x="70" y="23"/>
                    <a:pt x="85" y="24"/>
                    <a:pt x="95" y="26"/>
                  </a:cubicBezTo>
                  <a:cubicBezTo>
                    <a:pt x="136" y="34"/>
                    <a:pt x="173" y="56"/>
                    <a:pt x="201" y="86"/>
                  </a:cubicBezTo>
                  <a:cubicBezTo>
                    <a:pt x="219" y="105"/>
                    <a:pt x="234" y="128"/>
                    <a:pt x="238" y="153"/>
                  </a:cubicBezTo>
                  <a:cubicBezTo>
                    <a:pt x="242" y="174"/>
                    <a:pt x="239" y="194"/>
                    <a:pt x="235" y="214"/>
                  </a:cubicBezTo>
                  <a:cubicBezTo>
                    <a:pt x="231" y="242"/>
                    <a:pt x="190" y="281"/>
                    <a:pt x="183" y="310"/>
                  </a:cubicBezTo>
                  <a:cubicBezTo>
                    <a:pt x="189" y="309"/>
                    <a:pt x="196" y="309"/>
                    <a:pt x="202" y="308"/>
                  </a:cubicBezTo>
                  <a:cubicBezTo>
                    <a:pt x="213" y="306"/>
                    <a:pt x="225" y="304"/>
                    <a:pt x="237" y="303"/>
                  </a:cubicBezTo>
                  <a:cubicBezTo>
                    <a:pt x="248" y="301"/>
                    <a:pt x="258" y="298"/>
                    <a:pt x="268" y="294"/>
                  </a:cubicBezTo>
                  <a:cubicBezTo>
                    <a:pt x="275" y="290"/>
                    <a:pt x="281" y="286"/>
                    <a:pt x="287" y="282"/>
                  </a:cubicBezTo>
                  <a:cubicBezTo>
                    <a:pt x="321" y="255"/>
                    <a:pt x="337" y="206"/>
                    <a:pt x="328" y="163"/>
                  </a:cubicBezTo>
                  <a:cubicBezTo>
                    <a:pt x="320" y="117"/>
                    <a:pt x="288" y="78"/>
                    <a:pt x="249" y="51"/>
                  </a:cubicBezTo>
                  <a:cubicBezTo>
                    <a:pt x="245" y="49"/>
                    <a:pt x="241" y="46"/>
                    <a:pt x="236" y="43"/>
                  </a:cubicBezTo>
                  <a:cubicBezTo>
                    <a:pt x="199" y="22"/>
                    <a:pt x="158" y="13"/>
                    <a:pt x="116" y="3"/>
                  </a:cubicBezTo>
                  <a:cubicBezTo>
                    <a:pt x="107" y="1"/>
                    <a:pt x="98" y="0"/>
                    <a:pt x="90" y="0"/>
                  </a:cubicBezTo>
                </a:path>
              </a:pathLst>
            </a:custGeom>
            <a:solidFill>
              <a:srgbClr val="9C63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ïṩľïďê">
              <a:extLst>
                <a:ext uri="{FF2B5EF4-FFF2-40B4-BE49-F238E27FC236}">
                  <a16:creationId xmlns:a16="http://schemas.microsoft.com/office/drawing/2014/main" id="{FB932C89-95FB-46B3-A8FF-9E594A0D7CAD}"/>
                </a:ext>
              </a:extLst>
            </p:cNvPr>
            <p:cNvSpPr/>
            <p:nvPr/>
          </p:nvSpPr>
          <p:spPr bwMode="auto">
            <a:xfrm>
              <a:off x="7678259" y="3852673"/>
              <a:ext cx="874036" cy="1264682"/>
            </a:xfrm>
            <a:custGeom>
              <a:avLst/>
              <a:gdLst>
                <a:gd name="T0" fmla="*/ 528 w 555"/>
                <a:gd name="T1" fmla="*/ 205 h 803"/>
                <a:gd name="T2" fmla="*/ 552 w 555"/>
                <a:gd name="T3" fmla="*/ 309 h 803"/>
                <a:gd name="T4" fmla="*/ 540 w 555"/>
                <a:gd name="T5" fmla="*/ 418 h 803"/>
                <a:gd name="T6" fmla="*/ 548 w 555"/>
                <a:gd name="T7" fmla="*/ 568 h 803"/>
                <a:gd name="T8" fmla="*/ 529 w 555"/>
                <a:gd name="T9" fmla="*/ 671 h 803"/>
                <a:gd name="T10" fmla="*/ 464 w 555"/>
                <a:gd name="T11" fmla="*/ 772 h 803"/>
                <a:gd name="T12" fmla="*/ 263 w 555"/>
                <a:gd name="T13" fmla="*/ 803 h 803"/>
                <a:gd name="T14" fmla="*/ 316 w 555"/>
                <a:gd name="T15" fmla="*/ 703 h 803"/>
                <a:gd name="T16" fmla="*/ 319 w 555"/>
                <a:gd name="T17" fmla="*/ 642 h 803"/>
                <a:gd name="T18" fmla="*/ 282 w 555"/>
                <a:gd name="T19" fmla="*/ 575 h 803"/>
                <a:gd name="T20" fmla="*/ 176 w 555"/>
                <a:gd name="T21" fmla="*/ 515 h 803"/>
                <a:gd name="T22" fmla="*/ 4 w 555"/>
                <a:gd name="T23" fmla="*/ 540 h 803"/>
                <a:gd name="T24" fmla="*/ 100 w 555"/>
                <a:gd name="T25" fmla="*/ 482 h 803"/>
                <a:gd name="T26" fmla="*/ 139 w 555"/>
                <a:gd name="T27" fmla="*/ 472 h 803"/>
                <a:gd name="T28" fmla="*/ 145 w 555"/>
                <a:gd name="T29" fmla="*/ 400 h 803"/>
                <a:gd name="T30" fmla="*/ 160 w 555"/>
                <a:gd name="T31" fmla="*/ 342 h 803"/>
                <a:gd name="T32" fmla="*/ 151 w 555"/>
                <a:gd name="T33" fmla="*/ 246 h 803"/>
                <a:gd name="T34" fmla="*/ 166 w 555"/>
                <a:gd name="T35" fmla="*/ 213 h 803"/>
                <a:gd name="T36" fmla="*/ 166 w 555"/>
                <a:gd name="T37" fmla="*/ 105 h 803"/>
                <a:gd name="T38" fmla="*/ 170 w 555"/>
                <a:gd name="T39" fmla="*/ 38 h 803"/>
                <a:gd name="T40" fmla="*/ 225 w 555"/>
                <a:gd name="T41" fmla="*/ 10 h 803"/>
                <a:gd name="T42" fmla="*/ 425 w 555"/>
                <a:gd name="T43" fmla="*/ 62 h 803"/>
                <a:gd name="T44" fmla="*/ 469 w 555"/>
                <a:gd name="T45" fmla="*/ 136 h 803"/>
                <a:gd name="T46" fmla="*/ 528 w 555"/>
                <a:gd name="T47" fmla="*/ 205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55" h="803">
                  <a:moveTo>
                    <a:pt x="528" y="205"/>
                  </a:moveTo>
                  <a:cubicBezTo>
                    <a:pt x="550" y="234"/>
                    <a:pt x="555" y="273"/>
                    <a:pt x="552" y="309"/>
                  </a:cubicBezTo>
                  <a:cubicBezTo>
                    <a:pt x="550" y="346"/>
                    <a:pt x="541" y="382"/>
                    <a:pt x="540" y="418"/>
                  </a:cubicBezTo>
                  <a:cubicBezTo>
                    <a:pt x="538" y="468"/>
                    <a:pt x="550" y="518"/>
                    <a:pt x="548" y="568"/>
                  </a:cubicBezTo>
                  <a:cubicBezTo>
                    <a:pt x="547" y="603"/>
                    <a:pt x="538" y="637"/>
                    <a:pt x="529" y="671"/>
                  </a:cubicBezTo>
                  <a:cubicBezTo>
                    <a:pt x="517" y="710"/>
                    <a:pt x="500" y="753"/>
                    <a:pt x="464" y="772"/>
                  </a:cubicBezTo>
                  <a:cubicBezTo>
                    <a:pt x="415" y="797"/>
                    <a:pt x="314" y="783"/>
                    <a:pt x="263" y="803"/>
                  </a:cubicBezTo>
                  <a:cubicBezTo>
                    <a:pt x="267" y="774"/>
                    <a:pt x="312" y="732"/>
                    <a:pt x="316" y="703"/>
                  </a:cubicBezTo>
                  <a:cubicBezTo>
                    <a:pt x="320" y="683"/>
                    <a:pt x="323" y="663"/>
                    <a:pt x="319" y="642"/>
                  </a:cubicBezTo>
                  <a:cubicBezTo>
                    <a:pt x="315" y="617"/>
                    <a:pt x="300" y="594"/>
                    <a:pt x="282" y="575"/>
                  </a:cubicBezTo>
                  <a:cubicBezTo>
                    <a:pt x="254" y="545"/>
                    <a:pt x="217" y="523"/>
                    <a:pt x="176" y="515"/>
                  </a:cubicBezTo>
                  <a:cubicBezTo>
                    <a:pt x="136" y="508"/>
                    <a:pt x="36" y="514"/>
                    <a:pt x="4" y="540"/>
                  </a:cubicBezTo>
                  <a:cubicBezTo>
                    <a:pt x="0" y="513"/>
                    <a:pt x="74" y="488"/>
                    <a:pt x="100" y="482"/>
                  </a:cubicBezTo>
                  <a:cubicBezTo>
                    <a:pt x="113" y="479"/>
                    <a:pt x="128" y="481"/>
                    <a:pt x="139" y="472"/>
                  </a:cubicBezTo>
                  <a:cubicBezTo>
                    <a:pt x="159" y="457"/>
                    <a:pt x="144" y="425"/>
                    <a:pt x="145" y="400"/>
                  </a:cubicBezTo>
                  <a:cubicBezTo>
                    <a:pt x="146" y="380"/>
                    <a:pt x="158" y="362"/>
                    <a:pt x="160" y="342"/>
                  </a:cubicBezTo>
                  <a:cubicBezTo>
                    <a:pt x="164" y="310"/>
                    <a:pt x="143" y="277"/>
                    <a:pt x="151" y="246"/>
                  </a:cubicBezTo>
                  <a:cubicBezTo>
                    <a:pt x="154" y="234"/>
                    <a:pt x="161" y="224"/>
                    <a:pt x="166" y="213"/>
                  </a:cubicBezTo>
                  <a:cubicBezTo>
                    <a:pt x="180" y="179"/>
                    <a:pt x="174" y="141"/>
                    <a:pt x="166" y="105"/>
                  </a:cubicBezTo>
                  <a:cubicBezTo>
                    <a:pt x="162" y="82"/>
                    <a:pt x="157" y="57"/>
                    <a:pt x="170" y="38"/>
                  </a:cubicBezTo>
                  <a:cubicBezTo>
                    <a:pt x="181" y="20"/>
                    <a:pt x="204" y="13"/>
                    <a:pt x="225" y="10"/>
                  </a:cubicBezTo>
                  <a:cubicBezTo>
                    <a:pt x="296" y="0"/>
                    <a:pt x="368" y="19"/>
                    <a:pt x="425" y="62"/>
                  </a:cubicBezTo>
                  <a:cubicBezTo>
                    <a:pt x="454" y="83"/>
                    <a:pt x="458" y="106"/>
                    <a:pt x="469" y="136"/>
                  </a:cubicBezTo>
                  <a:cubicBezTo>
                    <a:pt x="480" y="166"/>
                    <a:pt x="509" y="181"/>
                    <a:pt x="528" y="205"/>
                  </a:cubicBezTo>
                  <a:close/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ïṩḻíḋé">
              <a:extLst>
                <a:ext uri="{FF2B5EF4-FFF2-40B4-BE49-F238E27FC236}">
                  <a16:creationId xmlns:a16="http://schemas.microsoft.com/office/drawing/2014/main" id="{9C9B8191-CA7D-41E3-9E2A-4EC01768323C}"/>
                </a:ext>
              </a:extLst>
            </p:cNvPr>
            <p:cNvSpPr/>
            <p:nvPr/>
          </p:nvSpPr>
          <p:spPr bwMode="auto">
            <a:xfrm>
              <a:off x="4333876" y="3662971"/>
              <a:ext cx="2045975" cy="1690459"/>
            </a:xfrm>
            <a:custGeom>
              <a:avLst/>
              <a:gdLst>
                <a:gd name="T0" fmla="*/ 4 w 1299"/>
                <a:gd name="T1" fmla="*/ 137 h 1074"/>
                <a:gd name="T2" fmla="*/ 221 w 1299"/>
                <a:gd name="T3" fmla="*/ 940 h 1074"/>
                <a:gd name="T4" fmla="*/ 265 w 1299"/>
                <a:gd name="T5" fmla="*/ 977 h 1074"/>
                <a:gd name="T6" fmla="*/ 1244 w 1299"/>
                <a:gd name="T7" fmla="*/ 1071 h 1074"/>
                <a:gd name="T8" fmla="*/ 1299 w 1299"/>
                <a:gd name="T9" fmla="*/ 1026 h 1074"/>
                <a:gd name="T10" fmla="*/ 1298 w 1299"/>
                <a:gd name="T11" fmla="*/ 1009 h 1074"/>
                <a:gd name="T12" fmla="*/ 1059 w 1299"/>
                <a:gd name="T13" fmla="*/ 40 h 1074"/>
                <a:gd name="T14" fmla="*/ 1007 w 1299"/>
                <a:gd name="T15" fmla="*/ 2 h 1074"/>
                <a:gd name="T16" fmla="*/ 49 w 1299"/>
                <a:gd name="T17" fmla="*/ 73 h 1074"/>
                <a:gd name="T18" fmla="*/ 2 w 1299"/>
                <a:gd name="T19" fmla="*/ 127 h 1074"/>
                <a:gd name="T20" fmla="*/ 4 w 1299"/>
                <a:gd name="T21" fmla="*/ 137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9" h="1074">
                  <a:moveTo>
                    <a:pt x="4" y="137"/>
                  </a:moveTo>
                  <a:cubicBezTo>
                    <a:pt x="221" y="940"/>
                    <a:pt x="221" y="940"/>
                    <a:pt x="221" y="940"/>
                  </a:cubicBezTo>
                  <a:cubicBezTo>
                    <a:pt x="227" y="961"/>
                    <a:pt x="244" y="975"/>
                    <a:pt x="265" y="977"/>
                  </a:cubicBezTo>
                  <a:cubicBezTo>
                    <a:pt x="1244" y="1071"/>
                    <a:pt x="1244" y="1071"/>
                    <a:pt x="1244" y="1071"/>
                  </a:cubicBezTo>
                  <a:cubicBezTo>
                    <a:pt x="1272" y="1074"/>
                    <a:pt x="1296" y="1054"/>
                    <a:pt x="1299" y="1026"/>
                  </a:cubicBezTo>
                  <a:cubicBezTo>
                    <a:pt x="1299" y="1020"/>
                    <a:pt x="1299" y="1015"/>
                    <a:pt x="1298" y="1009"/>
                  </a:cubicBezTo>
                  <a:cubicBezTo>
                    <a:pt x="1059" y="40"/>
                    <a:pt x="1059" y="40"/>
                    <a:pt x="1059" y="40"/>
                  </a:cubicBezTo>
                  <a:cubicBezTo>
                    <a:pt x="1054" y="16"/>
                    <a:pt x="1031" y="0"/>
                    <a:pt x="1007" y="2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21" y="76"/>
                    <a:pt x="0" y="100"/>
                    <a:pt x="2" y="127"/>
                  </a:cubicBezTo>
                  <a:cubicBezTo>
                    <a:pt x="3" y="130"/>
                    <a:pt x="3" y="134"/>
                    <a:pt x="4" y="137"/>
                  </a:cubicBezTo>
                  <a:close/>
                </a:path>
              </a:pathLst>
            </a:custGeom>
            <a:solidFill>
              <a:srgbClr val="9C9C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îšľiďé">
              <a:extLst>
                <a:ext uri="{FF2B5EF4-FFF2-40B4-BE49-F238E27FC236}">
                  <a16:creationId xmlns:a16="http://schemas.microsoft.com/office/drawing/2014/main" id="{3DA5B284-8F38-4F36-8A5B-FE5C6F7F6716}"/>
                </a:ext>
              </a:extLst>
            </p:cNvPr>
            <p:cNvSpPr/>
            <p:nvPr/>
          </p:nvSpPr>
          <p:spPr bwMode="auto">
            <a:xfrm>
              <a:off x="7227188" y="3781008"/>
              <a:ext cx="338654" cy="34286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iṧḷidê">
              <a:extLst>
                <a:ext uri="{FF2B5EF4-FFF2-40B4-BE49-F238E27FC236}">
                  <a16:creationId xmlns:a16="http://schemas.microsoft.com/office/drawing/2014/main" id="{6075ED60-CECF-4213-9C27-DBE59027547E}"/>
                </a:ext>
              </a:extLst>
            </p:cNvPr>
            <p:cNvSpPr/>
            <p:nvPr/>
          </p:nvSpPr>
          <p:spPr bwMode="auto">
            <a:xfrm>
              <a:off x="7453426" y="3625030"/>
              <a:ext cx="147547" cy="254342"/>
            </a:xfrm>
            <a:custGeom>
              <a:avLst/>
              <a:gdLst>
                <a:gd name="T0" fmla="*/ 53 w 94"/>
                <a:gd name="T1" fmla="*/ 10 h 162"/>
                <a:gd name="T2" fmla="*/ 9 w 94"/>
                <a:gd name="T3" fmla="*/ 105 h 162"/>
                <a:gd name="T4" fmla="*/ 0 w 94"/>
                <a:gd name="T5" fmla="*/ 120 h 162"/>
                <a:gd name="T6" fmla="*/ 42 w 94"/>
                <a:gd name="T7" fmla="*/ 162 h 162"/>
                <a:gd name="T8" fmla="*/ 88 w 94"/>
                <a:gd name="T9" fmla="*/ 34 h 162"/>
                <a:gd name="T10" fmla="*/ 53 w 94"/>
                <a:gd name="T11" fmla="*/ 1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162">
                  <a:moveTo>
                    <a:pt x="53" y="10"/>
                  </a:moveTo>
                  <a:cubicBezTo>
                    <a:pt x="53" y="10"/>
                    <a:pt x="75" y="77"/>
                    <a:pt x="9" y="105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42" y="162"/>
                    <a:pt x="42" y="162"/>
                    <a:pt x="42" y="162"/>
                  </a:cubicBezTo>
                  <a:cubicBezTo>
                    <a:pt x="42" y="162"/>
                    <a:pt x="94" y="67"/>
                    <a:pt x="88" y="34"/>
                  </a:cubicBezTo>
                  <a:cubicBezTo>
                    <a:pt x="88" y="34"/>
                    <a:pt x="80" y="0"/>
                    <a:pt x="53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šḷïḑê">
              <a:extLst>
                <a:ext uri="{FF2B5EF4-FFF2-40B4-BE49-F238E27FC236}">
                  <a16:creationId xmlns:a16="http://schemas.microsoft.com/office/drawing/2014/main" id="{A2BA2212-B1A0-4DC3-93FC-0B1C1A2B17E4}"/>
                </a:ext>
              </a:extLst>
            </p:cNvPr>
            <p:cNvSpPr/>
            <p:nvPr/>
          </p:nvSpPr>
          <p:spPr bwMode="auto">
            <a:xfrm>
              <a:off x="7252482" y="3797871"/>
              <a:ext cx="327413" cy="326007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iś1ïḋè">
              <a:extLst>
                <a:ext uri="{FF2B5EF4-FFF2-40B4-BE49-F238E27FC236}">
                  <a16:creationId xmlns:a16="http://schemas.microsoft.com/office/drawing/2014/main" id="{1445AB6A-C3B5-4CBD-BC6D-B62674FA249A}"/>
                </a:ext>
              </a:extLst>
            </p:cNvPr>
            <p:cNvSpPr/>
            <p:nvPr/>
          </p:nvSpPr>
          <p:spPr bwMode="auto">
            <a:xfrm>
              <a:off x="7384571" y="3374904"/>
              <a:ext cx="233264" cy="327413"/>
            </a:xfrm>
            <a:custGeom>
              <a:avLst/>
              <a:gdLst>
                <a:gd name="T0" fmla="*/ 132 w 148"/>
                <a:gd name="T1" fmla="*/ 208 h 208"/>
                <a:gd name="T2" fmla="*/ 115 w 148"/>
                <a:gd name="T3" fmla="*/ 181 h 208"/>
                <a:gd name="T4" fmla="*/ 91 w 148"/>
                <a:gd name="T5" fmla="*/ 178 h 208"/>
                <a:gd name="T6" fmla="*/ 73 w 148"/>
                <a:gd name="T7" fmla="*/ 61 h 208"/>
                <a:gd name="T8" fmla="*/ 68 w 148"/>
                <a:gd name="T9" fmla="*/ 61 h 208"/>
                <a:gd name="T10" fmla="*/ 44 w 148"/>
                <a:gd name="T11" fmla="*/ 59 h 208"/>
                <a:gd name="T12" fmla="*/ 0 w 148"/>
                <a:gd name="T13" fmla="*/ 13 h 208"/>
                <a:gd name="T14" fmla="*/ 0 w 148"/>
                <a:gd name="T15" fmla="*/ 0 h 208"/>
                <a:gd name="T16" fmla="*/ 115 w 148"/>
                <a:gd name="T17" fmla="*/ 71 h 208"/>
                <a:gd name="T18" fmla="*/ 132 w 148"/>
                <a:gd name="T1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208">
                  <a:moveTo>
                    <a:pt x="132" y="208"/>
                  </a:moveTo>
                  <a:cubicBezTo>
                    <a:pt x="115" y="181"/>
                    <a:pt x="115" y="181"/>
                    <a:pt x="115" y="181"/>
                  </a:cubicBezTo>
                  <a:cubicBezTo>
                    <a:pt x="91" y="178"/>
                    <a:pt x="91" y="178"/>
                    <a:pt x="91" y="178"/>
                  </a:cubicBezTo>
                  <a:cubicBezTo>
                    <a:pt x="96" y="88"/>
                    <a:pt x="73" y="61"/>
                    <a:pt x="73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2" y="7"/>
                    <a:pt x="96" y="37"/>
                    <a:pt x="115" y="71"/>
                  </a:cubicBezTo>
                  <a:cubicBezTo>
                    <a:pt x="148" y="132"/>
                    <a:pt x="132" y="208"/>
                    <a:pt x="132" y="208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ïśļíḋe">
              <a:extLst>
                <a:ext uri="{FF2B5EF4-FFF2-40B4-BE49-F238E27FC236}">
                  <a16:creationId xmlns:a16="http://schemas.microsoft.com/office/drawing/2014/main" id="{053BD762-3649-4008-878D-772136718C5C}"/>
                </a:ext>
              </a:extLst>
            </p:cNvPr>
            <p:cNvSpPr/>
            <p:nvPr/>
          </p:nvSpPr>
          <p:spPr bwMode="auto">
            <a:xfrm>
              <a:off x="7474504" y="3433923"/>
              <a:ext cx="18268" cy="33725"/>
            </a:xfrm>
            <a:custGeom>
              <a:avLst/>
              <a:gdLst>
                <a:gd name="T0" fmla="*/ 5 w 11"/>
                <a:gd name="T1" fmla="*/ 0 h 21"/>
                <a:gd name="T2" fmla="*/ 0 w 11"/>
                <a:gd name="T3" fmla="*/ 20 h 21"/>
                <a:gd name="T4" fmla="*/ 9 w 11"/>
                <a:gd name="T5" fmla="*/ 21 h 21"/>
                <a:gd name="T6" fmla="*/ 9 w 11"/>
                <a:gd name="T7" fmla="*/ 6 h 21"/>
                <a:gd name="T8" fmla="*/ 11 w 11"/>
                <a:gd name="T9" fmla="*/ 6 h 21"/>
                <a:gd name="T10" fmla="*/ 9 w 11"/>
                <a:gd name="T11" fmla="*/ 6 h 21"/>
                <a:gd name="T12" fmla="*/ 9 w 11"/>
                <a:gd name="T13" fmla="*/ 6 h 21"/>
                <a:gd name="T14" fmla="*/ 9 w 11"/>
                <a:gd name="T15" fmla="*/ 6 h 21"/>
                <a:gd name="T16" fmla="*/ 9 w 11"/>
                <a:gd name="T17" fmla="*/ 6 h 21"/>
                <a:gd name="T18" fmla="*/ 7 w 11"/>
                <a:gd name="T19" fmla="*/ 2 h 21"/>
                <a:gd name="T20" fmla="*/ 5 w 11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21">
                  <a:moveTo>
                    <a:pt x="5" y="0"/>
                  </a:moveTo>
                  <a:cubicBezTo>
                    <a:pt x="3" y="7"/>
                    <a:pt x="2" y="13"/>
                    <a:pt x="0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8" y="4"/>
                    <a:pt x="7" y="2"/>
                  </a:cubicBezTo>
                  <a:cubicBezTo>
                    <a:pt x="6" y="2"/>
                    <a:pt x="6" y="1"/>
                    <a:pt x="5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îṡļiḋé">
              <a:extLst>
                <a:ext uri="{FF2B5EF4-FFF2-40B4-BE49-F238E27FC236}">
                  <a16:creationId xmlns:a16="http://schemas.microsoft.com/office/drawing/2014/main" id="{DF549706-D2E6-41A7-AA9B-003624F48AA3}"/>
                </a:ext>
              </a:extLst>
            </p:cNvPr>
            <p:cNvSpPr/>
            <p:nvPr/>
          </p:nvSpPr>
          <p:spPr bwMode="auto">
            <a:xfrm>
              <a:off x="7471693" y="3469053"/>
              <a:ext cx="12647" cy="4216"/>
            </a:xfrm>
            <a:custGeom>
              <a:avLst/>
              <a:gdLst>
                <a:gd name="T0" fmla="*/ 1 w 8"/>
                <a:gd name="T1" fmla="*/ 0 h 3"/>
                <a:gd name="T2" fmla="*/ 0 w 8"/>
                <a:gd name="T3" fmla="*/ 2 h 3"/>
                <a:gd name="T4" fmla="*/ 8 w 8"/>
                <a:gd name="T5" fmla="*/ 3 h 3"/>
                <a:gd name="T6" fmla="*/ 8 w 8"/>
                <a:gd name="T7" fmla="*/ 0 h 3"/>
                <a:gd name="T8" fmla="*/ 1 w 8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1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A46A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iṩlïdê">
              <a:extLst>
                <a:ext uri="{FF2B5EF4-FFF2-40B4-BE49-F238E27FC236}">
                  <a16:creationId xmlns:a16="http://schemas.microsoft.com/office/drawing/2014/main" id="{E88BAD6B-F393-42DD-8A9D-251FFCF18BAC}"/>
                </a:ext>
              </a:extLst>
            </p:cNvPr>
            <p:cNvSpPr/>
            <p:nvPr/>
          </p:nvSpPr>
          <p:spPr bwMode="auto">
            <a:xfrm>
              <a:off x="7484341" y="3469053"/>
              <a:ext cx="11242" cy="4216"/>
            </a:xfrm>
            <a:custGeom>
              <a:avLst/>
              <a:gdLst>
                <a:gd name="T0" fmla="*/ 0 w 7"/>
                <a:gd name="T1" fmla="*/ 0 h 3"/>
                <a:gd name="T2" fmla="*/ 0 w 7"/>
                <a:gd name="T3" fmla="*/ 3 h 3"/>
                <a:gd name="T4" fmla="*/ 7 w 7"/>
                <a:gd name="T5" fmla="*/ 3 h 3"/>
                <a:gd name="T6" fmla="*/ 7 w 7"/>
                <a:gd name="T7" fmla="*/ 1 h 3"/>
                <a:gd name="T8" fmla="*/ 5 w 7"/>
                <a:gd name="T9" fmla="*/ 1 h 3"/>
                <a:gd name="T10" fmla="*/ 0 w 7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íŝľíḓe">
              <a:extLst>
                <a:ext uri="{FF2B5EF4-FFF2-40B4-BE49-F238E27FC236}">
                  <a16:creationId xmlns:a16="http://schemas.microsoft.com/office/drawing/2014/main" id="{280C877C-C590-4E3E-B26F-046F85937EA6}"/>
                </a:ext>
              </a:extLst>
            </p:cNvPr>
            <p:cNvSpPr/>
            <p:nvPr/>
          </p:nvSpPr>
          <p:spPr bwMode="auto">
            <a:xfrm>
              <a:off x="7473099" y="3428302"/>
              <a:ext cx="22483" cy="42156"/>
            </a:xfrm>
            <a:custGeom>
              <a:avLst/>
              <a:gdLst>
                <a:gd name="T0" fmla="*/ 7 w 14"/>
                <a:gd name="T1" fmla="*/ 0 h 27"/>
                <a:gd name="T2" fmla="*/ 6 w 14"/>
                <a:gd name="T3" fmla="*/ 4 h 27"/>
                <a:gd name="T4" fmla="*/ 8 w 14"/>
                <a:gd name="T5" fmla="*/ 6 h 27"/>
                <a:gd name="T6" fmla="*/ 10 w 14"/>
                <a:gd name="T7" fmla="*/ 10 h 27"/>
                <a:gd name="T8" fmla="*/ 10 w 14"/>
                <a:gd name="T9" fmla="*/ 10 h 27"/>
                <a:gd name="T10" fmla="*/ 10 w 14"/>
                <a:gd name="T11" fmla="*/ 10 h 27"/>
                <a:gd name="T12" fmla="*/ 10 w 14"/>
                <a:gd name="T13" fmla="*/ 10 h 27"/>
                <a:gd name="T14" fmla="*/ 12 w 14"/>
                <a:gd name="T15" fmla="*/ 10 h 27"/>
                <a:gd name="T16" fmla="*/ 10 w 14"/>
                <a:gd name="T17" fmla="*/ 10 h 27"/>
                <a:gd name="T18" fmla="*/ 10 w 14"/>
                <a:gd name="T19" fmla="*/ 25 h 27"/>
                <a:gd name="T20" fmla="*/ 1 w 14"/>
                <a:gd name="T21" fmla="*/ 24 h 27"/>
                <a:gd name="T22" fmla="*/ 0 w 14"/>
                <a:gd name="T23" fmla="*/ 26 h 27"/>
                <a:gd name="T24" fmla="*/ 7 w 14"/>
                <a:gd name="T25" fmla="*/ 26 h 27"/>
                <a:gd name="T26" fmla="*/ 12 w 14"/>
                <a:gd name="T27" fmla="*/ 27 h 27"/>
                <a:gd name="T28" fmla="*/ 14 w 14"/>
                <a:gd name="T29" fmla="*/ 27 h 27"/>
                <a:gd name="T30" fmla="*/ 14 w 14"/>
                <a:gd name="T31" fmla="*/ 10 h 27"/>
                <a:gd name="T32" fmla="*/ 14 w 14"/>
                <a:gd name="T33" fmla="*/ 10 h 27"/>
                <a:gd name="T34" fmla="*/ 10 w 14"/>
                <a:gd name="T35" fmla="*/ 3 h 27"/>
                <a:gd name="T36" fmla="*/ 7 w 14"/>
                <a:gd name="T3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7">
                  <a:moveTo>
                    <a:pt x="7" y="0"/>
                  </a:moveTo>
                  <a:cubicBezTo>
                    <a:pt x="7" y="1"/>
                    <a:pt x="6" y="3"/>
                    <a:pt x="6" y="4"/>
                  </a:cubicBezTo>
                  <a:cubicBezTo>
                    <a:pt x="7" y="5"/>
                    <a:pt x="7" y="6"/>
                    <a:pt x="8" y="6"/>
                  </a:cubicBezTo>
                  <a:cubicBezTo>
                    <a:pt x="9" y="8"/>
                    <a:pt x="10" y="9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7"/>
                    <a:pt x="12" y="5"/>
                    <a:pt x="10" y="3"/>
                  </a:cubicBezTo>
                  <a:cubicBezTo>
                    <a:pt x="9" y="2"/>
                    <a:pt x="8" y="1"/>
                    <a:pt x="7" y="0"/>
                  </a:cubicBezTo>
                </a:path>
              </a:pathLst>
            </a:custGeom>
            <a:solidFill>
              <a:srgbClr val="437F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iSḻiḋê">
              <a:extLst>
                <a:ext uri="{FF2B5EF4-FFF2-40B4-BE49-F238E27FC236}">
                  <a16:creationId xmlns:a16="http://schemas.microsoft.com/office/drawing/2014/main" id="{F665E740-3459-47B9-ACA4-F3CE014FBDA3}"/>
                </a:ext>
              </a:extLst>
            </p:cNvPr>
            <p:cNvSpPr/>
            <p:nvPr/>
          </p:nvSpPr>
          <p:spPr bwMode="auto">
            <a:xfrm>
              <a:off x="7568653" y="3499968"/>
              <a:ext cx="28104" cy="193918"/>
            </a:xfrm>
            <a:custGeom>
              <a:avLst/>
              <a:gdLst>
                <a:gd name="T0" fmla="*/ 0 w 17"/>
                <a:gd name="T1" fmla="*/ 0 h 123"/>
                <a:gd name="T2" fmla="*/ 0 w 17"/>
                <a:gd name="T3" fmla="*/ 101 h 123"/>
                <a:gd name="T4" fmla="*/ 13 w 17"/>
                <a:gd name="T5" fmla="*/ 123 h 123"/>
                <a:gd name="T6" fmla="*/ 15 w 17"/>
                <a:gd name="T7" fmla="*/ 115 h 123"/>
                <a:gd name="T8" fmla="*/ 17 w 17"/>
                <a:gd name="T9" fmla="*/ 83 h 123"/>
                <a:gd name="T10" fmla="*/ 0 w 17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23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4" y="121"/>
                    <a:pt x="14" y="118"/>
                    <a:pt x="15" y="115"/>
                  </a:cubicBezTo>
                  <a:cubicBezTo>
                    <a:pt x="16" y="107"/>
                    <a:pt x="17" y="96"/>
                    <a:pt x="17" y="83"/>
                  </a:cubicBezTo>
                  <a:cubicBezTo>
                    <a:pt x="17" y="59"/>
                    <a:pt x="13" y="28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íŝļïḋé">
              <a:extLst>
                <a:ext uri="{FF2B5EF4-FFF2-40B4-BE49-F238E27FC236}">
                  <a16:creationId xmlns:a16="http://schemas.microsoft.com/office/drawing/2014/main" id="{F2D2E33D-9534-44D2-83E3-01A51B0E182B}"/>
                </a:ext>
              </a:extLst>
            </p:cNvPr>
            <p:cNvSpPr/>
            <p:nvPr/>
          </p:nvSpPr>
          <p:spPr bwMode="auto">
            <a:xfrm>
              <a:off x="7589730" y="3634867"/>
              <a:ext cx="11242" cy="75881"/>
            </a:xfrm>
            <a:custGeom>
              <a:avLst/>
              <a:gdLst>
                <a:gd name="T0" fmla="*/ 5 w 7"/>
                <a:gd name="T1" fmla="*/ 0 h 49"/>
                <a:gd name="T2" fmla="*/ 2 w 7"/>
                <a:gd name="T3" fmla="*/ 43 h 49"/>
                <a:gd name="T4" fmla="*/ 1 w 7"/>
                <a:gd name="T5" fmla="*/ 42 h 49"/>
                <a:gd name="T6" fmla="*/ 0 w 7"/>
                <a:gd name="T7" fmla="*/ 45 h 49"/>
                <a:gd name="T8" fmla="*/ 2 w 7"/>
                <a:gd name="T9" fmla="*/ 49 h 49"/>
                <a:gd name="T10" fmla="*/ 3 w 7"/>
                <a:gd name="T11" fmla="*/ 44 h 49"/>
                <a:gd name="T12" fmla="*/ 7 w 7"/>
                <a:gd name="T13" fmla="*/ 4 h 49"/>
                <a:gd name="T14" fmla="*/ 5 w 7"/>
                <a:gd name="T1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9">
                  <a:moveTo>
                    <a:pt x="5" y="0"/>
                  </a:moveTo>
                  <a:cubicBezTo>
                    <a:pt x="5" y="26"/>
                    <a:pt x="2" y="43"/>
                    <a:pt x="2" y="43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0" y="44"/>
                    <a:pt x="0" y="45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7" y="28"/>
                    <a:pt x="7" y="4"/>
                  </a:cubicBezTo>
                  <a:cubicBezTo>
                    <a:pt x="7" y="3"/>
                    <a:pt x="6" y="2"/>
                    <a:pt x="5" y="0"/>
                  </a:cubicBezTo>
                </a:path>
              </a:pathLst>
            </a:custGeom>
            <a:solidFill>
              <a:srgbClr val="7278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ïŝļîḑé">
              <a:extLst>
                <a:ext uri="{FF2B5EF4-FFF2-40B4-BE49-F238E27FC236}">
                  <a16:creationId xmlns:a16="http://schemas.microsoft.com/office/drawing/2014/main" id="{6A7669C1-5772-4E1C-807E-633AD986AB61}"/>
                </a:ext>
              </a:extLst>
            </p:cNvPr>
            <p:cNvSpPr/>
            <p:nvPr/>
          </p:nvSpPr>
          <p:spPr bwMode="auto">
            <a:xfrm>
              <a:off x="7563032" y="3473269"/>
              <a:ext cx="39346" cy="167220"/>
            </a:xfrm>
            <a:custGeom>
              <a:avLst/>
              <a:gdLst>
                <a:gd name="T0" fmla="*/ 0 w 25"/>
                <a:gd name="T1" fmla="*/ 0 h 106"/>
                <a:gd name="T2" fmla="*/ 0 w 25"/>
                <a:gd name="T3" fmla="*/ 5 h 106"/>
                <a:gd name="T4" fmla="*/ 2 w 25"/>
                <a:gd name="T5" fmla="*/ 8 h 106"/>
                <a:gd name="T6" fmla="*/ 22 w 25"/>
                <a:gd name="T7" fmla="*/ 102 h 106"/>
                <a:gd name="T8" fmla="*/ 24 w 25"/>
                <a:gd name="T9" fmla="*/ 106 h 106"/>
                <a:gd name="T10" fmla="*/ 25 w 25"/>
                <a:gd name="T11" fmla="*/ 100 h 106"/>
                <a:gd name="T12" fmla="*/ 4 w 25"/>
                <a:gd name="T13" fmla="*/ 7 h 106"/>
                <a:gd name="T14" fmla="*/ 0 w 25"/>
                <a:gd name="T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06"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7"/>
                    <a:pt x="2" y="8"/>
                  </a:cubicBezTo>
                  <a:cubicBezTo>
                    <a:pt x="19" y="40"/>
                    <a:pt x="23" y="75"/>
                    <a:pt x="22" y="102"/>
                  </a:cubicBezTo>
                  <a:cubicBezTo>
                    <a:pt x="23" y="104"/>
                    <a:pt x="24" y="105"/>
                    <a:pt x="24" y="106"/>
                  </a:cubicBezTo>
                  <a:cubicBezTo>
                    <a:pt x="24" y="104"/>
                    <a:pt x="25" y="102"/>
                    <a:pt x="25" y="100"/>
                  </a:cubicBezTo>
                  <a:cubicBezTo>
                    <a:pt x="24" y="73"/>
                    <a:pt x="20" y="38"/>
                    <a:pt x="4" y="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íşḷiḓe">
              <a:extLst>
                <a:ext uri="{FF2B5EF4-FFF2-40B4-BE49-F238E27FC236}">
                  <a16:creationId xmlns:a16="http://schemas.microsoft.com/office/drawing/2014/main" id="{4122BA9C-AEB4-4D0A-9EB8-254848995C3B}"/>
                </a:ext>
              </a:extLst>
            </p:cNvPr>
            <p:cNvSpPr/>
            <p:nvPr/>
          </p:nvSpPr>
          <p:spPr bwMode="auto">
            <a:xfrm>
              <a:off x="7563032" y="3658755"/>
              <a:ext cx="28104" cy="46372"/>
            </a:xfrm>
            <a:custGeom>
              <a:avLst/>
              <a:gdLst>
                <a:gd name="T0" fmla="*/ 0 w 18"/>
                <a:gd name="T1" fmla="*/ 0 h 29"/>
                <a:gd name="T2" fmla="*/ 0 w 18"/>
                <a:gd name="T3" fmla="*/ 1 h 29"/>
                <a:gd name="T4" fmla="*/ 17 w 18"/>
                <a:gd name="T5" fmla="*/ 29 h 29"/>
                <a:gd name="T6" fmla="*/ 18 w 18"/>
                <a:gd name="T7" fmla="*/ 26 h 29"/>
                <a:gd name="T8" fmla="*/ 2 w 18"/>
                <a:gd name="T9" fmla="*/ 0 h 29"/>
                <a:gd name="T10" fmla="*/ 0 w 18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9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8" y="27"/>
                    <a:pt x="18" y="2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DE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îsliḓé">
              <a:extLst>
                <a:ext uri="{FF2B5EF4-FFF2-40B4-BE49-F238E27FC236}">
                  <a16:creationId xmlns:a16="http://schemas.microsoft.com/office/drawing/2014/main" id="{3A776377-E572-4DDE-8808-B05A22B094B3}"/>
                </a:ext>
              </a:extLst>
            </p:cNvPr>
            <p:cNvSpPr/>
            <p:nvPr/>
          </p:nvSpPr>
          <p:spPr bwMode="auto">
            <a:xfrm>
              <a:off x="7563032" y="3481700"/>
              <a:ext cx="36535" cy="220617"/>
            </a:xfrm>
            <a:custGeom>
              <a:avLst/>
              <a:gdLst>
                <a:gd name="T0" fmla="*/ 17 w 23"/>
                <a:gd name="T1" fmla="*/ 135 h 140"/>
                <a:gd name="T2" fmla="*/ 4 w 23"/>
                <a:gd name="T3" fmla="*/ 113 h 140"/>
                <a:gd name="T4" fmla="*/ 4 w 23"/>
                <a:gd name="T5" fmla="*/ 12 h 140"/>
                <a:gd name="T6" fmla="*/ 21 w 23"/>
                <a:gd name="T7" fmla="*/ 95 h 140"/>
                <a:gd name="T8" fmla="*/ 19 w 23"/>
                <a:gd name="T9" fmla="*/ 127 h 140"/>
                <a:gd name="T10" fmla="*/ 17 w 23"/>
                <a:gd name="T11" fmla="*/ 135 h 140"/>
                <a:gd name="T12" fmla="*/ 0 w 23"/>
                <a:gd name="T13" fmla="*/ 0 h 140"/>
                <a:gd name="T14" fmla="*/ 0 w 23"/>
                <a:gd name="T15" fmla="*/ 113 h 140"/>
                <a:gd name="T16" fmla="*/ 2 w 23"/>
                <a:gd name="T17" fmla="*/ 113 h 140"/>
                <a:gd name="T18" fmla="*/ 18 w 23"/>
                <a:gd name="T19" fmla="*/ 139 h 140"/>
                <a:gd name="T20" fmla="*/ 19 w 23"/>
                <a:gd name="T21" fmla="*/ 140 h 140"/>
                <a:gd name="T22" fmla="*/ 22 w 23"/>
                <a:gd name="T23" fmla="*/ 97 h 140"/>
                <a:gd name="T24" fmla="*/ 2 w 23"/>
                <a:gd name="T25" fmla="*/ 3 h 140"/>
                <a:gd name="T26" fmla="*/ 0 w 23"/>
                <a:gd name="T2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40">
                  <a:moveTo>
                    <a:pt x="17" y="135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7" y="40"/>
                    <a:pt x="21" y="71"/>
                    <a:pt x="21" y="95"/>
                  </a:cubicBezTo>
                  <a:cubicBezTo>
                    <a:pt x="21" y="108"/>
                    <a:pt x="20" y="119"/>
                    <a:pt x="19" y="127"/>
                  </a:cubicBezTo>
                  <a:cubicBezTo>
                    <a:pt x="18" y="130"/>
                    <a:pt x="18" y="133"/>
                    <a:pt x="17" y="135"/>
                  </a:cubicBezTo>
                  <a:moveTo>
                    <a:pt x="0" y="0"/>
                  </a:moveTo>
                  <a:cubicBezTo>
                    <a:pt x="0" y="113"/>
                    <a:pt x="0" y="113"/>
                    <a:pt x="0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22" y="123"/>
                    <a:pt x="22" y="97"/>
                  </a:cubicBezTo>
                  <a:cubicBezTo>
                    <a:pt x="23" y="70"/>
                    <a:pt x="19" y="35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437F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iṡľîḋe">
              <a:extLst>
                <a:ext uri="{FF2B5EF4-FFF2-40B4-BE49-F238E27FC236}">
                  <a16:creationId xmlns:a16="http://schemas.microsoft.com/office/drawing/2014/main" id="{A4B147A7-BD78-48D5-8873-2D47F0B56C15}"/>
                </a:ext>
              </a:extLst>
            </p:cNvPr>
            <p:cNvSpPr/>
            <p:nvPr/>
          </p:nvSpPr>
          <p:spPr bwMode="auto">
            <a:xfrm>
              <a:off x="6903992" y="3716369"/>
              <a:ext cx="254342" cy="335844"/>
            </a:xfrm>
            <a:custGeom>
              <a:avLst/>
              <a:gdLst>
                <a:gd name="T0" fmla="*/ 28 w 161"/>
                <a:gd name="T1" fmla="*/ 16 h 214"/>
                <a:gd name="T2" fmla="*/ 130 w 161"/>
                <a:gd name="T3" fmla="*/ 78 h 214"/>
                <a:gd name="T4" fmla="*/ 133 w 161"/>
                <a:gd name="T5" fmla="*/ 198 h 214"/>
                <a:gd name="T6" fmla="*/ 30 w 161"/>
                <a:gd name="T7" fmla="*/ 136 h 214"/>
                <a:gd name="T8" fmla="*/ 28 w 161"/>
                <a:gd name="T9" fmla="*/ 16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214">
                  <a:moveTo>
                    <a:pt x="28" y="16"/>
                  </a:moveTo>
                  <a:cubicBezTo>
                    <a:pt x="55" y="0"/>
                    <a:pt x="101" y="28"/>
                    <a:pt x="130" y="78"/>
                  </a:cubicBezTo>
                  <a:cubicBezTo>
                    <a:pt x="159" y="129"/>
                    <a:pt x="161" y="182"/>
                    <a:pt x="133" y="198"/>
                  </a:cubicBezTo>
                  <a:cubicBezTo>
                    <a:pt x="105" y="214"/>
                    <a:pt x="60" y="186"/>
                    <a:pt x="30" y="136"/>
                  </a:cubicBezTo>
                  <a:cubicBezTo>
                    <a:pt x="1" y="86"/>
                    <a:pt x="0" y="32"/>
                    <a:pt x="28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iṥ1îďè">
              <a:extLst>
                <a:ext uri="{FF2B5EF4-FFF2-40B4-BE49-F238E27FC236}">
                  <a16:creationId xmlns:a16="http://schemas.microsoft.com/office/drawing/2014/main" id="{609D5311-FADC-4153-9349-CBC837D0960C}"/>
                </a:ext>
              </a:extLst>
            </p:cNvPr>
            <p:cNvSpPr/>
            <p:nvPr/>
          </p:nvSpPr>
          <p:spPr bwMode="auto">
            <a:xfrm>
              <a:off x="6853404" y="3721990"/>
              <a:ext cx="304929" cy="330223"/>
            </a:xfrm>
            <a:custGeom>
              <a:avLst/>
              <a:gdLst>
                <a:gd name="T0" fmla="*/ 129 w 194"/>
                <a:gd name="T1" fmla="*/ 94 h 210"/>
                <a:gd name="T2" fmla="*/ 166 w 194"/>
                <a:gd name="T3" fmla="*/ 194 h 210"/>
                <a:gd name="T4" fmla="*/ 29 w 194"/>
                <a:gd name="T5" fmla="*/ 152 h 210"/>
                <a:gd name="T6" fmla="*/ 54 w 194"/>
                <a:gd name="T7" fmla="*/ 16 h 210"/>
                <a:gd name="T8" fmla="*/ 129 w 194"/>
                <a:gd name="T9" fmla="*/ 9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210">
                  <a:moveTo>
                    <a:pt x="129" y="94"/>
                  </a:moveTo>
                  <a:cubicBezTo>
                    <a:pt x="158" y="145"/>
                    <a:pt x="194" y="178"/>
                    <a:pt x="166" y="194"/>
                  </a:cubicBezTo>
                  <a:cubicBezTo>
                    <a:pt x="139" y="210"/>
                    <a:pt x="58" y="202"/>
                    <a:pt x="29" y="152"/>
                  </a:cubicBezTo>
                  <a:cubicBezTo>
                    <a:pt x="0" y="102"/>
                    <a:pt x="26" y="32"/>
                    <a:pt x="54" y="16"/>
                  </a:cubicBezTo>
                  <a:cubicBezTo>
                    <a:pt x="82" y="0"/>
                    <a:pt x="100" y="44"/>
                    <a:pt x="129" y="94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is1îďè">
              <a:extLst>
                <a:ext uri="{FF2B5EF4-FFF2-40B4-BE49-F238E27FC236}">
                  <a16:creationId xmlns:a16="http://schemas.microsoft.com/office/drawing/2014/main" id="{4F107B59-83DA-46F3-9E0B-C509BAE161DB}"/>
                </a:ext>
              </a:extLst>
            </p:cNvPr>
            <p:cNvSpPr/>
            <p:nvPr/>
          </p:nvSpPr>
          <p:spPr bwMode="auto">
            <a:xfrm>
              <a:off x="6577985" y="3348206"/>
              <a:ext cx="112416" cy="281040"/>
            </a:xfrm>
            <a:custGeom>
              <a:avLst/>
              <a:gdLst>
                <a:gd name="T0" fmla="*/ 54 w 71"/>
                <a:gd name="T1" fmla="*/ 155 h 179"/>
                <a:gd name="T2" fmla="*/ 48 w 71"/>
                <a:gd name="T3" fmla="*/ 155 h 179"/>
                <a:gd name="T4" fmla="*/ 66 w 71"/>
                <a:gd name="T5" fmla="*/ 179 h 179"/>
                <a:gd name="T6" fmla="*/ 66 w 71"/>
                <a:gd name="T7" fmla="*/ 179 h 179"/>
                <a:gd name="T8" fmla="*/ 71 w 71"/>
                <a:gd name="T9" fmla="*/ 177 h 179"/>
                <a:gd name="T10" fmla="*/ 54 w 71"/>
                <a:gd name="T11" fmla="*/ 155 h 179"/>
                <a:gd name="T12" fmla="*/ 0 w 71"/>
                <a:gd name="T13" fmla="*/ 0 h 179"/>
                <a:gd name="T14" fmla="*/ 25 w 71"/>
                <a:gd name="T15" fmla="*/ 113 h 179"/>
                <a:gd name="T16" fmla="*/ 25 w 71"/>
                <a:gd name="T17" fmla="*/ 105 h 179"/>
                <a:gd name="T18" fmla="*/ 0 w 71"/>
                <a:gd name="T19" fmla="*/ 0 h 179"/>
                <a:gd name="T20" fmla="*/ 0 w 71"/>
                <a:gd name="T21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79">
                  <a:moveTo>
                    <a:pt x="54" y="155"/>
                  </a:moveTo>
                  <a:cubicBezTo>
                    <a:pt x="48" y="155"/>
                    <a:pt x="48" y="155"/>
                    <a:pt x="48" y="155"/>
                  </a:cubicBezTo>
                  <a:cubicBezTo>
                    <a:pt x="54" y="164"/>
                    <a:pt x="59" y="172"/>
                    <a:pt x="66" y="179"/>
                  </a:cubicBezTo>
                  <a:cubicBezTo>
                    <a:pt x="66" y="179"/>
                    <a:pt x="66" y="179"/>
                    <a:pt x="66" y="179"/>
                  </a:cubicBezTo>
                  <a:cubicBezTo>
                    <a:pt x="68" y="178"/>
                    <a:pt x="69" y="178"/>
                    <a:pt x="71" y="177"/>
                  </a:cubicBezTo>
                  <a:cubicBezTo>
                    <a:pt x="65" y="170"/>
                    <a:pt x="59" y="163"/>
                    <a:pt x="54" y="155"/>
                  </a:cubicBezTo>
                  <a:moveTo>
                    <a:pt x="0" y="0"/>
                  </a:moveTo>
                  <a:cubicBezTo>
                    <a:pt x="0" y="40"/>
                    <a:pt x="9" y="78"/>
                    <a:pt x="25" y="113"/>
                  </a:cubicBezTo>
                  <a:cubicBezTo>
                    <a:pt x="25" y="105"/>
                    <a:pt x="25" y="105"/>
                    <a:pt x="25" y="105"/>
                  </a:cubicBezTo>
                  <a:cubicBezTo>
                    <a:pt x="10" y="73"/>
                    <a:pt x="2" y="38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íṥ1îdê">
              <a:extLst>
                <a:ext uri="{FF2B5EF4-FFF2-40B4-BE49-F238E27FC236}">
                  <a16:creationId xmlns:a16="http://schemas.microsoft.com/office/drawing/2014/main" id="{2A658F89-243B-43DA-8AE0-C6EC29E06CA9}"/>
                </a:ext>
              </a:extLst>
            </p:cNvPr>
            <p:cNvSpPr/>
            <p:nvPr/>
          </p:nvSpPr>
          <p:spPr bwMode="auto">
            <a:xfrm>
              <a:off x="6618736" y="3512614"/>
              <a:ext cx="44966" cy="78691"/>
            </a:xfrm>
            <a:custGeom>
              <a:avLst/>
              <a:gdLst>
                <a:gd name="T0" fmla="*/ 0 w 29"/>
                <a:gd name="T1" fmla="*/ 0 h 50"/>
                <a:gd name="T2" fmla="*/ 0 w 29"/>
                <a:gd name="T3" fmla="*/ 8 h 50"/>
                <a:gd name="T4" fmla="*/ 23 w 29"/>
                <a:gd name="T5" fmla="*/ 50 h 50"/>
                <a:gd name="T6" fmla="*/ 29 w 29"/>
                <a:gd name="T7" fmla="*/ 50 h 50"/>
                <a:gd name="T8" fmla="*/ 0 w 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6" y="23"/>
                    <a:pt x="14" y="37"/>
                    <a:pt x="2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17" y="35"/>
                    <a:pt x="8" y="18"/>
                    <a:pt x="0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ísľîḍe">
              <a:extLst>
                <a:ext uri="{FF2B5EF4-FFF2-40B4-BE49-F238E27FC236}">
                  <a16:creationId xmlns:a16="http://schemas.microsoft.com/office/drawing/2014/main" id="{39FD61B2-58D7-4456-A8B3-7816032458E4}"/>
                </a:ext>
              </a:extLst>
            </p:cNvPr>
            <p:cNvSpPr/>
            <p:nvPr/>
          </p:nvSpPr>
          <p:spPr bwMode="auto">
            <a:xfrm>
              <a:off x="6895560" y="3766956"/>
              <a:ext cx="19673" cy="12647"/>
            </a:xfrm>
            <a:custGeom>
              <a:avLst/>
              <a:gdLst>
                <a:gd name="T0" fmla="*/ 6 w 13"/>
                <a:gd name="T1" fmla="*/ 0 h 8"/>
                <a:gd name="T2" fmla="*/ 6 w 13"/>
                <a:gd name="T3" fmla="*/ 0 h 8"/>
                <a:gd name="T4" fmla="*/ 0 w 13"/>
                <a:gd name="T5" fmla="*/ 5 h 8"/>
                <a:gd name="T6" fmla="*/ 8 w 13"/>
                <a:gd name="T7" fmla="*/ 8 h 8"/>
                <a:gd name="T8" fmla="*/ 13 w 13"/>
                <a:gd name="T9" fmla="*/ 1 h 8"/>
                <a:gd name="T10" fmla="*/ 6 w 13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8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" y="6"/>
                    <a:pt x="5" y="7"/>
                    <a:pt x="8" y="8"/>
                  </a:cubicBezTo>
                  <a:cubicBezTo>
                    <a:pt x="9" y="6"/>
                    <a:pt x="11" y="3"/>
                    <a:pt x="13" y="1"/>
                  </a:cubicBezTo>
                  <a:cubicBezTo>
                    <a:pt x="10" y="1"/>
                    <a:pt x="8" y="0"/>
                    <a:pt x="6" y="0"/>
                  </a:cubicBezTo>
                </a:path>
              </a:pathLst>
            </a:custGeom>
            <a:solidFill>
              <a:srgbClr val="6A70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îs1iďê">
              <a:extLst>
                <a:ext uri="{FF2B5EF4-FFF2-40B4-BE49-F238E27FC236}">
                  <a16:creationId xmlns:a16="http://schemas.microsoft.com/office/drawing/2014/main" id="{B98AB393-2BFF-4E2B-8689-3AA72F9C728B}"/>
                </a:ext>
              </a:extLst>
            </p:cNvPr>
            <p:cNvSpPr/>
            <p:nvPr/>
          </p:nvSpPr>
          <p:spPr bwMode="auto">
            <a:xfrm>
              <a:off x="6681970" y="3626436"/>
              <a:ext cx="222022" cy="147547"/>
            </a:xfrm>
            <a:custGeom>
              <a:avLst/>
              <a:gdLst>
                <a:gd name="T0" fmla="*/ 5 w 141"/>
                <a:gd name="T1" fmla="*/ 0 h 94"/>
                <a:gd name="T2" fmla="*/ 0 w 141"/>
                <a:gd name="T3" fmla="*/ 2 h 94"/>
                <a:gd name="T4" fmla="*/ 0 w 141"/>
                <a:gd name="T5" fmla="*/ 2 h 94"/>
                <a:gd name="T6" fmla="*/ 135 w 141"/>
                <a:gd name="T7" fmla="*/ 94 h 94"/>
                <a:gd name="T8" fmla="*/ 141 w 141"/>
                <a:gd name="T9" fmla="*/ 89 h 94"/>
                <a:gd name="T10" fmla="*/ 141 w 141"/>
                <a:gd name="T11" fmla="*/ 89 h 94"/>
                <a:gd name="T12" fmla="*/ 5 w 141"/>
                <a:gd name="T1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94">
                  <a:moveTo>
                    <a:pt x="5" y="0"/>
                  </a:moveTo>
                  <a:cubicBezTo>
                    <a:pt x="3" y="1"/>
                    <a:pt x="2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5" y="45"/>
                    <a:pt x="81" y="77"/>
                    <a:pt x="135" y="94"/>
                  </a:cubicBezTo>
                  <a:cubicBezTo>
                    <a:pt x="141" y="89"/>
                    <a:pt x="141" y="89"/>
                    <a:pt x="141" y="89"/>
                  </a:cubicBezTo>
                  <a:cubicBezTo>
                    <a:pt x="141" y="89"/>
                    <a:pt x="141" y="89"/>
                    <a:pt x="141" y="89"/>
                  </a:cubicBezTo>
                  <a:cubicBezTo>
                    <a:pt x="88" y="72"/>
                    <a:pt x="40" y="41"/>
                    <a:pt x="5" y="0"/>
                  </a:cubicBezTo>
                </a:path>
              </a:pathLst>
            </a:custGeom>
            <a:solidFill>
              <a:srgbClr val="4442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iṡľîḑe">
              <a:extLst>
                <a:ext uri="{FF2B5EF4-FFF2-40B4-BE49-F238E27FC236}">
                  <a16:creationId xmlns:a16="http://schemas.microsoft.com/office/drawing/2014/main" id="{90F6CDF5-0188-4C06-97F0-68B8CDA9792C}"/>
                </a:ext>
              </a:extLst>
            </p:cNvPr>
            <p:cNvSpPr/>
            <p:nvPr/>
          </p:nvSpPr>
          <p:spPr bwMode="auto">
            <a:xfrm>
              <a:off x="7068401" y="3781008"/>
              <a:ext cx="37941" cy="14052"/>
            </a:xfrm>
            <a:custGeom>
              <a:avLst/>
              <a:gdLst>
                <a:gd name="T0" fmla="*/ 23 w 24"/>
                <a:gd name="T1" fmla="*/ 0 h 9"/>
                <a:gd name="T2" fmla="*/ 0 w 24"/>
                <a:gd name="T3" fmla="*/ 2 h 9"/>
                <a:gd name="T4" fmla="*/ 7 w 24"/>
                <a:gd name="T5" fmla="*/ 9 h 9"/>
                <a:gd name="T6" fmla="*/ 24 w 24"/>
                <a:gd name="T7" fmla="*/ 7 h 9"/>
                <a:gd name="T8" fmla="*/ 23 w 2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9">
                  <a:moveTo>
                    <a:pt x="23" y="0"/>
                  </a:moveTo>
                  <a:cubicBezTo>
                    <a:pt x="15" y="1"/>
                    <a:pt x="8" y="2"/>
                    <a:pt x="0" y="2"/>
                  </a:cubicBezTo>
                  <a:cubicBezTo>
                    <a:pt x="2" y="4"/>
                    <a:pt x="4" y="7"/>
                    <a:pt x="7" y="9"/>
                  </a:cubicBezTo>
                  <a:cubicBezTo>
                    <a:pt x="12" y="8"/>
                    <a:pt x="18" y="8"/>
                    <a:pt x="24" y="7"/>
                  </a:cubicBezTo>
                  <a:cubicBezTo>
                    <a:pt x="24" y="4"/>
                    <a:pt x="23" y="2"/>
                    <a:pt x="23" y="0"/>
                  </a:cubicBezTo>
                </a:path>
              </a:pathLst>
            </a:custGeom>
            <a:solidFill>
              <a:srgbClr val="6A70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îṧ1iďé">
              <a:extLst>
                <a:ext uri="{FF2B5EF4-FFF2-40B4-BE49-F238E27FC236}">
                  <a16:creationId xmlns:a16="http://schemas.microsoft.com/office/drawing/2014/main" id="{C6B3E04A-D622-431A-B32A-D8FF5E4AABF8}"/>
                </a:ext>
              </a:extLst>
            </p:cNvPr>
            <p:cNvSpPr/>
            <p:nvPr/>
          </p:nvSpPr>
          <p:spPr bwMode="auto">
            <a:xfrm>
              <a:off x="7104936" y="3734636"/>
              <a:ext cx="137710" cy="57614"/>
            </a:xfrm>
            <a:custGeom>
              <a:avLst/>
              <a:gdLst>
                <a:gd name="T0" fmla="*/ 88 w 88"/>
                <a:gd name="T1" fmla="*/ 0 h 36"/>
                <a:gd name="T2" fmla="*/ 0 w 88"/>
                <a:gd name="T3" fmla="*/ 29 h 36"/>
                <a:gd name="T4" fmla="*/ 1 w 88"/>
                <a:gd name="T5" fmla="*/ 36 h 36"/>
                <a:gd name="T6" fmla="*/ 88 w 8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36">
                  <a:moveTo>
                    <a:pt x="88" y="0"/>
                  </a:moveTo>
                  <a:cubicBezTo>
                    <a:pt x="61" y="14"/>
                    <a:pt x="31" y="24"/>
                    <a:pt x="0" y="29"/>
                  </a:cubicBezTo>
                  <a:cubicBezTo>
                    <a:pt x="0" y="31"/>
                    <a:pt x="1" y="33"/>
                    <a:pt x="1" y="36"/>
                  </a:cubicBezTo>
                  <a:cubicBezTo>
                    <a:pt x="33" y="30"/>
                    <a:pt x="62" y="17"/>
                    <a:pt x="88" y="0"/>
                  </a:cubicBezTo>
                </a:path>
              </a:pathLst>
            </a:custGeom>
            <a:solidFill>
              <a:srgbClr val="9C63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is1ïďe">
              <a:extLst>
                <a:ext uri="{FF2B5EF4-FFF2-40B4-BE49-F238E27FC236}">
                  <a16:creationId xmlns:a16="http://schemas.microsoft.com/office/drawing/2014/main" id="{BD91C6F4-24C2-46CD-8BEA-CB68FE979553}"/>
                </a:ext>
              </a:extLst>
            </p:cNvPr>
            <p:cNvSpPr/>
            <p:nvPr/>
          </p:nvSpPr>
          <p:spPr bwMode="auto">
            <a:xfrm>
              <a:off x="7005166" y="3783819"/>
              <a:ext cx="74476" cy="14052"/>
            </a:xfrm>
            <a:custGeom>
              <a:avLst/>
              <a:gdLst>
                <a:gd name="T0" fmla="*/ 40 w 47"/>
                <a:gd name="T1" fmla="*/ 0 h 9"/>
                <a:gd name="T2" fmla="*/ 20 w 47"/>
                <a:gd name="T3" fmla="*/ 1 h 9"/>
                <a:gd name="T4" fmla="*/ 0 w 47"/>
                <a:gd name="T5" fmla="*/ 0 h 9"/>
                <a:gd name="T6" fmla="*/ 5 w 47"/>
                <a:gd name="T7" fmla="*/ 8 h 9"/>
                <a:gd name="T8" fmla="*/ 20 w 47"/>
                <a:gd name="T9" fmla="*/ 9 h 9"/>
                <a:gd name="T10" fmla="*/ 47 w 47"/>
                <a:gd name="T11" fmla="*/ 7 h 9"/>
                <a:gd name="T12" fmla="*/ 40 w 47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">
                  <a:moveTo>
                    <a:pt x="40" y="0"/>
                  </a:moveTo>
                  <a:cubicBezTo>
                    <a:pt x="33" y="0"/>
                    <a:pt x="27" y="1"/>
                    <a:pt x="20" y="1"/>
                  </a:cubicBezTo>
                  <a:cubicBezTo>
                    <a:pt x="13" y="1"/>
                    <a:pt x="7" y="0"/>
                    <a:pt x="0" y="0"/>
                  </a:cubicBezTo>
                  <a:cubicBezTo>
                    <a:pt x="2" y="3"/>
                    <a:pt x="4" y="5"/>
                    <a:pt x="5" y="8"/>
                  </a:cubicBezTo>
                  <a:cubicBezTo>
                    <a:pt x="10" y="8"/>
                    <a:pt x="15" y="9"/>
                    <a:pt x="20" y="9"/>
                  </a:cubicBezTo>
                  <a:cubicBezTo>
                    <a:pt x="29" y="9"/>
                    <a:pt x="38" y="8"/>
                    <a:pt x="47" y="7"/>
                  </a:cubicBezTo>
                  <a:cubicBezTo>
                    <a:pt x="44" y="5"/>
                    <a:pt x="42" y="2"/>
                    <a:pt x="4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íṡľîḋe">
              <a:extLst>
                <a:ext uri="{FF2B5EF4-FFF2-40B4-BE49-F238E27FC236}">
                  <a16:creationId xmlns:a16="http://schemas.microsoft.com/office/drawing/2014/main" id="{BBC8C8F6-0F7A-449A-A4B6-FA8324BCD21C}"/>
                </a:ext>
              </a:extLst>
            </p:cNvPr>
            <p:cNvSpPr/>
            <p:nvPr/>
          </p:nvSpPr>
          <p:spPr bwMode="auto">
            <a:xfrm>
              <a:off x="6908208" y="3768361"/>
              <a:ext cx="105391" cy="28104"/>
            </a:xfrm>
            <a:custGeom>
              <a:avLst/>
              <a:gdLst>
                <a:gd name="T0" fmla="*/ 5 w 67"/>
                <a:gd name="T1" fmla="*/ 0 h 18"/>
                <a:gd name="T2" fmla="*/ 0 w 67"/>
                <a:gd name="T3" fmla="*/ 7 h 18"/>
                <a:gd name="T4" fmla="*/ 67 w 67"/>
                <a:gd name="T5" fmla="*/ 18 h 18"/>
                <a:gd name="T6" fmla="*/ 62 w 67"/>
                <a:gd name="T7" fmla="*/ 10 h 18"/>
                <a:gd name="T8" fmla="*/ 5 w 6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18">
                  <a:moveTo>
                    <a:pt x="5" y="0"/>
                  </a:moveTo>
                  <a:cubicBezTo>
                    <a:pt x="3" y="2"/>
                    <a:pt x="1" y="5"/>
                    <a:pt x="0" y="7"/>
                  </a:cubicBezTo>
                  <a:cubicBezTo>
                    <a:pt x="21" y="13"/>
                    <a:pt x="44" y="17"/>
                    <a:pt x="67" y="18"/>
                  </a:cubicBezTo>
                  <a:cubicBezTo>
                    <a:pt x="66" y="15"/>
                    <a:pt x="64" y="13"/>
                    <a:pt x="62" y="10"/>
                  </a:cubicBezTo>
                  <a:cubicBezTo>
                    <a:pt x="42" y="9"/>
                    <a:pt x="23" y="5"/>
                    <a:pt x="5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îṩlïďé">
              <a:extLst>
                <a:ext uri="{FF2B5EF4-FFF2-40B4-BE49-F238E27FC236}">
                  <a16:creationId xmlns:a16="http://schemas.microsoft.com/office/drawing/2014/main" id="{E801CD10-DEB4-4839-87EA-1C2ACFE69BB2}"/>
                </a:ext>
              </a:extLst>
            </p:cNvPr>
            <p:cNvSpPr/>
            <p:nvPr/>
          </p:nvSpPr>
          <p:spPr bwMode="auto">
            <a:xfrm>
              <a:off x="6576580" y="2867627"/>
              <a:ext cx="919003" cy="917598"/>
            </a:xfrm>
            <a:prstGeom prst="ellipse">
              <a:avLst/>
            </a:pr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ís1iḍé">
              <a:extLst>
                <a:ext uri="{FF2B5EF4-FFF2-40B4-BE49-F238E27FC236}">
                  <a16:creationId xmlns:a16="http://schemas.microsoft.com/office/drawing/2014/main" id="{A4678B31-2A32-41D0-8927-42FAAE75B66F}"/>
                </a:ext>
              </a:extLst>
            </p:cNvPr>
            <p:cNvSpPr/>
            <p:nvPr/>
          </p:nvSpPr>
          <p:spPr bwMode="auto">
            <a:xfrm>
              <a:off x="6385472" y="2524757"/>
              <a:ext cx="1211285" cy="831880"/>
            </a:xfrm>
            <a:custGeom>
              <a:avLst/>
              <a:gdLst>
                <a:gd name="T0" fmla="*/ 388 w 769"/>
                <a:gd name="T1" fmla="*/ 380 h 529"/>
                <a:gd name="T2" fmla="*/ 475 w 769"/>
                <a:gd name="T3" fmla="*/ 449 h 529"/>
                <a:gd name="T4" fmla="*/ 626 w 769"/>
                <a:gd name="T5" fmla="*/ 456 h 529"/>
                <a:gd name="T6" fmla="*/ 711 w 769"/>
                <a:gd name="T7" fmla="*/ 447 h 529"/>
                <a:gd name="T8" fmla="*/ 724 w 769"/>
                <a:gd name="T9" fmla="*/ 449 h 529"/>
                <a:gd name="T10" fmla="*/ 735 w 769"/>
                <a:gd name="T11" fmla="*/ 435 h 529"/>
                <a:gd name="T12" fmla="*/ 702 w 769"/>
                <a:gd name="T13" fmla="*/ 124 h 529"/>
                <a:gd name="T14" fmla="*/ 651 w 769"/>
                <a:gd name="T15" fmla="*/ 60 h 529"/>
                <a:gd name="T16" fmla="*/ 593 w 769"/>
                <a:gd name="T17" fmla="*/ 30 h 529"/>
                <a:gd name="T18" fmla="*/ 477 w 769"/>
                <a:gd name="T19" fmla="*/ 2 h 529"/>
                <a:gd name="T20" fmla="*/ 456 w 769"/>
                <a:gd name="T21" fmla="*/ 1 h 529"/>
                <a:gd name="T22" fmla="*/ 429 w 769"/>
                <a:gd name="T23" fmla="*/ 12 h 529"/>
                <a:gd name="T24" fmla="*/ 310 w 769"/>
                <a:gd name="T25" fmla="*/ 45 h 529"/>
                <a:gd name="T26" fmla="*/ 269 w 769"/>
                <a:gd name="T27" fmla="*/ 45 h 529"/>
                <a:gd name="T28" fmla="*/ 147 w 769"/>
                <a:gd name="T29" fmla="*/ 70 h 529"/>
                <a:gd name="T30" fmla="*/ 74 w 769"/>
                <a:gd name="T31" fmla="*/ 255 h 529"/>
                <a:gd name="T32" fmla="*/ 2 w 769"/>
                <a:gd name="T33" fmla="*/ 366 h 529"/>
                <a:gd name="T34" fmla="*/ 4 w 769"/>
                <a:gd name="T35" fmla="*/ 406 h 529"/>
                <a:gd name="T36" fmla="*/ 156 w 769"/>
                <a:gd name="T37" fmla="*/ 528 h 529"/>
                <a:gd name="T38" fmla="*/ 187 w 769"/>
                <a:gd name="T39" fmla="*/ 522 h 529"/>
                <a:gd name="T40" fmla="*/ 204 w 769"/>
                <a:gd name="T41" fmla="*/ 506 h 529"/>
                <a:gd name="T42" fmla="*/ 388 w 769"/>
                <a:gd name="T43" fmla="*/ 38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9" h="529">
                  <a:moveTo>
                    <a:pt x="388" y="380"/>
                  </a:moveTo>
                  <a:cubicBezTo>
                    <a:pt x="423" y="393"/>
                    <a:pt x="443" y="429"/>
                    <a:pt x="475" y="449"/>
                  </a:cubicBezTo>
                  <a:cubicBezTo>
                    <a:pt x="519" y="477"/>
                    <a:pt x="576" y="470"/>
                    <a:pt x="626" y="456"/>
                  </a:cubicBezTo>
                  <a:cubicBezTo>
                    <a:pt x="654" y="448"/>
                    <a:pt x="683" y="439"/>
                    <a:pt x="711" y="447"/>
                  </a:cubicBezTo>
                  <a:cubicBezTo>
                    <a:pt x="715" y="449"/>
                    <a:pt x="719" y="450"/>
                    <a:pt x="724" y="449"/>
                  </a:cubicBezTo>
                  <a:cubicBezTo>
                    <a:pt x="730" y="447"/>
                    <a:pt x="733" y="441"/>
                    <a:pt x="735" y="435"/>
                  </a:cubicBezTo>
                  <a:cubicBezTo>
                    <a:pt x="769" y="333"/>
                    <a:pt x="754" y="218"/>
                    <a:pt x="702" y="124"/>
                  </a:cubicBezTo>
                  <a:cubicBezTo>
                    <a:pt x="689" y="100"/>
                    <a:pt x="673" y="76"/>
                    <a:pt x="651" y="60"/>
                  </a:cubicBezTo>
                  <a:cubicBezTo>
                    <a:pt x="634" y="46"/>
                    <a:pt x="613" y="38"/>
                    <a:pt x="593" y="30"/>
                  </a:cubicBezTo>
                  <a:cubicBezTo>
                    <a:pt x="555" y="17"/>
                    <a:pt x="517" y="7"/>
                    <a:pt x="477" y="2"/>
                  </a:cubicBezTo>
                  <a:cubicBezTo>
                    <a:pt x="470" y="0"/>
                    <a:pt x="463" y="0"/>
                    <a:pt x="456" y="1"/>
                  </a:cubicBezTo>
                  <a:cubicBezTo>
                    <a:pt x="447" y="3"/>
                    <a:pt x="438" y="8"/>
                    <a:pt x="429" y="12"/>
                  </a:cubicBezTo>
                  <a:cubicBezTo>
                    <a:pt x="393" y="32"/>
                    <a:pt x="352" y="43"/>
                    <a:pt x="310" y="45"/>
                  </a:cubicBezTo>
                  <a:cubicBezTo>
                    <a:pt x="297" y="45"/>
                    <a:pt x="283" y="45"/>
                    <a:pt x="269" y="45"/>
                  </a:cubicBezTo>
                  <a:cubicBezTo>
                    <a:pt x="225" y="44"/>
                    <a:pt x="180" y="42"/>
                    <a:pt x="147" y="70"/>
                  </a:cubicBezTo>
                  <a:cubicBezTo>
                    <a:pt x="95" y="113"/>
                    <a:pt x="108" y="197"/>
                    <a:pt x="74" y="255"/>
                  </a:cubicBezTo>
                  <a:cubicBezTo>
                    <a:pt x="52" y="294"/>
                    <a:pt x="9" y="322"/>
                    <a:pt x="2" y="366"/>
                  </a:cubicBezTo>
                  <a:cubicBezTo>
                    <a:pt x="0" y="380"/>
                    <a:pt x="1" y="393"/>
                    <a:pt x="4" y="406"/>
                  </a:cubicBezTo>
                  <a:cubicBezTo>
                    <a:pt x="21" y="474"/>
                    <a:pt x="86" y="527"/>
                    <a:pt x="156" y="528"/>
                  </a:cubicBezTo>
                  <a:cubicBezTo>
                    <a:pt x="167" y="529"/>
                    <a:pt x="178" y="526"/>
                    <a:pt x="187" y="522"/>
                  </a:cubicBezTo>
                  <a:cubicBezTo>
                    <a:pt x="193" y="517"/>
                    <a:pt x="199" y="512"/>
                    <a:pt x="204" y="506"/>
                  </a:cubicBezTo>
                  <a:cubicBezTo>
                    <a:pt x="249" y="452"/>
                    <a:pt x="302" y="348"/>
                    <a:pt x="388" y="380"/>
                  </a:cubicBezTo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ïṧḻiďe">
              <a:extLst>
                <a:ext uri="{FF2B5EF4-FFF2-40B4-BE49-F238E27FC236}">
                  <a16:creationId xmlns:a16="http://schemas.microsoft.com/office/drawing/2014/main" id="{8CE80647-C3B3-46CA-9F3A-0528033DC1CD}"/>
                </a:ext>
              </a:extLst>
            </p:cNvPr>
            <p:cNvSpPr/>
            <p:nvPr/>
          </p:nvSpPr>
          <p:spPr bwMode="auto">
            <a:xfrm>
              <a:off x="7571463" y="3009552"/>
              <a:ext cx="0" cy="15458"/>
            </a:xfrm>
            <a:custGeom>
              <a:avLst/>
              <a:gdLst>
                <a:gd name="T0" fmla="*/ 0 h 10"/>
                <a:gd name="T1" fmla="*/ 10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cubicBezTo>
                    <a:pt x="0" y="3"/>
                    <a:pt x="0" y="6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6"/>
                    <a:pt x="0" y="3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îSlïḑè">
              <a:extLst>
                <a:ext uri="{FF2B5EF4-FFF2-40B4-BE49-F238E27FC236}">
                  <a16:creationId xmlns:a16="http://schemas.microsoft.com/office/drawing/2014/main" id="{6ACBDEEA-3209-4B32-822A-D89D2E7BC404}"/>
                </a:ext>
              </a:extLst>
            </p:cNvPr>
            <p:cNvSpPr/>
            <p:nvPr/>
          </p:nvSpPr>
          <p:spPr bwMode="auto">
            <a:xfrm>
              <a:off x="7565842" y="3025009"/>
              <a:ext cx="5621" cy="74476"/>
            </a:xfrm>
            <a:custGeom>
              <a:avLst/>
              <a:gdLst>
                <a:gd name="T0" fmla="*/ 3 w 3"/>
                <a:gd name="T1" fmla="*/ 0 h 47"/>
                <a:gd name="T2" fmla="*/ 3 w 3"/>
                <a:gd name="T3" fmla="*/ 0 h 47"/>
                <a:gd name="T4" fmla="*/ 0 w 3"/>
                <a:gd name="T5" fmla="*/ 47 h 47"/>
                <a:gd name="T6" fmla="*/ 3 w 3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7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16"/>
                    <a:pt x="2" y="31"/>
                    <a:pt x="0" y="47"/>
                  </a:cubicBezTo>
                  <a:cubicBezTo>
                    <a:pt x="2" y="31"/>
                    <a:pt x="3" y="16"/>
                    <a:pt x="3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išlïḑé">
              <a:extLst>
                <a:ext uri="{FF2B5EF4-FFF2-40B4-BE49-F238E27FC236}">
                  <a16:creationId xmlns:a16="http://schemas.microsoft.com/office/drawing/2014/main" id="{34F7AB38-DC4B-46E6-85F6-95F5F0E9B5F1}"/>
                </a:ext>
              </a:extLst>
            </p:cNvPr>
            <p:cNvSpPr/>
            <p:nvPr/>
          </p:nvSpPr>
          <p:spPr bwMode="auto">
            <a:xfrm>
              <a:off x="6385472" y="3099485"/>
              <a:ext cx="32320" cy="129279"/>
            </a:xfrm>
            <a:custGeom>
              <a:avLst/>
              <a:gdLst>
                <a:gd name="T0" fmla="*/ 2 w 21"/>
                <a:gd name="T1" fmla="*/ 0 h 82"/>
                <a:gd name="T2" fmla="*/ 2 w 21"/>
                <a:gd name="T3" fmla="*/ 1 h 82"/>
                <a:gd name="T4" fmla="*/ 4 w 21"/>
                <a:gd name="T5" fmla="*/ 41 h 82"/>
                <a:gd name="T6" fmla="*/ 21 w 21"/>
                <a:gd name="T7" fmla="*/ 82 h 82"/>
                <a:gd name="T8" fmla="*/ 21 w 21"/>
                <a:gd name="T9" fmla="*/ 82 h 82"/>
                <a:gd name="T10" fmla="*/ 4 w 21"/>
                <a:gd name="T11" fmla="*/ 41 h 82"/>
                <a:gd name="T12" fmla="*/ 2 w 21"/>
                <a:gd name="T13" fmla="*/ 1 h 82"/>
                <a:gd name="T14" fmla="*/ 2 w 21"/>
                <a:gd name="T15" fmla="*/ 0 h 82"/>
                <a:gd name="T16" fmla="*/ 2 w 21"/>
                <a:gd name="T1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82">
                  <a:moveTo>
                    <a:pt x="2" y="0"/>
                  </a:moveTo>
                  <a:cubicBezTo>
                    <a:pt x="2" y="0"/>
                    <a:pt x="2" y="1"/>
                    <a:pt x="2" y="1"/>
                  </a:cubicBezTo>
                  <a:cubicBezTo>
                    <a:pt x="0" y="14"/>
                    <a:pt x="1" y="28"/>
                    <a:pt x="4" y="41"/>
                  </a:cubicBezTo>
                  <a:cubicBezTo>
                    <a:pt x="8" y="56"/>
                    <a:pt x="13" y="69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13" y="69"/>
                    <a:pt x="8" y="56"/>
                    <a:pt x="4" y="41"/>
                  </a:cubicBezTo>
                  <a:cubicBezTo>
                    <a:pt x="1" y="28"/>
                    <a:pt x="0" y="15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îṥ1íḓe">
              <a:extLst>
                <a:ext uri="{FF2B5EF4-FFF2-40B4-BE49-F238E27FC236}">
                  <a16:creationId xmlns:a16="http://schemas.microsoft.com/office/drawing/2014/main" id="{8F73A9FD-5D5B-4FF8-9A53-C47A55E1ABAE}"/>
                </a:ext>
              </a:extLst>
            </p:cNvPr>
            <p:cNvSpPr/>
            <p:nvPr/>
          </p:nvSpPr>
          <p:spPr bwMode="auto">
            <a:xfrm>
              <a:off x="6417791" y="3228763"/>
              <a:ext cx="11242" cy="18268"/>
            </a:xfrm>
            <a:custGeom>
              <a:avLst/>
              <a:gdLst>
                <a:gd name="T0" fmla="*/ 0 w 7"/>
                <a:gd name="T1" fmla="*/ 0 h 12"/>
                <a:gd name="T2" fmla="*/ 0 w 7"/>
                <a:gd name="T3" fmla="*/ 0 h 12"/>
                <a:gd name="T4" fmla="*/ 7 w 7"/>
                <a:gd name="T5" fmla="*/ 12 h 12"/>
                <a:gd name="T6" fmla="*/ 0 w 7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4"/>
                    <a:pt x="5" y="8"/>
                    <a:pt x="7" y="12"/>
                  </a:cubicBezTo>
                  <a:cubicBezTo>
                    <a:pt x="5" y="8"/>
                    <a:pt x="2" y="4"/>
                    <a:pt x="0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ïšḻíḓê">
              <a:extLst>
                <a:ext uri="{FF2B5EF4-FFF2-40B4-BE49-F238E27FC236}">
                  <a16:creationId xmlns:a16="http://schemas.microsoft.com/office/drawing/2014/main" id="{BD8AAAF1-5345-4EF5-A109-12720CEE0BB5}"/>
                </a:ext>
              </a:extLst>
            </p:cNvPr>
            <p:cNvSpPr/>
            <p:nvPr/>
          </p:nvSpPr>
          <p:spPr bwMode="auto">
            <a:xfrm>
              <a:off x="6385472" y="3006741"/>
              <a:ext cx="1185991" cy="348490"/>
            </a:xfrm>
            <a:custGeom>
              <a:avLst/>
              <a:gdLst>
                <a:gd name="T0" fmla="*/ 753 w 753"/>
                <a:gd name="T1" fmla="*/ 0 h 222"/>
                <a:gd name="T2" fmla="*/ 735 w 753"/>
                <a:gd name="T3" fmla="*/ 99 h 222"/>
                <a:gd name="T4" fmla="*/ 724 w 753"/>
                <a:gd name="T5" fmla="*/ 114 h 222"/>
                <a:gd name="T6" fmla="*/ 721 w 753"/>
                <a:gd name="T7" fmla="*/ 114 h 222"/>
                <a:gd name="T8" fmla="*/ 711 w 753"/>
                <a:gd name="T9" fmla="*/ 112 h 222"/>
                <a:gd name="T10" fmla="*/ 687 w 753"/>
                <a:gd name="T11" fmla="*/ 108 h 222"/>
                <a:gd name="T12" fmla="*/ 626 w 753"/>
                <a:gd name="T13" fmla="*/ 120 h 222"/>
                <a:gd name="T14" fmla="*/ 548 w 753"/>
                <a:gd name="T15" fmla="*/ 132 h 222"/>
                <a:gd name="T16" fmla="*/ 475 w 753"/>
                <a:gd name="T17" fmla="*/ 113 h 222"/>
                <a:gd name="T18" fmla="*/ 388 w 753"/>
                <a:gd name="T19" fmla="*/ 45 h 222"/>
                <a:gd name="T20" fmla="*/ 356 w 753"/>
                <a:gd name="T21" fmla="*/ 39 h 222"/>
                <a:gd name="T22" fmla="*/ 203 w 753"/>
                <a:gd name="T23" fmla="*/ 170 h 222"/>
                <a:gd name="T24" fmla="*/ 187 w 753"/>
                <a:gd name="T25" fmla="*/ 186 h 222"/>
                <a:gd name="T26" fmla="*/ 160 w 753"/>
                <a:gd name="T27" fmla="*/ 193 h 222"/>
                <a:gd name="T28" fmla="*/ 156 w 753"/>
                <a:gd name="T29" fmla="*/ 192 h 222"/>
                <a:gd name="T30" fmla="*/ 4 w 753"/>
                <a:gd name="T31" fmla="*/ 71 h 222"/>
                <a:gd name="T32" fmla="*/ 2 w 753"/>
                <a:gd name="T33" fmla="*/ 59 h 222"/>
                <a:gd name="T34" fmla="*/ 2 w 753"/>
                <a:gd name="T35" fmla="*/ 60 h 222"/>
                <a:gd name="T36" fmla="*/ 4 w 753"/>
                <a:gd name="T37" fmla="*/ 100 h 222"/>
                <a:gd name="T38" fmla="*/ 21 w 753"/>
                <a:gd name="T39" fmla="*/ 141 h 222"/>
                <a:gd name="T40" fmla="*/ 28 w 753"/>
                <a:gd name="T41" fmla="*/ 153 h 222"/>
                <a:gd name="T42" fmla="*/ 156 w 753"/>
                <a:gd name="T43" fmla="*/ 222 h 222"/>
                <a:gd name="T44" fmla="*/ 160 w 753"/>
                <a:gd name="T45" fmla="*/ 222 h 222"/>
                <a:gd name="T46" fmla="*/ 187 w 753"/>
                <a:gd name="T47" fmla="*/ 215 h 222"/>
                <a:gd name="T48" fmla="*/ 203 w 753"/>
                <a:gd name="T49" fmla="*/ 200 h 222"/>
                <a:gd name="T50" fmla="*/ 356 w 753"/>
                <a:gd name="T51" fmla="*/ 68 h 222"/>
                <a:gd name="T52" fmla="*/ 388 w 753"/>
                <a:gd name="T53" fmla="*/ 74 h 222"/>
                <a:gd name="T54" fmla="*/ 475 w 753"/>
                <a:gd name="T55" fmla="*/ 143 h 222"/>
                <a:gd name="T56" fmla="*/ 548 w 753"/>
                <a:gd name="T57" fmla="*/ 162 h 222"/>
                <a:gd name="T58" fmla="*/ 626 w 753"/>
                <a:gd name="T59" fmla="*/ 150 h 222"/>
                <a:gd name="T60" fmla="*/ 687 w 753"/>
                <a:gd name="T61" fmla="*/ 138 h 222"/>
                <a:gd name="T62" fmla="*/ 711 w 753"/>
                <a:gd name="T63" fmla="*/ 141 h 222"/>
                <a:gd name="T64" fmla="*/ 721 w 753"/>
                <a:gd name="T65" fmla="*/ 143 h 222"/>
                <a:gd name="T66" fmla="*/ 724 w 753"/>
                <a:gd name="T67" fmla="*/ 143 h 222"/>
                <a:gd name="T68" fmla="*/ 735 w 753"/>
                <a:gd name="T69" fmla="*/ 129 h 222"/>
                <a:gd name="T70" fmla="*/ 750 w 753"/>
                <a:gd name="T71" fmla="*/ 59 h 222"/>
                <a:gd name="T72" fmla="*/ 753 w 753"/>
                <a:gd name="T73" fmla="*/ 12 h 222"/>
                <a:gd name="T74" fmla="*/ 753 w 753"/>
                <a:gd name="T75" fmla="*/ 2 h 222"/>
                <a:gd name="T76" fmla="*/ 753 w 753"/>
                <a:gd name="T77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3" h="222">
                  <a:moveTo>
                    <a:pt x="753" y="0"/>
                  </a:moveTo>
                  <a:cubicBezTo>
                    <a:pt x="752" y="33"/>
                    <a:pt x="746" y="67"/>
                    <a:pt x="735" y="99"/>
                  </a:cubicBezTo>
                  <a:cubicBezTo>
                    <a:pt x="733" y="105"/>
                    <a:pt x="730" y="112"/>
                    <a:pt x="724" y="114"/>
                  </a:cubicBezTo>
                  <a:cubicBezTo>
                    <a:pt x="723" y="114"/>
                    <a:pt x="722" y="114"/>
                    <a:pt x="721" y="114"/>
                  </a:cubicBezTo>
                  <a:cubicBezTo>
                    <a:pt x="717" y="114"/>
                    <a:pt x="714" y="113"/>
                    <a:pt x="711" y="112"/>
                  </a:cubicBezTo>
                  <a:cubicBezTo>
                    <a:pt x="703" y="109"/>
                    <a:pt x="695" y="108"/>
                    <a:pt x="687" y="108"/>
                  </a:cubicBezTo>
                  <a:cubicBezTo>
                    <a:pt x="667" y="108"/>
                    <a:pt x="646" y="115"/>
                    <a:pt x="626" y="120"/>
                  </a:cubicBezTo>
                  <a:cubicBezTo>
                    <a:pt x="601" y="127"/>
                    <a:pt x="574" y="132"/>
                    <a:pt x="548" y="132"/>
                  </a:cubicBezTo>
                  <a:cubicBezTo>
                    <a:pt x="522" y="132"/>
                    <a:pt x="496" y="127"/>
                    <a:pt x="475" y="113"/>
                  </a:cubicBezTo>
                  <a:cubicBezTo>
                    <a:pt x="443" y="93"/>
                    <a:pt x="423" y="57"/>
                    <a:pt x="388" y="45"/>
                  </a:cubicBezTo>
                  <a:cubicBezTo>
                    <a:pt x="377" y="41"/>
                    <a:pt x="366" y="39"/>
                    <a:pt x="356" y="39"/>
                  </a:cubicBezTo>
                  <a:cubicBezTo>
                    <a:pt x="288" y="39"/>
                    <a:pt x="243" y="123"/>
                    <a:pt x="203" y="170"/>
                  </a:cubicBezTo>
                  <a:cubicBezTo>
                    <a:pt x="199" y="177"/>
                    <a:pt x="193" y="182"/>
                    <a:pt x="187" y="186"/>
                  </a:cubicBezTo>
                  <a:cubicBezTo>
                    <a:pt x="179" y="190"/>
                    <a:pt x="170" y="193"/>
                    <a:pt x="160" y="193"/>
                  </a:cubicBezTo>
                  <a:cubicBezTo>
                    <a:pt x="159" y="193"/>
                    <a:pt x="158" y="193"/>
                    <a:pt x="156" y="192"/>
                  </a:cubicBezTo>
                  <a:cubicBezTo>
                    <a:pt x="86" y="191"/>
                    <a:pt x="21" y="139"/>
                    <a:pt x="4" y="71"/>
                  </a:cubicBezTo>
                  <a:cubicBezTo>
                    <a:pt x="3" y="67"/>
                    <a:pt x="2" y="63"/>
                    <a:pt x="2" y="59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0" y="74"/>
                    <a:pt x="1" y="87"/>
                    <a:pt x="4" y="100"/>
                  </a:cubicBezTo>
                  <a:cubicBezTo>
                    <a:pt x="8" y="115"/>
                    <a:pt x="13" y="128"/>
                    <a:pt x="21" y="141"/>
                  </a:cubicBezTo>
                  <a:cubicBezTo>
                    <a:pt x="23" y="145"/>
                    <a:pt x="26" y="149"/>
                    <a:pt x="28" y="153"/>
                  </a:cubicBezTo>
                  <a:cubicBezTo>
                    <a:pt x="58" y="193"/>
                    <a:pt x="106" y="221"/>
                    <a:pt x="156" y="222"/>
                  </a:cubicBezTo>
                  <a:cubicBezTo>
                    <a:pt x="158" y="222"/>
                    <a:pt x="159" y="222"/>
                    <a:pt x="160" y="222"/>
                  </a:cubicBezTo>
                  <a:cubicBezTo>
                    <a:pt x="170" y="222"/>
                    <a:pt x="179" y="220"/>
                    <a:pt x="187" y="215"/>
                  </a:cubicBezTo>
                  <a:cubicBezTo>
                    <a:pt x="193" y="211"/>
                    <a:pt x="199" y="206"/>
                    <a:pt x="203" y="200"/>
                  </a:cubicBezTo>
                  <a:cubicBezTo>
                    <a:pt x="243" y="153"/>
                    <a:pt x="288" y="68"/>
                    <a:pt x="356" y="68"/>
                  </a:cubicBezTo>
                  <a:cubicBezTo>
                    <a:pt x="367" y="68"/>
                    <a:pt x="377" y="70"/>
                    <a:pt x="388" y="74"/>
                  </a:cubicBezTo>
                  <a:cubicBezTo>
                    <a:pt x="423" y="87"/>
                    <a:pt x="443" y="123"/>
                    <a:pt x="475" y="143"/>
                  </a:cubicBezTo>
                  <a:cubicBezTo>
                    <a:pt x="497" y="157"/>
                    <a:pt x="522" y="162"/>
                    <a:pt x="548" y="162"/>
                  </a:cubicBezTo>
                  <a:cubicBezTo>
                    <a:pt x="574" y="162"/>
                    <a:pt x="601" y="156"/>
                    <a:pt x="626" y="150"/>
                  </a:cubicBezTo>
                  <a:cubicBezTo>
                    <a:pt x="646" y="144"/>
                    <a:pt x="667" y="138"/>
                    <a:pt x="687" y="138"/>
                  </a:cubicBezTo>
                  <a:cubicBezTo>
                    <a:pt x="695" y="138"/>
                    <a:pt x="703" y="139"/>
                    <a:pt x="711" y="141"/>
                  </a:cubicBezTo>
                  <a:cubicBezTo>
                    <a:pt x="714" y="142"/>
                    <a:pt x="717" y="143"/>
                    <a:pt x="721" y="143"/>
                  </a:cubicBezTo>
                  <a:cubicBezTo>
                    <a:pt x="722" y="143"/>
                    <a:pt x="723" y="143"/>
                    <a:pt x="724" y="143"/>
                  </a:cubicBezTo>
                  <a:cubicBezTo>
                    <a:pt x="730" y="141"/>
                    <a:pt x="733" y="135"/>
                    <a:pt x="735" y="129"/>
                  </a:cubicBezTo>
                  <a:cubicBezTo>
                    <a:pt x="742" y="106"/>
                    <a:pt x="748" y="82"/>
                    <a:pt x="750" y="59"/>
                  </a:cubicBezTo>
                  <a:cubicBezTo>
                    <a:pt x="752" y="43"/>
                    <a:pt x="753" y="28"/>
                    <a:pt x="753" y="12"/>
                  </a:cubicBezTo>
                  <a:cubicBezTo>
                    <a:pt x="753" y="8"/>
                    <a:pt x="753" y="5"/>
                    <a:pt x="753" y="2"/>
                  </a:cubicBezTo>
                  <a:cubicBezTo>
                    <a:pt x="753" y="1"/>
                    <a:pt x="753" y="0"/>
                    <a:pt x="753" y="0"/>
                  </a:cubicBezTo>
                </a:path>
              </a:pathLst>
            </a:custGeom>
            <a:solidFill>
              <a:srgbClr val="3D3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B0FD6D-A6AE-4022-853A-2EE064232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îSľíḍé">
            <a:extLst>
              <a:ext uri="{FF2B5EF4-FFF2-40B4-BE49-F238E27FC236}">
                <a16:creationId xmlns:a16="http://schemas.microsoft.com/office/drawing/2014/main" id="{C7D2C5D1-E3B5-49BF-9A88-64A3669DBE35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6" name="ïṧlîḓe">
              <a:extLst>
                <a:ext uri="{FF2B5EF4-FFF2-40B4-BE49-F238E27FC236}">
                  <a16:creationId xmlns:a16="http://schemas.microsoft.com/office/drawing/2014/main" id="{A0174F0A-2078-4C6F-8582-493E23EA5C22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7" name="iṡliḓè">
              <a:extLst>
                <a:ext uri="{FF2B5EF4-FFF2-40B4-BE49-F238E27FC236}">
                  <a16:creationId xmlns:a16="http://schemas.microsoft.com/office/drawing/2014/main" id="{F4B4CC03-7E46-4190-9ABA-722C0A9865A1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8" name="íšḻíḋè">
                <a:extLst>
                  <a:ext uri="{FF2B5EF4-FFF2-40B4-BE49-F238E27FC236}">
                    <a16:creationId xmlns:a16="http://schemas.microsoft.com/office/drawing/2014/main" id="{42F22F00-D455-4AA7-BCBE-52AF674DF082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9" name="îS1iḓé">
                <a:extLst>
                  <a:ext uri="{FF2B5EF4-FFF2-40B4-BE49-F238E27FC236}">
                    <a16:creationId xmlns:a16="http://schemas.microsoft.com/office/drawing/2014/main" id="{3FFCB4A0-BED5-4E12-9880-4B7FDD949583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919F78F-1A48-4A89-BACA-2E5411BC0975}"/>
              </a:ext>
            </a:extLst>
          </p:cNvPr>
          <p:cNvSpPr>
            <a:spLocks/>
          </p:cNvSpPr>
          <p:nvPr/>
        </p:nvSpPr>
        <p:spPr>
          <a:xfrm>
            <a:off x="745565" y="-766511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  <a:latin typeface="Bahnschrift SemiCondensed" panose="020B0502040204020203" pitchFamily="34" charset="0"/>
              </a:rPr>
              <a:t>Word Embed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9AE5264-E984-4947-A1B8-D2B673BE7892}"/>
              </a:ext>
            </a:extLst>
          </p:cNvPr>
          <p:cNvSpPr>
            <a:spLocks/>
          </p:cNvSpPr>
          <p:nvPr/>
        </p:nvSpPr>
        <p:spPr>
          <a:xfrm>
            <a:off x="745565" y="393032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4"/>
                </a:solidFill>
                <a:latin typeface="Bahnschrift SemiCondensed" panose="020B0502040204020203" pitchFamily="34" charset="0"/>
              </a:rPr>
              <a:t>Model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E215906E-48A2-40AF-AB30-E79102E8E011}"/>
              </a:ext>
            </a:extLst>
          </p:cNvPr>
          <p:cNvSpPr/>
          <p:nvPr/>
        </p:nvSpPr>
        <p:spPr>
          <a:xfrm>
            <a:off x="745565" y="1209675"/>
            <a:ext cx="49712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2400" b="1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ng short-term memory (LSTM)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23DB45AE-C00E-41C3-B972-232EB0B86C00}"/>
              </a:ext>
            </a:extLst>
          </p:cNvPr>
          <p:cNvSpPr/>
          <p:nvPr/>
        </p:nvSpPr>
        <p:spPr>
          <a:xfrm>
            <a:off x="1372762" y="4588155"/>
            <a:ext cx="82347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Input 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layer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351" name="Rectangle 350">
            <a:extLst>
              <a:ext uri="{FF2B5EF4-FFF2-40B4-BE49-F238E27FC236}">
                <a16:creationId xmlns:a16="http://schemas.microsoft.com/office/drawing/2014/main" id="{4D976247-E651-44BA-9EC8-AA377F949540}"/>
              </a:ext>
            </a:extLst>
          </p:cNvPr>
          <p:cNvSpPr/>
          <p:nvPr/>
        </p:nvSpPr>
        <p:spPr>
          <a:xfrm>
            <a:off x="2223478" y="4588155"/>
            <a:ext cx="13262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Embedding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95452F26-02F6-4D61-A643-10B8A5CCD498}"/>
              </a:ext>
            </a:extLst>
          </p:cNvPr>
          <p:cNvSpPr/>
          <p:nvPr/>
        </p:nvSpPr>
        <p:spPr>
          <a:xfrm>
            <a:off x="3419746" y="4588155"/>
            <a:ext cx="13262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Dropout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1C6DCD47-2C12-4271-B424-AA8BBBF2088D}"/>
              </a:ext>
            </a:extLst>
          </p:cNvPr>
          <p:cNvSpPr/>
          <p:nvPr/>
        </p:nvSpPr>
        <p:spPr>
          <a:xfrm>
            <a:off x="5301546" y="5162786"/>
            <a:ext cx="13262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LSTM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2D0A881E-1480-4F37-BDC1-41887B418459}"/>
              </a:ext>
            </a:extLst>
          </p:cNvPr>
          <p:cNvSpPr/>
          <p:nvPr/>
        </p:nvSpPr>
        <p:spPr>
          <a:xfrm>
            <a:off x="7106699" y="3950827"/>
            <a:ext cx="13262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Dense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pic>
        <p:nvPicPr>
          <p:cNvPr id="395" name="圖片 5">
            <a:extLst>
              <a:ext uri="{FF2B5EF4-FFF2-40B4-BE49-F238E27FC236}">
                <a16:creationId xmlns:a16="http://schemas.microsoft.com/office/drawing/2014/main" id="{7EBC7732-2B97-402F-843C-4E5A5B546A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0350" y="1932769"/>
            <a:ext cx="2857500" cy="1905000"/>
          </a:xfrm>
          <a:prstGeom prst="rect">
            <a:avLst/>
          </a:prstGeom>
        </p:spPr>
      </p:pic>
      <p:sp>
        <p:nvSpPr>
          <p:cNvPr id="396" name="Rectangle 395">
            <a:extLst>
              <a:ext uri="{FF2B5EF4-FFF2-40B4-BE49-F238E27FC236}">
                <a16:creationId xmlns:a16="http://schemas.microsoft.com/office/drawing/2014/main" id="{5EB0DD7B-97F1-4201-BF4E-E30B7A49C67A}"/>
              </a:ext>
            </a:extLst>
          </p:cNvPr>
          <p:cNvSpPr/>
          <p:nvPr/>
        </p:nvSpPr>
        <p:spPr>
          <a:xfrm>
            <a:off x="8320350" y="3836311"/>
            <a:ext cx="28575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TW" sz="2000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rPr>
              <a:t>Sigmoid</a:t>
            </a:r>
          </a:p>
        </p:txBody>
      </p:sp>
      <p:grpSp>
        <p:nvGrpSpPr>
          <p:cNvPr id="459" name="Group 458">
            <a:extLst>
              <a:ext uri="{FF2B5EF4-FFF2-40B4-BE49-F238E27FC236}">
                <a16:creationId xmlns:a16="http://schemas.microsoft.com/office/drawing/2014/main" id="{2A78BBA7-64C8-4F05-A399-811206FD3B8E}"/>
              </a:ext>
            </a:extLst>
          </p:cNvPr>
          <p:cNvGrpSpPr/>
          <p:nvPr/>
        </p:nvGrpSpPr>
        <p:grpSpPr>
          <a:xfrm>
            <a:off x="1590675" y="1952625"/>
            <a:ext cx="6301626" cy="2983797"/>
            <a:chOff x="1590675" y="1952625"/>
            <a:chExt cx="6301626" cy="2983797"/>
          </a:xfrm>
        </p:grpSpPr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1DA914BF-688D-4460-B160-889A588F0130}"/>
                </a:ext>
              </a:extLst>
            </p:cNvPr>
            <p:cNvSpPr/>
            <p:nvPr/>
          </p:nvSpPr>
          <p:spPr>
            <a:xfrm>
              <a:off x="1590675" y="1952625"/>
              <a:ext cx="361950" cy="36195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7" name="Group 336">
              <a:extLst>
                <a:ext uri="{FF2B5EF4-FFF2-40B4-BE49-F238E27FC236}">
                  <a16:creationId xmlns:a16="http://schemas.microsoft.com/office/drawing/2014/main" id="{AE7EE561-7BE5-48BE-9989-4A547624A749}"/>
                </a:ext>
              </a:extLst>
            </p:cNvPr>
            <p:cNvGrpSpPr/>
            <p:nvPr/>
          </p:nvGrpSpPr>
          <p:grpSpPr>
            <a:xfrm>
              <a:off x="1716733" y="2958323"/>
              <a:ext cx="109835" cy="469552"/>
              <a:chOff x="1590675" y="2486025"/>
              <a:chExt cx="109835" cy="469552"/>
            </a:xfrm>
          </p:grpSpPr>
          <p:sp>
            <p:nvSpPr>
              <p:cNvPr id="334" name="Oval 333">
                <a:extLst>
                  <a:ext uri="{FF2B5EF4-FFF2-40B4-BE49-F238E27FC236}">
                    <a16:creationId xmlns:a16="http://schemas.microsoft.com/office/drawing/2014/main" id="{0A0FA2C8-492F-4EF4-84D4-26535E14EBD0}"/>
                  </a:ext>
                </a:extLst>
              </p:cNvPr>
              <p:cNvSpPr/>
              <p:nvPr/>
            </p:nvSpPr>
            <p:spPr>
              <a:xfrm>
                <a:off x="1590675" y="2486025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5" name="Oval 334">
                <a:extLst>
                  <a:ext uri="{FF2B5EF4-FFF2-40B4-BE49-F238E27FC236}">
                    <a16:creationId xmlns:a16="http://schemas.microsoft.com/office/drawing/2014/main" id="{3C73FDDA-3527-4745-BE32-F816F1A35CC9}"/>
                  </a:ext>
                </a:extLst>
              </p:cNvPr>
              <p:cNvSpPr/>
              <p:nvPr/>
            </p:nvSpPr>
            <p:spPr>
              <a:xfrm>
                <a:off x="1590675" y="2665884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6" name="Oval 335">
                <a:extLst>
                  <a:ext uri="{FF2B5EF4-FFF2-40B4-BE49-F238E27FC236}">
                    <a16:creationId xmlns:a16="http://schemas.microsoft.com/office/drawing/2014/main" id="{1893DF99-B7FC-48DB-884D-E4CE40006BEB}"/>
                  </a:ext>
                </a:extLst>
              </p:cNvPr>
              <p:cNvSpPr/>
              <p:nvPr/>
            </p:nvSpPr>
            <p:spPr>
              <a:xfrm>
                <a:off x="1590675" y="2845742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26F21641-7DD3-464E-B100-51A41AAB5047}"/>
                </a:ext>
              </a:extLst>
            </p:cNvPr>
            <p:cNvSpPr/>
            <p:nvPr/>
          </p:nvSpPr>
          <p:spPr>
            <a:xfrm>
              <a:off x="1590675" y="2455474"/>
              <a:ext cx="361950" cy="36195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9" name="Oval 338">
              <a:extLst>
                <a:ext uri="{FF2B5EF4-FFF2-40B4-BE49-F238E27FC236}">
                  <a16:creationId xmlns:a16="http://schemas.microsoft.com/office/drawing/2014/main" id="{081D5FEC-880F-4B47-9D98-1EBF855638E4}"/>
                </a:ext>
              </a:extLst>
            </p:cNvPr>
            <p:cNvSpPr/>
            <p:nvPr/>
          </p:nvSpPr>
          <p:spPr>
            <a:xfrm>
              <a:off x="1590675" y="3568774"/>
              <a:ext cx="361950" cy="36195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0" name="Oval 339">
              <a:extLst>
                <a:ext uri="{FF2B5EF4-FFF2-40B4-BE49-F238E27FC236}">
                  <a16:creationId xmlns:a16="http://schemas.microsoft.com/office/drawing/2014/main" id="{CD9B56E3-0F48-4F5A-BA96-B1F5E3AFEAB1}"/>
                </a:ext>
              </a:extLst>
            </p:cNvPr>
            <p:cNvSpPr/>
            <p:nvPr/>
          </p:nvSpPr>
          <p:spPr>
            <a:xfrm>
              <a:off x="1590675" y="4071623"/>
              <a:ext cx="361950" cy="36195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3" name="Oval 342">
              <a:extLst>
                <a:ext uri="{FF2B5EF4-FFF2-40B4-BE49-F238E27FC236}">
                  <a16:creationId xmlns:a16="http://schemas.microsoft.com/office/drawing/2014/main" id="{6A6CD5C6-676C-422B-B8C0-014561D93552}"/>
                </a:ext>
              </a:extLst>
            </p:cNvPr>
            <p:cNvSpPr/>
            <p:nvPr/>
          </p:nvSpPr>
          <p:spPr>
            <a:xfrm>
              <a:off x="2655503" y="1952625"/>
              <a:ext cx="361950" cy="361950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C724F75B-291D-45FC-B273-342EF140932C}"/>
                </a:ext>
              </a:extLst>
            </p:cNvPr>
            <p:cNvGrpSpPr/>
            <p:nvPr/>
          </p:nvGrpSpPr>
          <p:grpSpPr>
            <a:xfrm>
              <a:off x="2781561" y="2958323"/>
              <a:ext cx="109835" cy="469552"/>
              <a:chOff x="1590675" y="2486025"/>
              <a:chExt cx="109835" cy="469552"/>
            </a:xfrm>
          </p:grpSpPr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ACAF911A-CDDE-4037-8172-8EA33D189590}"/>
                  </a:ext>
                </a:extLst>
              </p:cNvPr>
              <p:cNvSpPr/>
              <p:nvPr/>
            </p:nvSpPr>
            <p:spPr>
              <a:xfrm>
                <a:off x="1590675" y="2486025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6" name="Oval 345">
                <a:extLst>
                  <a:ext uri="{FF2B5EF4-FFF2-40B4-BE49-F238E27FC236}">
                    <a16:creationId xmlns:a16="http://schemas.microsoft.com/office/drawing/2014/main" id="{D90DE235-412A-4E79-A95D-C15F94691373}"/>
                  </a:ext>
                </a:extLst>
              </p:cNvPr>
              <p:cNvSpPr/>
              <p:nvPr/>
            </p:nvSpPr>
            <p:spPr>
              <a:xfrm>
                <a:off x="1590675" y="2665884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7" name="Oval 346">
                <a:extLst>
                  <a:ext uri="{FF2B5EF4-FFF2-40B4-BE49-F238E27FC236}">
                    <a16:creationId xmlns:a16="http://schemas.microsoft.com/office/drawing/2014/main" id="{8D5FFC20-A7EE-4CE1-8124-001E5CFF7AB9}"/>
                  </a:ext>
                </a:extLst>
              </p:cNvPr>
              <p:cNvSpPr/>
              <p:nvPr/>
            </p:nvSpPr>
            <p:spPr>
              <a:xfrm>
                <a:off x="1590675" y="2845742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9575EA42-6001-409C-AABC-399B49EA30A5}"/>
                </a:ext>
              </a:extLst>
            </p:cNvPr>
            <p:cNvSpPr/>
            <p:nvPr/>
          </p:nvSpPr>
          <p:spPr>
            <a:xfrm>
              <a:off x="2655503" y="2455474"/>
              <a:ext cx="361950" cy="361950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A6F2A128-1965-4A3A-8703-270C369DF39C}"/>
                </a:ext>
              </a:extLst>
            </p:cNvPr>
            <p:cNvSpPr/>
            <p:nvPr/>
          </p:nvSpPr>
          <p:spPr>
            <a:xfrm>
              <a:off x="2655503" y="3568774"/>
              <a:ext cx="361950" cy="361950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0" name="Oval 349">
              <a:extLst>
                <a:ext uri="{FF2B5EF4-FFF2-40B4-BE49-F238E27FC236}">
                  <a16:creationId xmlns:a16="http://schemas.microsoft.com/office/drawing/2014/main" id="{C0E5EB20-3BFB-45ED-8795-274F8BCABEAF}"/>
                </a:ext>
              </a:extLst>
            </p:cNvPr>
            <p:cNvSpPr/>
            <p:nvPr/>
          </p:nvSpPr>
          <p:spPr>
            <a:xfrm>
              <a:off x="2655503" y="4071623"/>
              <a:ext cx="361950" cy="361950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CEB4251D-C502-4ADF-97F2-2FA4C5D63ECE}"/>
                </a:ext>
              </a:extLst>
            </p:cNvPr>
            <p:cNvSpPr/>
            <p:nvPr/>
          </p:nvSpPr>
          <p:spPr>
            <a:xfrm>
              <a:off x="3850721" y="1952625"/>
              <a:ext cx="361950" cy="361950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3" name="Group 352">
              <a:extLst>
                <a:ext uri="{FF2B5EF4-FFF2-40B4-BE49-F238E27FC236}">
                  <a16:creationId xmlns:a16="http://schemas.microsoft.com/office/drawing/2014/main" id="{778F45C1-D4CC-4C85-95DF-9AAEE2902723}"/>
                </a:ext>
              </a:extLst>
            </p:cNvPr>
            <p:cNvGrpSpPr/>
            <p:nvPr/>
          </p:nvGrpSpPr>
          <p:grpSpPr>
            <a:xfrm>
              <a:off x="3976779" y="2958323"/>
              <a:ext cx="109835" cy="469552"/>
              <a:chOff x="1590675" y="2486025"/>
              <a:chExt cx="109835" cy="469552"/>
            </a:xfrm>
          </p:grpSpPr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F4658801-9F25-4A92-BB72-6E6C2363B076}"/>
                  </a:ext>
                </a:extLst>
              </p:cNvPr>
              <p:cNvSpPr/>
              <p:nvPr/>
            </p:nvSpPr>
            <p:spPr>
              <a:xfrm>
                <a:off x="1590675" y="2486025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34BC1873-7318-4B3B-A485-7394BB691A3F}"/>
                  </a:ext>
                </a:extLst>
              </p:cNvPr>
              <p:cNvSpPr/>
              <p:nvPr/>
            </p:nvSpPr>
            <p:spPr>
              <a:xfrm>
                <a:off x="1590675" y="2665884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6" name="Oval 355">
                <a:extLst>
                  <a:ext uri="{FF2B5EF4-FFF2-40B4-BE49-F238E27FC236}">
                    <a16:creationId xmlns:a16="http://schemas.microsoft.com/office/drawing/2014/main" id="{16170482-DB4D-441A-94AD-D3C9966F1BD3}"/>
                  </a:ext>
                </a:extLst>
              </p:cNvPr>
              <p:cNvSpPr/>
              <p:nvPr/>
            </p:nvSpPr>
            <p:spPr>
              <a:xfrm>
                <a:off x="1590675" y="2845742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402322ED-1C5C-4AFC-AED9-E982571636B6}"/>
                </a:ext>
              </a:extLst>
            </p:cNvPr>
            <p:cNvSpPr/>
            <p:nvPr/>
          </p:nvSpPr>
          <p:spPr>
            <a:xfrm>
              <a:off x="3850721" y="2455474"/>
              <a:ext cx="361950" cy="361950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DDDDBE5A-9F24-4646-BCF1-0B1356153C6A}"/>
                </a:ext>
              </a:extLst>
            </p:cNvPr>
            <p:cNvSpPr/>
            <p:nvPr/>
          </p:nvSpPr>
          <p:spPr>
            <a:xfrm>
              <a:off x="3850721" y="3568774"/>
              <a:ext cx="361950" cy="361950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9" name="Oval 358">
              <a:extLst>
                <a:ext uri="{FF2B5EF4-FFF2-40B4-BE49-F238E27FC236}">
                  <a16:creationId xmlns:a16="http://schemas.microsoft.com/office/drawing/2014/main" id="{CF8D1675-6206-4F0D-A180-B1BF1D0B5D89}"/>
                </a:ext>
              </a:extLst>
            </p:cNvPr>
            <p:cNvSpPr/>
            <p:nvPr/>
          </p:nvSpPr>
          <p:spPr>
            <a:xfrm>
              <a:off x="3850721" y="4071623"/>
              <a:ext cx="361950" cy="361950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1" name="Oval 360">
              <a:extLst>
                <a:ext uri="{FF2B5EF4-FFF2-40B4-BE49-F238E27FC236}">
                  <a16:creationId xmlns:a16="http://schemas.microsoft.com/office/drawing/2014/main" id="{8D7C2133-1F65-4014-8122-59FE370DEEDB}"/>
                </a:ext>
              </a:extLst>
            </p:cNvPr>
            <p:cNvSpPr/>
            <p:nvPr/>
          </p:nvSpPr>
          <p:spPr>
            <a:xfrm>
              <a:off x="5079446" y="1952625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2" name="Group 361">
              <a:extLst>
                <a:ext uri="{FF2B5EF4-FFF2-40B4-BE49-F238E27FC236}">
                  <a16:creationId xmlns:a16="http://schemas.microsoft.com/office/drawing/2014/main" id="{FA288DD8-9AD0-4B59-BCF8-E400E2AEAE40}"/>
                </a:ext>
              </a:extLst>
            </p:cNvPr>
            <p:cNvGrpSpPr/>
            <p:nvPr/>
          </p:nvGrpSpPr>
          <p:grpSpPr>
            <a:xfrm>
              <a:off x="5205504" y="3461172"/>
              <a:ext cx="109835" cy="469552"/>
              <a:chOff x="1590675" y="2486025"/>
              <a:chExt cx="109835" cy="469552"/>
            </a:xfrm>
          </p:grpSpPr>
          <p:sp>
            <p:nvSpPr>
              <p:cNvPr id="363" name="Oval 362">
                <a:extLst>
                  <a:ext uri="{FF2B5EF4-FFF2-40B4-BE49-F238E27FC236}">
                    <a16:creationId xmlns:a16="http://schemas.microsoft.com/office/drawing/2014/main" id="{EA3C386E-CCD0-473D-A844-820762DE06BA}"/>
                  </a:ext>
                </a:extLst>
              </p:cNvPr>
              <p:cNvSpPr/>
              <p:nvPr/>
            </p:nvSpPr>
            <p:spPr>
              <a:xfrm>
                <a:off x="1590675" y="2486025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0AAF6F11-282F-4033-B2E7-3994F4D0A643}"/>
                  </a:ext>
                </a:extLst>
              </p:cNvPr>
              <p:cNvSpPr/>
              <p:nvPr/>
            </p:nvSpPr>
            <p:spPr>
              <a:xfrm>
                <a:off x="1590675" y="2665884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5" name="Oval 364">
                <a:extLst>
                  <a:ext uri="{FF2B5EF4-FFF2-40B4-BE49-F238E27FC236}">
                    <a16:creationId xmlns:a16="http://schemas.microsoft.com/office/drawing/2014/main" id="{4F3D0F47-B903-4DE2-9FE8-8F7C98B0B52A}"/>
                  </a:ext>
                </a:extLst>
              </p:cNvPr>
              <p:cNvSpPr/>
              <p:nvPr/>
            </p:nvSpPr>
            <p:spPr>
              <a:xfrm>
                <a:off x="1590675" y="2845742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66" name="Oval 365">
              <a:extLst>
                <a:ext uri="{FF2B5EF4-FFF2-40B4-BE49-F238E27FC236}">
                  <a16:creationId xmlns:a16="http://schemas.microsoft.com/office/drawing/2014/main" id="{8EF55A1E-DD2D-4598-9DDF-8A6A7872E0F7}"/>
                </a:ext>
              </a:extLst>
            </p:cNvPr>
            <p:cNvSpPr/>
            <p:nvPr/>
          </p:nvSpPr>
          <p:spPr>
            <a:xfrm>
              <a:off x="5079446" y="2455474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F24D1674-7DE6-471B-9620-CD108254C26C}"/>
                </a:ext>
              </a:extLst>
            </p:cNvPr>
            <p:cNvSpPr/>
            <p:nvPr/>
          </p:nvSpPr>
          <p:spPr>
            <a:xfrm>
              <a:off x="5079446" y="2958323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C26E488B-D48B-4DAC-BF03-4A6E3CD399E0}"/>
                </a:ext>
              </a:extLst>
            </p:cNvPr>
            <p:cNvSpPr/>
            <p:nvPr/>
          </p:nvSpPr>
          <p:spPr>
            <a:xfrm>
              <a:off x="5079446" y="4071623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0" name="Oval 369">
              <a:extLst>
                <a:ext uri="{FF2B5EF4-FFF2-40B4-BE49-F238E27FC236}">
                  <a16:creationId xmlns:a16="http://schemas.microsoft.com/office/drawing/2014/main" id="{931F7057-A7B6-4BC8-8A2B-1FD5C479082A}"/>
                </a:ext>
              </a:extLst>
            </p:cNvPr>
            <p:cNvSpPr/>
            <p:nvPr/>
          </p:nvSpPr>
          <p:spPr>
            <a:xfrm>
              <a:off x="5819633" y="1952625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1" name="Oval 370">
              <a:extLst>
                <a:ext uri="{FF2B5EF4-FFF2-40B4-BE49-F238E27FC236}">
                  <a16:creationId xmlns:a16="http://schemas.microsoft.com/office/drawing/2014/main" id="{EC7DCA9D-A6E1-41CB-83FD-510E2E9B3DA0}"/>
                </a:ext>
              </a:extLst>
            </p:cNvPr>
            <p:cNvSpPr>
              <a:spLocks/>
            </p:cNvSpPr>
            <p:nvPr/>
          </p:nvSpPr>
          <p:spPr>
            <a:xfrm>
              <a:off x="5819633" y="2958323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FE9683EF-22B4-4913-BAB7-6A2F5AC22F94}"/>
                </a:ext>
              </a:extLst>
            </p:cNvPr>
            <p:cNvSpPr>
              <a:spLocks/>
            </p:cNvSpPr>
            <p:nvPr/>
          </p:nvSpPr>
          <p:spPr>
            <a:xfrm>
              <a:off x="5819633" y="2455474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DA1071F6-97AF-44BE-9401-790AD165246F}"/>
                </a:ext>
              </a:extLst>
            </p:cNvPr>
            <p:cNvSpPr/>
            <p:nvPr/>
          </p:nvSpPr>
          <p:spPr>
            <a:xfrm>
              <a:off x="5819633" y="4071623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4" name="Oval 373">
              <a:extLst>
                <a:ext uri="{FF2B5EF4-FFF2-40B4-BE49-F238E27FC236}">
                  <a16:creationId xmlns:a16="http://schemas.microsoft.com/office/drawing/2014/main" id="{0EE9A00C-2DA5-442F-A035-A15CAAD0C4F9}"/>
                </a:ext>
              </a:extLst>
            </p:cNvPr>
            <p:cNvSpPr/>
            <p:nvPr/>
          </p:nvSpPr>
          <p:spPr>
            <a:xfrm>
              <a:off x="6557472" y="1952625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5" name="Oval 374">
              <a:extLst>
                <a:ext uri="{FF2B5EF4-FFF2-40B4-BE49-F238E27FC236}">
                  <a16:creationId xmlns:a16="http://schemas.microsoft.com/office/drawing/2014/main" id="{76D6AD48-A5C1-4BD5-ABEF-FC235846F4AD}"/>
                </a:ext>
              </a:extLst>
            </p:cNvPr>
            <p:cNvSpPr/>
            <p:nvPr/>
          </p:nvSpPr>
          <p:spPr>
            <a:xfrm>
              <a:off x="6557472" y="2455474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6" name="Oval 375">
              <a:extLst>
                <a:ext uri="{FF2B5EF4-FFF2-40B4-BE49-F238E27FC236}">
                  <a16:creationId xmlns:a16="http://schemas.microsoft.com/office/drawing/2014/main" id="{160C8235-CDCC-40CB-A053-862E70A811D5}"/>
                </a:ext>
              </a:extLst>
            </p:cNvPr>
            <p:cNvSpPr/>
            <p:nvPr/>
          </p:nvSpPr>
          <p:spPr>
            <a:xfrm>
              <a:off x="6557472" y="2958323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7" name="Oval 376">
              <a:extLst>
                <a:ext uri="{FF2B5EF4-FFF2-40B4-BE49-F238E27FC236}">
                  <a16:creationId xmlns:a16="http://schemas.microsoft.com/office/drawing/2014/main" id="{4EB54627-5207-4F86-81B9-DF3357052D09}"/>
                </a:ext>
              </a:extLst>
            </p:cNvPr>
            <p:cNvSpPr/>
            <p:nvPr/>
          </p:nvSpPr>
          <p:spPr>
            <a:xfrm>
              <a:off x="6557472" y="4071623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78" name="Group 377">
              <a:extLst>
                <a:ext uri="{FF2B5EF4-FFF2-40B4-BE49-F238E27FC236}">
                  <a16:creationId xmlns:a16="http://schemas.microsoft.com/office/drawing/2014/main" id="{E810BAAB-EEE6-461B-9C8D-133D470FC88B}"/>
                </a:ext>
              </a:extLst>
            </p:cNvPr>
            <p:cNvGrpSpPr/>
            <p:nvPr/>
          </p:nvGrpSpPr>
          <p:grpSpPr>
            <a:xfrm>
              <a:off x="5945691" y="3461172"/>
              <a:ext cx="109835" cy="469552"/>
              <a:chOff x="1590675" y="2486025"/>
              <a:chExt cx="109835" cy="469552"/>
            </a:xfrm>
          </p:grpSpPr>
          <p:sp>
            <p:nvSpPr>
              <p:cNvPr id="379" name="Oval 378">
                <a:extLst>
                  <a:ext uri="{FF2B5EF4-FFF2-40B4-BE49-F238E27FC236}">
                    <a16:creationId xmlns:a16="http://schemas.microsoft.com/office/drawing/2014/main" id="{6C4BA6A2-433B-4C13-9B87-D0120CE02595}"/>
                  </a:ext>
                </a:extLst>
              </p:cNvPr>
              <p:cNvSpPr/>
              <p:nvPr/>
            </p:nvSpPr>
            <p:spPr>
              <a:xfrm>
                <a:off x="1590675" y="2486025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0" name="Oval 379">
                <a:extLst>
                  <a:ext uri="{FF2B5EF4-FFF2-40B4-BE49-F238E27FC236}">
                    <a16:creationId xmlns:a16="http://schemas.microsoft.com/office/drawing/2014/main" id="{C929B9B5-045B-48F1-8F5F-D5BA4861B032}"/>
                  </a:ext>
                </a:extLst>
              </p:cNvPr>
              <p:cNvSpPr/>
              <p:nvPr/>
            </p:nvSpPr>
            <p:spPr>
              <a:xfrm>
                <a:off x="1590675" y="2665884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1" name="Oval 380">
                <a:extLst>
                  <a:ext uri="{FF2B5EF4-FFF2-40B4-BE49-F238E27FC236}">
                    <a16:creationId xmlns:a16="http://schemas.microsoft.com/office/drawing/2014/main" id="{DBBD7C7E-0571-4430-9F14-ACD080AB8224}"/>
                  </a:ext>
                </a:extLst>
              </p:cNvPr>
              <p:cNvSpPr/>
              <p:nvPr/>
            </p:nvSpPr>
            <p:spPr>
              <a:xfrm>
                <a:off x="1590675" y="2845742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82" name="Group 381">
              <a:extLst>
                <a:ext uri="{FF2B5EF4-FFF2-40B4-BE49-F238E27FC236}">
                  <a16:creationId xmlns:a16="http://schemas.microsoft.com/office/drawing/2014/main" id="{AA601F4B-B0DA-419E-8D1A-58CC67D467EA}"/>
                </a:ext>
              </a:extLst>
            </p:cNvPr>
            <p:cNvGrpSpPr/>
            <p:nvPr/>
          </p:nvGrpSpPr>
          <p:grpSpPr>
            <a:xfrm>
              <a:off x="6683530" y="3461172"/>
              <a:ext cx="109835" cy="469552"/>
              <a:chOff x="1590675" y="2486025"/>
              <a:chExt cx="109835" cy="469552"/>
            </a:xfrm>
          </p:grpSpPr>
          <p:sp>
            <p:nvSpPr>
              <p:cNvPr id="383" name="Oval 382">
                <a:extLst>
                  <a:ext uri="{FF2B5EF4-FFF2-40B4-BE49-F238E27FC236}">
                    <a16:creationId xmlns:a16="http://schemas.microsoft.com/office/drawing/2014/main" id="{4E616A08-0BAB-4C5F-B98C-4EDFE4F04D36}"/>
                  </a:ext>
                </a:extLst>
              </p:cNvPr>
              <p:cNvSpPr/>
              <p:nvPr/>
            </p:nvSpPr>
            <p:spPr>
              <a:xfrm>
                <a:off x="1590675" y="2486025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4" name="Oval 383">
                <a:extLst>
                  <a:ext uri="{FF2B5EF4-FFF2-40B4-BE49-F238E27FC236}">
                    <a16:creationId xmlns:a16="http://schemas.microsoft.com/office/drawing/2014/main" id="{5802EEF6-267E-400D-B5F4-385839422E76}"/>
                  </a:ext>
                </a:extLst>
              </p:cNvPr>
              <p:cNvSpPr/>
              <p:nvPr/>
            </p:nvSpPr>
            <p:spPr>
              <a:xfrm>
                <a:off x="1590675" y="2665884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D3E49DEE-29DB-46CE-AE61-F90D24BBFA73}"/>
                  </a:ext>
                </a:extLst>
              </p:cNvPr>
              <p:cNvSpPr/>
              <p:nvPr/>
            </p:nvSpPr>
            <p:spPr>
              <a:xfrm>
                <a:off x="1590675" y="2845742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86" name="Oval 385">
              <a:extLst>
                <a:ext uri="{FF2B5EF4-FFF2-40B4-BE49-F238E27FC236}">
                  <a16:creationId xmlns:a16="http://schemas.microsoft.com/office/drawing/2014/main" id="{E762D30F-ED2E-449A-872F-04479C7A59A7}"/>
                </a:ext>
              </a:extLst>
            </p:cNvPr>
            <p:cNvSpPr/>
            <p:nvPr/>
          </p:nvSpPr>
          <p:spPr>
            <a:xfrm>
              <a:off x="7530351" y="1952625"/>
              <a:ext cx="361950" cy="361950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7" name="Oval 386">
              <a:extLst>
                <a:ext uri="{FF2B5EF4-FFF2-40B4-BE49-F238E27FC236}">
                  <a16:creationId xmlns:a16="http://schemas.microsoft.com/office/drawing/2014/main" id="{19E06F30-BCC3-46F9-A7F6-B9E636EB59F5}"/>
                </a:ext>
              </a:extLst>
            </p:cNvPr>
            <p:cNvSpPr/>
            <p:nvPr/>
          </p:nvSpPr>
          <p:spPr>
            <a:xfrm>
              <a:off x="7530351" y="2455474"/>
              <a:ext cx="361950" cy="361950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C7040B97-F306-4948-8BEE-BDC96D71EBF6}"/>
                </a:ext>
              </a:extLst>
            </p:cNvPr>
            <p:cNvSpPr/>
            <p:nvPr/>
          </p:nvSpPr>
          <p:spPr>
            <a:xfrm>
              <a:off x="7530351" y="3568774"/>
              <a:ext cx="361950" cy="361950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90" name="Group 389">
              <a:extLst>
                <a:ext uri="{FF2B5EF4-FFF2-40B4-BE49-F238E27FC236}">
                  <a16:creationId xmlns:a16="http://schemas.microsoft.com/office/drawing/2014/main" id="{75D7C855-758D-47E6-A34F-A83AF8D38D63}"/>
                </a:ext>
              </a:extLst>
            </p:cNvPr>
            <p:cNvGrpSpPr/>
            <p:nvPr/>
          </p:nvGrpSpPr>
          <p:grpSpPr>
            <a:xfrm>
              <a:off x="7656409" y="2958323"/>
              <a:ext cx="109835" cy="469552"/>
              <a:chOff x="1590675" y="2486025"/>
              <a:chExt cx="109835" cy="469552"/>
            </a:xfrm>
          </p:grpSpPr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C0B1EF64-37E4-4A01-A274-208A2E1CC664}"/>
                  </a:ext>
                </a:extLst>
              </p:cNvPr>
              <p:cNvSpPr/>
              <p:nvPr/>
            </p:nvSpPr>
            <p:spPr>
              <a:xfrm>
                <a:off x="1590675" y="2486025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5CC94819-F78B-47BD-9EA7-4E5D297F6B1B}"/>
                  </a:ext>
                </a:extLst>
              </p:cNvPr>
              <p:cNvSpPr/>
              <p:nvPr/>
            </p:nvSpPr>
            <p:spPr>
              <a:xfrm>
                <a:off x="1590675" y="2665884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2118C2FA-6949-445C-88E8-87DC644464BC}"/>
                  </a:ext>
                </a:extLst>
              </p:cNvPr>
              <p:cNvSpPr/>
              <p:nvPr/>
            </p:nvSpPr>
            <p:spPr>
              <a:xfrm>
                <a:off x="1590675" y="2845742"/>
                <a:ext cx="109835" cy="109835"/>
              </a:xfrm>
              <a:prstGeom prst="ellipse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1BFCA4B9-0A0D-4521-880E-AD69D44E374E}"/>
                </a:ext>
              </a:extLst>
            </p:cNvPr>
            <p:cNvCxnSpPr>
              <a:stCxn id="333" idx="6"/>
              <a:endCxn id="343" idx="2"/>
            </p:cNvCxnSpPr>
            <p:nvPr/>
          </p:nvCxnSpPr>
          <p:spPr>
            <a:xfrm>
              <a:off x="1952625" y="2133600"/>
              <a:ext cx="702878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185EAAB0-ADFF-41A1-9BD0-CE959FBE1228}"/>
                </a:ext>
              </a:extLst>
            </p:cNvPr>
            <p:cNvCxnSpPr>
              <a:cxnSpLocks/>
              <a:stCxn id="333" idx="6"/>
              <a:endCxn id="348" idx="2"/>
            </p:cNvCxnSpPr>
            <p:nvPr/>
          </p:nvCxnSpPr>
          <p:spPr>
            <a:xfrm>
              <a:off x="1952625" y="2133600"/>
              <a:ext cx="702878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416C1957-A4F8-4F89-837E-B23BE75909C9}"/>
                </a:ext>
              </a:extLst>
            </p:cNvPr>
            <p:cNvCxnSpPr>
              <a:cxnSpLocks/>
              <a:endCxn id="349" idx="2"/>
            </p:cNvCxnSpPr>
            <p:nvPr/>
          </p:nvCxnSpPr>
          <p:spPr>
            <a:xfrm>
              <a:off x="1952625" y="2133600"/>
              <a:ext cx="702878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DD8CBC2C-6552-405C-9BA7-B4001F97D772}"/>
                </a:ext>
              </a:extLst>
            </p:cNvPr>
            <p:cNvCxnSpPr>
              <a:cxnSpLocks/>
              <a:endCxn id="350" idx="2"/>
            </p:cNvCxnSpPr>
            <p:nvPr/>
          </p:nvCxnSpPr>
          <p:spPr>
            <a:xfrm>
              <a:off x="1952625" y="2133600"/>
              <a:ext cx="702878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6" name="Straight Connector 405">
              <a:extLst>
                <a:ext uri="{FF2B5EF4-FFF2-40B4-BE49-F238E27FC236}">
                  <a16:creationId xmlns:a16="http://schemas.microsoft.com/office/drawing/2014/main" id="{F07F4A34-ED3E-451B-8F70-50F397735C34}"/>
                </a:ext>
              </a:extLst>
            </p:cNvPr>
            <p:cNvCxnSpPr>
              <a:cxnSpLocks/>
              <a:stCxn id="338" idx="6"/>
            </p:cNvCxnSpPr>
            <p:nvPr/>
          </p:nvCxnSpPr>
          <p:spPr>
            <a:xfrm>
              <a:off x="1952625" y="2636449"/>
              <a:ext cx="702878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2863CBA8-03D0-4DEB-9334-896D22E8001F}"/>
                </a:ext>
              </a:extLst>
            </p:cNvPr>
            <p:cNvCxnSpPr>
              <a:cxnSpLocks/>
              <a:stCxn id="338" idx="6"/>
              <a:endCxn id="349" idx="2"/>
            </p:cNvCxnSpPr>
            <p:nvPr/>
          </p:nvCxnSpPr>
          <p:spPr>
            <a:xfrm>
              <a:off x="1952625" y="2636449"/>
              <a:ext cx="702878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C86B1B6D-2C57-4854-B276-3414A87DF492}"/>
                </a:ext>
              </a:extLst>
            </p:cNvPr>
            <p:cNvCxnSpPr>
              <a:cxnSpLocks/>
              <a:endCxn id="348" idx="2"/>
            </p:cNvCxnSpPr>
            <p:nvPr/>
          </p:nvCxnSpPr>
          <p:spPr>
            <a:xfrm>
              <a:off x="1952625" y="2636449"/>
              <a:ext cx="702878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02912B34-49B5-4B47-A32D-AE27E00FA778}"/>
                </a:ext>
              </a:extLst>
            </p:cNvPr>
            <p:cNvCxnSpPr>
              <a:cxnSpLocks/>
              <a:endCxn id="343" idx="2"/>
            </p:cNvCxnSpPr>
            <p:nvPr/>
          </p:nvCxnSpPr>
          <p:spPr>
            <a:xfrm flipV="1">
              <a:off x="1952625" y="2133600"/>
              <a:ext cx="702878" cy="50285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15" name="Straight Connector 414">
              <a:extLst>
                <a:ext uri="{FF2B5EF4-FFF2-40B4-BE49-F238E27FC236}">
                  <a16:creationId xmlns:a16="http://schemas.microsoft.com/office/drawing/2014/main" id="{6192A5CF-D89D-48A3-94ED-53FC1C3A57C5}"/>
                </a:ext>
              </a:extLst>
            </p:cNvPr>
            <p:cNvCxnSpPr>
              <a:cxnSpLocks/>
              <a:stCxn id="339" idx="6"/>
              <a:endCxn id="343" idx="2"/>
            </p:cNvCxnSpPr>
            <p:nvPr/>
          </p:nvCxnSpPr>
          <p:spPr>
            <a:xfrm flipV="1">
              <a:off x="1952625" y="2133600"/>
              <a:ext cx="702878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18" name="Straight Connector 417">
              <a:extLst>
                <a:ext uri="{FF2B5EF4-FFF2-40B4-BE49-F238E27FC236}">
                  <a16:creationId xmlns:a16="http://schemas.microsoft.com/office/drawing/2014/main" id="{4EADEE01-0B31-4BBF-B503-B54FAE516A76}"/>
                </a:ext>
              </a:extLst>
            </p:cNvPr>
            <p:cNvCxnSpPr>
              <a:cxnSpLocks/>
              <a:endCxn id="348" idx="2"/>
            </p:cNvCxnSpPr>
            <p:nvPr/>
          </p:nvCxnSpPr>
          <p:spPr>
            <a:xfrm flipV="1">
              <a:off x="1952625" y="2636449"/>
              <a:ext cx="702878" cy="1113302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0" name="Straight Connector 419">
              <a:extLst>
                <a:ext uri="{FF2B5EF4-FFF2-40B4-BE49-F238E27FC236}">
                  <a16:creationId xmlns:a16="http://schemas.microsoft.com/office/drawing/2014/main" id="{123C000B-2B55-4175-8ACF-03359E1AA6AE}"/>
                </a:ext>
              </a:extLst>
            </p:cNvPr>
            <p:cNvCxnSpPr>
              <a:cxnSpLocks/>
              <a:stCxn id="339" idx="6"/>
              <a:endCxn id="349" idx="2"/>
            </p:cNvCxnSpPr>
            <p:nvPr/>
          </p:nvCxnSpPr>
          <p:spPr>
            <a:xfrm>
              <a:off x="1952625" y="3749749"/>
              <a:ext cx="702878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3" name="Straight Connector 422">
              <a:extLst>
                <a:ext uri="{FF2B5EF4-FFF2-40B4-BE49-F238E27FC236}">
                  <a16:creationId xmlns:a16="http://schemas.microsoft.com/office/drawing/2014/main" id="{F829AB92-4D83-4388-960F-958416AAF07A}"/>
                </a:ext>
              </a:extLst>
            </p:cNvPr>
            <p:cNvCxnSpPr>
              <a:cxnSpLocks/>
              <a:stCxn id="339" idx="6"/>
              <a:endCxn id="350" idx="2"/>
            </p:cNvCxnSpPr>
            <p:nvPr/>
          </p:nvCxnSpPr>
          <p:spPr>
            <a:xfrm>
              <a:off x="1952625" y="3749749"/>
              <a:ext cx="702878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6" name="Straight Connector 425">
              <a:extLst>
                <a:ext uri="{FF2B5EF4-FFF2-40B4-BE49-F238E27FC236}">
                  <a16:creationId xmlns:a16="http://schemas.microsoft.com/office/drawing/2014/main" id="{830A4299-A729-438B-870D-EAA8E794D236}"/>
                </a:ext>
              </a:extLst>
            </p:cNvPr>
            <p:cNvCxnSpPr>
              <a:cxnSpLocks/>
              <a:stCxn id="340" idx="6"/>
            </p:cNvCxnSpPr>
            <p:nvPr/>
          </p:nvCxnSpPr>
          <p:spPr>
            <a:xfrm>
              <a:off x="1952625" y="4252598"/>
              <a:ext cx="702878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8" name="Straight Connector 427">
              <a:extLst>
                <a:ext uri="{FF2B5EF4-FFF2-40B4-BE49-F238E27FC236}">
                  <a16:creationId xmlns:a16="http://schemas.microsoft.com/office/drawing/2014/main" id="{BCBB2ACA-94AB-4B6E-84DD-A67FE89A3C51}"/>
                </a:ext>
              </a:extLst>
            </p:cNvPr>
            <p:cNvCxnSpPr>
              <a:cxnSpLocks/>
              <a:stCxn id="340" idx="6"/>
              <a:endCxn id="349" idx="2"/>
            </p:cNvCxnSpPr>
            <p:nvPr/>
          </p:nvCxnSpPr>
          <p:spPr>
            <a:xfrm flipV="1">
              <a:off x="1952625" y="3749749"/>
              <a:ext cx="702878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1" name="Straight Connector 430">
              <a:extLst>
                <a:ext uri="{FF2B5EF4-FFF2-40B4-BE49-F238E27FC236}">
                  <a16:creationId xmlns:a16="http://schemas.microsoft.com/office/drawing/2014/main" id="{832375E7-3A5D-4DF9-BDA7-418720981634}"/>
                </a:ext>
              </a:extLst>
            </p:cNvPr>
            <p:cNvCxnSpPr>
              <a:cxnSpLocks/>
              <a:stCxn id="340" idx="6"/>
              <a:endCxn id="348" idx="2"/>
            </p:cNvCxnSpPr>
            <p:nvPr/>
          </p:nvCxnSpPr>
          <p:spPr>
            <a:xfrm flipV="1">
              <a:off x="1952625" y="2636449"/>
              <a:ext cx="702878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4" name="Straight Connector 433">
              <a:extLst>
                <a:ext uri="{FF2B5EF4-FFF2-40B4-BE49-F238E27FC236}">
                  <a16:creationId xmlns:a16="http://schemas.microsoft.com/office/drawing/2014/main" id="{A8437417-1992-477A-A750-D70E48DCF4AE}"/>
                </a:ext>
              </a:extLst>
            </p:cNvPr>
            <p:cNvCxnSpPr>
              <a:cxnSpLocks/>
              <a:stCxn id="340" idx="6"/>
              <a:endCxn id="343" idx="2"/>
            </p:cNvCxnSpPr>
            <p:nvPr/>
          </p:nvCxnSpPr>
          <p:spPr>
            <a:xfrm flipV="1">
              <a:off x="1952625" y="2133600"/>
              <a:ext cx="702878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7" name="Straight Connector 436">
              <a:extLst>
                <a:ext uri="{FF2B5EF4-FFF2-40B4-BE49-F238E27FC236}">
                  <a16:creationId xmlns:a16="http://schemas.microsoft.com/office/drawing/2014/main" id="{8D4470F0-0EC7-4DE9-9EA6-C4199930620D}"/>
                </a:ext>
              </a:extLst>
            </p:cNvPr>
            <p:cNvCxnSpPr>
              <a:cxnSpLocks/>
              <a:stCxn id="343" idx="6"/>
              <a:endCxn id="357" idx="2"/>
            </p:cNvCxnSpPr>
            <p:nvPr/>
          </p:nvCxnSpPr>
          <p:spPr>
            <a:xfrm>
              <a:off x="3017453" y="2133600"/>
              <a:ext cx="833268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8" name="Straight Connector 437">
              <a:extLst>
                <a:ext uri="{FF2B5EF4-FFF2-40B4-BE49-F238E27FC236}">
                  <a16:creationId xmlns:a16="http://schemas.microsoft.com/office/drawing/2014/main" id="{0E5BD8FC-196B-4B4B-9DB5-14273AB1EC85}"/>
                </a:ext>
              </a:extLst>
            </p:cNvPr>
            <p:cNvCxnSpPr>
              <a:cxnSpLocks/>
              <a:stCxn id="343" idx="6"/>
              <a:endCxn id="358" idx="2"/>
            </p:cNvCxnSpPr>
            <p:nvPr/>
          </p:nvCxnSpPr>
          <p:spPr>
            <a:xfrm>
              <a:off x="3017453" y="2133600"/>
              <a:ext cx="833268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9" name="Straight Connector 438">
              <a:extLst>
                <a:ext uri="{FF2B5EF4-FFF2-40B4-BE49-F238E27FC236}">
                  <a16:creationId xmlns:a16="http://schemas.microsoft.com/office/drawing/2014/main" id="{CD68FA3B-0EA7-4DDA-9DD9-84BCD59A7ADF}"/>
                </a:ext>
              </a:extLst>
            </p:cNvPr>
            <p:cNvCxnSpPr>
              <a:cxnSpLocks/>
              <a:stCxn id="343" idx="6"/>
              <a:endCxn id="359" idx="2"/>
            </p:cNvCxnSpPr>
            <p:nvPr/>
          </p:nvCxnSpPr>
          <p:spPr>
            <a:xfrm>
              <a:off x="3017453" y="2133600"/>
              <a:ext cx="833268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0" name="Straight Connector 439">
              <a:extLst>
                <a:ext uri="{FF2B5EF4-FFF2-40B4-BE49-F238E27FC236}">
                  <a16:creationId xmlns:a16="http://schemas.microsoft.com/office/drawing/2014/main" id="{08E209A2-9562-4C4E-BA0C-B0AC811DED6D}"/>
                </a:ext>
              </a:extLst>
            </p:cNvPr>
            <p:cNvCxnSpPr>
              <a:cxnSpLocks/>
              <a:stCxn id="348" idx="6"/>
              <a:endCxn id="359" idx="2"/>
            </p:cNvCxnSpPr>
            <p:nvPr/>
          </p:nvCxnSpPr>
          <p:spPr>
            <a:xfrm>
              <a:off x="3017453" y="2636449"/>
              <a:ext cx="833268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1" name="Straight Connector 440">
              <a:extLst>
                <a:ext uri="{FF2B5EF4-FFF2-40B4-BE49-F238E27FC236}">
                  <a16:creationId xmlns:a16="http://schemas.microsoft.com/office/drawing/2014/main" id="{AE2160B4-7887-469F-8434-D4CA987D33E9}"/>
                </a:ext>
              </a:extLst>
            </p:cNvPr>
            <p:cNvCxnSpPr>
              <a:cxnSpLocks/>
              <a:stCxn id="348" idx="6"/>
              <a:endCxn id="358" idx="2"/>
            </p:cNvCxnSpPr>
            <p:nvPr/>
          </p:nvCxnSpPr>
          <p:spPr>
            <a:xfrm>
              <a:off x="3017453" y="2636449"/>
              <a:ext cx="833268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56AEA2CA-5BFE-42A0-A1FF-098F2726E52D}"/>
                </a:ext>
              </a:extLst>
            </p:cNvPr>
            <p:cNvCxnSpPr>
              <a:cxnSpLocks/>
              <a:stCxn id="348" idx="6"/>
              <a:endCxn id="357" idx="2"/>
            </p:cNvCxnSpPr>
            <p:nvPr/>
          </p:nvCxnSpPr>
          <p:spPr>
            <a:xfrm>
              <a:off x="3017453" y="2636449"/>
              <a:ext cx="833268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3" name="Straight Connector 442">
              <a:extLst>
                <a:ext uri="{FF2B5EF4-FFF2-40B4-BE49-F238E27FC236}">
                  <a16:creationId xmlns:a16="http://schemas.microsoft.com/office/drawing/2014/main" id="{C1662D49-7DFF-4AA3-908E-C3E0A44309EA}"/>
                </a:ext>
              </a:extLst>
            </p:cNvPr>
            <p:cNvCxnSpPr>
              <a:cxnSpLocks/>
              <a:endCxn id="352" idx="2"/>
            </p:cNvCxnSpPr>
            <p:nvPr/>
          </p:nvCxnSpPr>
          <p:spPr>
            <a:xfrm flipV="1">
              <a:off x="3131798" y="2133600"/>
              <a:ext cx="718923" cy="162528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4" name="Straight Connector 443">
              <a:extLst>
                <a:ext uri="{FF2B5EF4-FFF2-40B4-BE49-F238E27FC236}">
                  <a16:creationId xmlns:a16="http://schemas.microsoft.com/office/drawing/2014/main" id="{0DE05F93-6A9B-492E-A988-CD82BE0E98E3}"/>
                </a:ext>
              </a:extLst>
            </p:cNvPr>
            <p:cNvCxnSpPr>
              <a:cxnSpLocks/>
              <a:stCxn id="349" idx="6"/>
              <a:endCxn id="357" idx="2"/>
            </p:cNvCxnSpPr>
            <p:nvPr/>
          </p:nvCxnSpPr>
          <p:spPr>
            <a:xfrm flipV="1">
              <a:off x="3017453" y="2636449"/>
              <a:ext cx="833268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C96B3E5E-AAF3-4552-A334-7F1A22A15B19}"/>
                </a:ext>
              </a:extLst>
            </p:cNvPr>
            <p:cNvCxnSpPr>
              <a:cxnSpLocks/>
              <a:stCxn id="349" idx="6"/>
              <a:endCxn id="358" idx="2"/>
            </p:cNvCxnSpPr>
            <p:nvPr/>
          </p:nvCxnSpPr>
          <p:spPr>
            <a:xfrm>
              <a:off x="3017453" y="3749749"/>
              <a:ext cx="833268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6" name="Straight Connector 445">
              <a:extLst>
                <a:ext uri="{FF2B5EF4-FFF2-40B4-BE49-F238E27FC236}">
                  <a16:creationId xmlns:a16="http://schemas.microsoft.com/office/drawing/2014/main" id="{8C802AD8-0412-4155-A61C-ECA7D6E1F308}"/>
                </a:ext>
              </a:extLst>
            </p:cNvPr>
            <p:cNvCxnSpPr>
              <a:cxnSpLocks/>
              <a:stCxn id="349" idx="6"/>
              <a:endCxn id="359" idx="2"/>
            </p:cNvCxnSpPr>
            <p:nvPr/>
          </p:nvCxnSpPr>
          <p:spPr>
            <a:xfrm>
              <a:off x="3017453" y="3749749"/>
              <a:ext cx="833268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166C1A25-D929-438F-8ED8-29712C0D23F3}"/>
                </a:ext>
              </a:extLst>
            </p:cNvPr>
            <p:cNvCxnSpPr>
              <a:cxnSpLocks/>
              <a:stCxn id="350" idx="6"/>
              <a:endCxn id="359" idx="2"/>
            </p:cNvCxnSpPr>
            <p:nvPr/>
          </p:nvCxnSpPr>
          <p:spPr>
            <a:xfrm>
              <a:off x="3017453" y="4252598"/>
              <a:ext cx="833268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2E9A9CEC-7346-4E52-A840-979E702368DC}"/>
                </a:ext>
              </a:extLst>
            </p:cNvPr>
            <p:cNvCxnSpPr>
              <a:cxnSpLocks/>
              <a:stCxn id="350" idx="6"/>
              <a:endCxn id="358" idx="2"/>
            </p:cNvCxnSpPr>
            <p:nvPr/>
          </p:nvCxnSpPr>
          <p:spPr>
            <a:xfrm flipV="1">
              <a:off x="3017453" y="3749749"/>
              <a:ext cx="833268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9" name="Straight Connector 448">
              <a:extLst>
                <a:ext uri="{FF2B5EF4-FFF2-40B4-BE49-F238E27FC236}">
                  <a16:creationId xmlns:a16="http://schemas.microsoft.com/office/drawing/2014/main" id="{C40BE8EE-0B93-4160-B429-059F37BB7AC1}"/>
                </a:ext>
              </a:extLst>
            </p:cNvPr>
            <p:cNvCxnSpPr>
              <a:cxnSpLocks/>
              <a:stCxn id="350" idx="6"/>
              <a:endCxn id="357" idx="2"/>
            </p:cNvCxnSpPr>
            <p:nvPr/>
          </p:nvCxnSpPr>
          <p:spPr>
            <a:xfrm flipV="1">
              <a:off x="3017453" y="2636449"/>
              <a:ext cx="833268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50" name="Straight Connector 449">
              <a:extLst>
                <a:ext uri="{FF2B5EF4-FFF2-40B4-BE49-F238E27FC236}">
                  <a16:creationId xmlns:a16="http://schemas.microsoft.com/office/drawing/2014/main" id="{D0FACCB0-95E9-4CD6-82D5-566777F3DF68}"/>
                </a:ext>
              </a:extLst>
            </p:cNvPr>
            <p:cNvCxnSpPr>
              <a:cxnSpLocks/>
              <a:stCxn id="350" idx="6"/>
              <a:endCxn id="352" idx="2"/>
            </p:cNvCxnSpPr>
            <p:nvPr/>
          </p:nvCxnSpPr>
          <p:spPr>
            <a:xfrm flipV="1">
              <a:off x="3017453" y="2133600"/>
              <a:ext cx="833268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79" name="Straight Connector 478">
              <a:extLst>
                <a:ext uri="{FF2B5EF4-FFF2-40B4-BE49-F238E27FC236}">
                  <a16:creationId xmlns:a16="http://schemas.microsoft.com/office/drawing/2014/main" id="{672E51F3-B9F2-4187-924C-4DDD8E9AEB71}"/>
                </a:ext>
              </a:extLst>
            </p:cNvPr>
            <p:cNvCxnSpPr>
              <a:cxnSpLocks/>
              <a:stCxn id="343" idx="6"/>
              <a:endCxn id="352" idx="2"/>
            </p:cNvCxnSpPr>
            <p:nvPr/>
          </p:nvCxnSpPr>
          <p:spPr>
            <a:xfrm>
              <a:off x="3017453" y="2133600"/>
              <a:ext cx="833268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8" name="Straight Connector 497">
              <a:extLst>
                <a:ext uri="{FF2B5EF4-FFF2-40B4-BE49-F238E27FC236}">
                  <a16:creationId xmlns:a16="http://schemas.microsoft.com/office/drawing/2014/main" id="{395C8583-4115-4B6A-B392-5A5DFA6DED51}"/>
                </a:ext>
              </a:extLst>
            </p:cNvPr>
            <p:cNvCxnSpPr>
              <a:cxnSpLocks/>
              <a:stCxn id="352" idx="6"/>
              <a:endCxn id="361" idx="2"/>
            </p:cNvCxnSpPr>
            <p:nvPr/>
          </p:nvCxnSpPr>
          <p:spPr>
            <a:xfrm>
              <a:off x="4212671" y="2133600"/>
              <a:ext cx="866775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501" name="Oval 500">
              <a:extLst>
                <a:ext uri="{FF2B5EF4-FFF2-40B4-BE49-F238E27FC236}">
                  <a16:creationId xmlns:a16="http://schemas.microsoft.com/office/drawing/2014/main" id="{182C7F35-2642-424D-A32C-EB1194E37A27}"/>
                </a:ext>
              </a:extLst>
            </p:cNvPr>
            <p:cNvSpPr/>
            <p:nvPr/>
          </p:nvSpPr>
          <p:spPr>
            <a:xfrm>
              <a:off x="5079446" y="4574472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2" name="Oval 501">
              <a:extLst>
                <a:ext uri="{FF2B5EF4-FFF2-40B4-BE49-F238E27FC236}">
                  <a16:creationId xmlns:a16="http://schemas.microsoft.com/office/drawing/2014/main" id="{C08499CA-3EAA-44D8-B87B-93BBC310EBC7}"/>
                </a:ext>
              </a:extLst>
            </p:cNvPr>
            <p:cNvSpPr/>
            <p:nvPr/>
          </p:nvSpPr>
          <p:spPr>
            <a:xfrm>
              <a:off x="5819633" y="4574472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3" name="Oval 502">
              <a:extLst>
                <a:ext uri="{FF2B5EF4-FFF2-40B4-BE49-F238E27FC236}">
                  <a16:creationId xmlns:a16="http://schemas.microsoft.com/office/drawing/2014/main" id="{C7B8849B-1685-4AD1-AA3A-1C183129D9A9}"/>
                </a:ext>
              </a:extLst>
            </p:cNvPr>
            <p:cNvSpPr/>
            <p:nvPr/>
          </p:nvSpPr>
          <p:spPr>
            <a:xfrm>
              <a:off x="6557472" y="4574472"/>
              <a:ext cx="361950" cy="361950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4" name="Straight Connector 503">
              <a:extLst>
                <a:ext uri="{FF2B5EF4-FFF2-40B4-BE49-F238E27FC236}">
                  <a16:creationId xmlns:a16="http://schemas.microsoft.com/office/drawing/2014/main" id="{CA294E39-386C-4273-A06A-8E4406E99EE1}"/>
                </a:ext>
              </a:extLst>
            </p:cNvPr>
            <p:cNvCxnSpPr>
              <a:cxnSpLocks/>
              <a:stCxn id="352" idx="6"/>
              <a:endCxn id="366" idx="2"/>
            </p:cNvCxnSpPr>
            <p:nvPr/>
          </p:nvCxnSpPr>
          <p:spPr>
            <a:xfrm>
              <a:off x="4212671" y="2133600"/>
              <a:ext cx="866775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07" name="Straight Connector 506">
              <a:extLst>
                <a:ext uri="{FF2B5EF4-FFF2-40B4-BE49-F238E27FC236}">
                  <a16:creationId xmlns:a16="http://schemas.microsoft.com/office/drawing/2014/main" id="{9C6FD885-B36B-4E2C-84BC-A820F0BE11DA}"/>
                </a:ext>
              </a:extLst>
            </p:cNvPr>
            <p:cNvCxnSpPr>
              <a:cxnSpLocks/>
              <a:endCxn id="367" idx="2"/>
            </p:cNvCxnSpPr>
            <p:nvPr/>
          </p:nvCxnSpPr>
          <p:spPr>
            <a:xfrm>
              <a:off x="4212671" y="2133600"/>
              <a:ext cx="866775" cy="10056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09" name="Straight Connector 508">
              <a:extLst>
                <a:ext uri="{FF2B5EF4-FFF2-40B4-BE49-F238E27FC236}">
                  <a16:creationId xmlns:a16="http://schemas.microsoft.com/office/drawing/2014/main" id="{A2B1F16C-9BA3-4722-BCF1-514FB7A65E7A}"/>
                </a:ext>
              </a:extLst>
            </p:cNvPr>
            <p:cNvCxnSpPr>
              <a:cxnSpLocks/>
              <a:endCxn id="368" idx="2"/>
            </p:cNvCxnSpPr>
            <p:nvPr/>
          </p:nvCxnSpPr>
          <p:spPr>
            <a:xfrm>
              <a:off x="4212671" y="2133600"/>
              <a:ext cx="866775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02342CC9-C04F-43A6-82E5-750BD14E48ED}"/>
                </a:ext>
              </a:extLst>
            </p:cNvPr>
            <p:cNvCxnSpPr>
              <a:cxnSpLocks/>
              <a:endCxn id="501" idx="2"/>
            </p:cNvCxnSpPr>
            <p:nvPr/>
          </p:nvCxnSpPr>
          <p:spPr>
            <a:xfrm>
              <a:off x="4212671" y="2133600"/>
              <a:ext cx="866775" cy="2621847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13" name="Straight Connector 512">
              <a:extLst>
                <a:ext uri="{FF2B5EF4-FFF2-40B4-BE49-F238E27FC236}">
                  <a16:creationId xmlns:a16="http://schemas.microsoft.com/office/drawing/2014/main" id="{91815AEB-BF60-4A8B-80F1-F34FB959E403}"/>
                </a:ext>
              </a:extLst>
            </p:cNvPr>
            <p:cNvCxnSpPr>
              <a:cxnSpLocks/>
              <a:stCxn id="357" idx="6"/>
            </p:cNvCxnSpPr>
            <p:nvPr/>
          </p:nvCxnSpPr>
          <p:spPr>
            <a:xfrm>
              <a:off x="4212671" y="2636449"/>
              <a:ext cx="866775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15" name="Straight Connector 514">
              <a:extLst>
                <a:ext uri="{FF2B5EF4-FFF2-40B4-BE49-F238E27FC236}">
                  <a16:creationId xmlns:a16="http://schemas.microsoft.com/office/drawing/2014/main" id="{0AC105E7-25A5-4EF3-80FB-C7E53E6A8730}"/>
                </a:ext>
              </a:extLst>
            </p:cNvPr>
            <p:cNvCxnSpPr>
              <a:cxnSpLocks/>
              <a:stCxn id="357" idx="6"/>
              <a:endCxn id="368" idx="2"/>
            </p:cNvCxnSpPr>
            <p:nvPr/>
          </p:nvCxnSpPr>
          <p:spPr>
            <a:xfrm>
              <a:off x="4212671" y="2636449"/>
              <a:ext cx="866775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18" name="Straight Connector 517">
              <a:extLst>
                <a:ext uri="{FF2B5EF4-FFF2-40B4-BE49-F238E27FC236}">
                  <a16:creationId xmlns:a16="http://schemas.microsoft.com/office/drawing/2014/main" id="{359812AF-E3A0-4AEC-B3FE-FD404F40E2F1}"/>
                </a:ext>
              </a:extLst>
            </p:cNvPr>
            <p:cNvCxnSpPr>
              <a:cxnSpLocks/>
              <a:endCxn id="367" idx="2"/>
            </p:cNvCxnSpPr>
            <p:nvPr/>
          </p:nvCxnSpPr>
          <p:spPr>
            <a:xfrm>
              <a:off x="4212671" y="2636449"/>
              <a:ext cx="866775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0" name="Straight Connector 519">
              <a:extLst>
                <a:ext uri="{FF2B5EF4-FFF2-40B4-BE49-F238E27FC236}">
                  <a16:creationId xmlns:a16="http://schemas.microsoft.com/office/drawing/2014/main" id="{4FF270E3-B1A6-4E4E-979C-21127719C31B}"/>
                </a:ext>
              </a:extLst>
            </p:cNvPr>
            <p:cNvCxnSpPr>
              <a:cxnSpLocks/>
              <a:endCxn id="366" idx="2"/>
            </p:cNvCxnSpPr>
            <p:nvPr/>
          </p:nvCxnSpPr>
          <p:spPr>
            <a:xfrm>
              <a:off x="4212671" y="2636449"/>
              <a:ext cx="866775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2" name="Straight Connector 521">
              <a:extLst>
                <a:ext uri="{FF2B5EF4-FFF2-40B4-BE49-F238E27FC236}">
                  <a16:creationId xmlns:a16="http://schemas.microsoft.com/office/drawing/2014/main" id="{DDDEB897-C8B3-49F2-8A5C-70EA771C2430}"/>
                </a:ext>
              </a:extLst>
            </p:cNvPr>
            <p:cNvCxnSpPr>
              <a:cxnSpLocks/>
              <a:endCxn id="361" idx="2"/>
            </p:cNvCxnSpPr>
            <p:nvPr/>
          </p:nvCxnSpPr>
          <p:spPr>
            <a:xfrm flipV="1">
              <a:off x="4212671" y="2133600"/>
              <a:ext cx="866775" cy="50285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4" name="Straight Connector 523">
              <a:extLst>
                <a:ext uri="{FF2B5EF4-FFF2-40B4-BE49-F238E27FC236}">
                  <a16:creationId xmlns:a16="http://schemas.microsoft.com/office/drawing/2014/main" id="{B1542EFD-97F9-4B24-A02F-ED9681052AF3}"/>
                </a:ext>
              </a:extLst>
            </p:cNvPr>
            <p:cNvCxnSpPr>
              <a:cxnSpLocks/>
              <a:stCxn id="358" idx="6"/>
              <a:endCxn id="361" idx="2"/>
            </p:cNvCxnSpPr>
            <p:nvPr/>
          </p:nvCxnSpPr>
          <p:spPr>
            <a:xfrm flipV="1">
              <a:off x="4212671" y="2133600"/>
              <a:ext cx="866775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7" name="Straight Connector 526">
              <a:extLst>
                <a:ext uri="{FF2B5EF4-FFF2-40B4-BE49-F238E27FC236}">
                  <a16:creationId xmlns:a16="http://schemas.microsoft.com/office/drawing/2014/main" id="{A10D9BE1-9948-4E89-BA3A-5A9048246923}"/>
                </a:ext>
              </a:extLst>
            </p:cNvPr>
            <p:cNvCxnSpPr>
              <a:cxnSpLocks/>
              <a:endCxn id="366" idx="2"/>
            </p:cNvCxnSpPr>
            <p:nvPr/>
          </p:nvCxnSpPr>
          <p:spPr>
            <a:xfrm flipV="1">
              <a:off x="4212671" y="2636449"/>
              <a:ext cx="866775" cy="1113302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9" name="Straight Connector 528">
              <a:extLst>
                <a:ext uri="{FF2B5EF4-FFF2-40B4-BE49-F238E27FC236}">
                  <a16:creationId xmlns:a16="http://schemas.microsoft.com/office/drawing/2014/main" id="{D6EC199C-8340-4DD6-986F-4C97CD832E20}"/>
                </a:ext>
              </a:extLst>
            </p:cNvPr>
            <p:cNvCxnSpPr>
              <a:cxnSpLocks/>
              <a:stCxn id="358" idx="6"/>
              <a:endCxn id="367" idx="2"/>
            </p:cNvCxnSpPr>
            <p:nvPr/>
          </p:nvCxnSpPr>
          <p:spPr>
            <a:xfrm flipV="1">
              <a:off x="4212671" y="3139298"/>
              <a:ext cx="866775" cy="610451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2" name="Straight Connector 531">
              <a:extLst>
                <a:ext uri="{FF2B5EF4-FFF2-40B4-BE49-F238E27FC236}">
                  <a16:creationId xmlns:a16="http://schemas.microsoft.com/office/drawing/2014/main" id="{7430DF65-6FCB-433C-9A3D-74021745FE4F}"/>
                </a:ext>
              </a:extLst>
            </p:cNvPr>
            <p:cNvCxnSpPr>
              <a:cxnSpLocks/>
              <a:stCxn id="358" idx="6"/>
              <a:endCxn id="368" idx="2"/>
            </p:cNvCxnSpPr>
            <p:nvPr/>
          </p:nvCxnSpPr>
          <p:spPr>
            <a:xfrm>
              <a:off x="4212671" y="3749749"/>
              <a:ext cx="866775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3DF2D62D-E1CA-4694-86D2-1A326E304926}"/>
                </a:ext>
              </a:extLst>
            </p:cNvPr>
            <p:cNvCxnSpPr>
              <a:cxnSpLocks/>
              <a:stCxn id="358" idx="6"/>
              <a:endCxn id="501" idx="2"/>
            </p:cNvCxnSpPr>
            <p:nvPr/>
          </p:nvCxnSpPr>
          <p:spPr>
            <a:xfrm>
              <a:off x="4212671" y="3749749"/>
              <a:ext cx="866775" cy="10056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8" name="Straight Connector 537">
              <a:extLst>
                <a:ext uri="{FF2B5EF4-FFF2-40B4-BE49-F238E27FC236}">
                  <a16:creationId xmlns:a16="http://schemas.microsoft.com/office/drawing/2014/main" id="{D4383DF5-55B8-45D8-A738-28B2408CAC7D}"/>
                </a:ext>
              </a:extLst>
            </p:cNvPr>
            <p:cNvCxnSpPr>
              <a:cxnSpLocks/>
              <a:stCxn id="359" idx="6"/>
            </p:cNvCxnSpPr>
            <p:nvPr/>
          </p:nvCxnSpPr>
          <p:spPr>
            <a:xfrm>
              <a:off x="4212671" y="4252598"/>
              <a:ext cx="866775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40" name="Straight Connector 539">
              <a:extLst>
                <a:ext uri="{FF2B5EF4-FFF2-40B4-BE49-F238E27FC236}">
                  <a16:creationId xmlns:a16="http://schemas.microsoft.com/office/drawing/2014/main" id="{DFDC803B-3F53-4A5F-BD1C-83D7D6EE6C78}"/>
                </a:ext>
              </a:extLst>
            </p:cNvPr>
            <p:cNvCxnSpPr>
              <a:cxnSpLocks/>
              <a:stCxn id="359" idx="6"/>
              <a:endCxn id="368" idx="2"/>
            </p:cNvCxnSpPr>
            <p:nvPr/>
          </p:nvCxnSpPr>
          <p:spPr>
            <a:xfrm>
              <a:off x="4212671" y="4252598"/>
              <a:ext cx="866775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3DD813B5-58A0-4E13-92D3-772B088BA0D4}"/>
                </a:ext>
              </a:extLst>
            </p:cNvPr>
            <p:cNvCxnSpPr>
              <a:cxnSpLocks/>
              <a:endCxn id="367" idx="2"/>
            </p:cNvCxnSpPr>
            <p:nvPr/>
          </p:nvCxnSpPr>
          <p:spPr>
            <a:xfrm flipV="1">
              <a:off x="4212671" y="3139298"/>
              <a:ext cx="866775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16351C4B-36D3-48A2-A16E-645559ED1D57}"/>
                </a:ext>
              </a:extLst>
            </p:cNvPr>
            <p:cNvCxnSpPr>
              <a:cxnSpLocks/>
              <a:stCxn id="359" idx="6"/>
              <a:endCxn id="366" idx="2"/>
            </p:cNvCxnSpPr>
            <p:nvPr/>
          </p:nvCxnSpPr>
          <p:spPr>
            <a:xfrm flipV="1">
              <a:off x="4212671" y="2636449"/>
              <a:ext cx="866775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9A12719E-14EB-4804-84EC-6F2BA71831A7}"/>
                </a:ext>
              </a:extLst>
            </p:cNvPr>
            <p:cNvCxnSpPr>
              <a:cxnSpLocks/>
              <a:stCxn id="359" idx="6"/>
            </p:cNvCxnSpPr>
            <p:nvPr/>
          </p:nvCxnSpPr>
          <p:spPr>
            <a:xfrm flipV="1">
              <a:off x="4212671" y="2133602"/>
              <a:ext cx="866775" cy="2118996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51" name="Straight Connector 550">
              <a:extLst>
                <a:ext uri="{FF2B5EF4-FFF2-40B4-BE49-F238E27FC236}">
                  <a16:creationId xmlns:a16="http://schemas.microsoft.com/office/drawing/2014/main" id="{DD5336EB-B0B3-4438-815D-23A4C23D6A42}"/>
                </a:ext>
              </a:extLst>
            </p:cNvPr>
            <p:cNvCxnSpPr>
              <a:cxnSpLocks/>
              <a:stCxn id="361" idx="6"/>
              <a:endCxn id="370" idx="2"/>
            </p:cNvCxnSpPr>
            <p:nvPr/>
          </p:nvCxnSpPr>
          <p:spPr>
            <a:xfrm>
              <a:off x="5441396" y="2133600"/>
              <a:ext cx="378237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54" name="Straight Connector 553">
              <a:extLst>
                <a:ext uri="{FF2B5EF4-FFF2-40B4-BE49-F238E27FC236}">
                  <a16:creationId xmlns:a16="http://schemas.microsoft.com/office/drawing/2014/main" id="{E641F299-1B68-48AF-96CF-CAC8C0B2C017}"/>
                </a:ext>
              </a:extLst>
            </p:cNvPr>
            <p:cNvCxnSpPr>
              <a:cxnSpLocks/>
              <a:endCxn id="372" idx="2"/>
            </p:cNvCxnSpPr>
            <p:nvPr/>
          </p:nvCxnSpPr>
          <p:spPr>
            <a:xfrm>
              <a:off x="5441396" y="2133600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57" name="Straight Connector 556">
              <a:extLst>
                <a:ext uri="{FF2B5EF4-FFF2-40B4-BE49-F238E27FC236}">
                  <a16:creationId xmlns:a16="http://schemas.microsoft.com/office/drawing/2014/main" id="{51EADF41-DEF2-4DEF-B6C8-E501DE54028A}"/>
                </a:ext>
              </a:extLst>
            </p:cNvPr>
            <p:cNvCxnSpPr>
              <a:cxnSpLocks/>
              <a:endCxn id="371" idx="2"/>
            </p:cNvCxnSpPr>
            <p:nvPr/>
          </p:nvCxnSpPr>
          <p:spPr>
            <a:xfrm>
              <a:off x="5441396" y="2133600"/>
              <a:ext cx="378237" cy="10056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A6BB29DF-565E-4993-989B-0D445596C105}"/>
                </a:ext>
              </a:extLst>
            </p:cNvPr>
            <p:cNvCxnSpPr>
              <a:cxnSpLocks/>
              <a:endCxn id="373" idx="2"/>
            </p:cNvCxnSpPr>
            <p:nvPr/>
          </p:nvCxnSpPr>
          <p:spPr>
            <a:xfrm>
              <a:off x="5441396" y="2133600"/>
              <a:ext cx="378237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61" name="Straight Connector 560">
              <a:extLst>
                <a:ext uri="{FF2B5EF4-FFF2-40B4-BE49-F238E27FC236}">
                  <a16:creationId xmlns:a16="http://schemas.microsoft.com/office/drawing/2014/main" id="{FEB99036-7298-404C-B6C9-6980D66524EA}"/>
                </a:ext>
              </a:extLst>
            </p:cNvPr>
            <p:cNvCxnSpPr>
              <a:cxnSpLocks/>
              <a:endCxn id="502" idx="2"/>
            </p:cNvCxnSpPr>
            <p:nvPr/>
          </p:nvCxnSpPr>
          <p:spPr>
            <a:xfrm>
              <a:off x="5441396" y="2133600"/>
              <a:ext cx="378237" cy="2621847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2A68DF6D-9E63-4311-B0C0-942516BCFB81}"/>
                </a:ext>
              </a:extLst>
            </p:cNvPr>
            <p:cNvCxnSpPr>
              <a:cxnSpLocks/>
              <a:stCxn id="366" idx="6"/>
              <a:endCxn id="502" idx="2"/>
            </p:cNvCxnSpPr>
            <p:nvPr/>
          </p:nvCxnSpPr>
          <p:spPr>
            <a:xfrm>
              <a:off x="5441396" y="2636449"/>
              <a:ext cx="378237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0ACE80D2-118C-4EAD-B1C9-496E625E3AE5}"/>
                </a:ext>
              </a:extLst>
            </p:cNvPr>
            <p:cNvCxnSpPr>
              <a:cxnSpLocks/>
              <a:stCxn id="366" idx="6"/>
              <a:endCxn id="370" idx="2"/>
            </p:cNvCxnSpPr>
            <p:nvPr/>
          </p:nvCxnSpPr>
          <p:spPr>
            <a:xfrm flipV="1">
              <a:off x="5441396" y="2133600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68" name="Straight Connector 567">
              <a:extLst>
                <a:ext uri="{FF2B5EF4-FFF2-40B4-BE49-F238E27FC236}">
                  <a16:creationId xmlns:a16="http://schemas.microsoft.com/office/drawing/2014/main" id="{C614A687-3256-4F2A-B581-49DC768C82EC}"/>
                </a:ext>
              </a:extLst>
            </p:cNvPr>
            <p:cNvCxnSpPr>
              <a:cxnSpLocks/>
              <a:stCxn id="366" idx="6"/>
              <a:endCxn id="372" idx="2"/>
            </p:cNvCxnSpPr>
            <p:nvPr/>
          </p:nvCxnSpPr>
          <p:spPr>
            <a:xfrm>
              <a:off x="5441396" y="2636449"/>
              <a:ext cx="378237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1" name="Straight Connector 570">
              <a:extLst>
                <a:ext uri="{FF2B5EF4-FFF2-40B4-BE49-F238E27FC236}">
                  <a16:creationId xmlns:a16="http://schemas.microsoft.com/office/drawing/2014/main" id="{96143F59-633C-42B5-9386-7628DF51A32D}"/>
                </a:ext>
              </a:extLst>
            </p:cNvPr>
            <p:cNvCxnSpPr>
              <a:cxnSpLocks/>
              <a:stCxn id="366" idx="6"/>
            </p:cNvCxnSpPr>
            <p:nvPr/>
          </p:nvCxnSpPr>
          <p:spPr>
            <a:xfrm>
              <a:off x="5441396" y="2636449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7F5A1172-CBA8-489C-982C-1AF8CA43222F}"/>
                </a:ext>
              </a:extLst>
            </p:cNvPr>
            <p:cNvCxnSpPr>
              <a:cxnSpLocks/>
              <a:endCxn id="373" idx="2"/>
            </p:cNvCxnSpPr>
            <p:nvPr/>
          </p:nvCxnSpPr>
          <p:spPr>
            <a:xfrm>
              <a:off x="5441396" y="2636449"/>
              <a:ext cx="378237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4593B265-A17B-4007-A464-11980ABE7849}"/>
                </a:ext>
              </a:extLst>
            </p:cNvPr>
            <p:cNvCxnSpPr>
              <a:cxnSpLocks/>
              <a:stCxn id="367" idx="6"/>
            </p:cNvCxnSpPr>
            <p:nvPr/>
          </p:nvCxnSpPr>
          <p:spPr>
            <a:xfrm>
              <a:off x="5441396" y="3139298"/>
              <a:ext cx="378237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8" name="Straight Connector 577">
              <a:extLst>
                <a:ext uri="{FF2B5EF4-FFF2-40B4-BE49-F238E27FC236}">
                  <a16:creationId xmlns:a16="http://schemas.microsoft.com/office/drawing/2014/main" id="{673A1777-8ADA-4418-87DE-9C72CEF9E091}"/>
                </a:ext>
              </a:extLst>
            </p:cNvPr>
            <p:cNvCxnSpPr>
              <a:cxnSpLocks/>
              <a:stCxn id="367" idx="6"/>
              <a:endCxn id="502" idx="2"/>
            </p:cNvCxnSpPr>
            <p:nvPr/>
          </p:nvCxnSpPr>
          <p:spPr>
            <a:xfrm>
              <a:off x="5441396" y="3139298"/>
              <a:ext cx="378237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D1D28712-E8FC-49FA-82DD-54DA1038FCE4}"/>
                </a:ext>
              </a:extLst>
            </p:cNvPr>
            <p:cNvCxnSpPr>
              <a:cxnSpLocks/>
              <a:stCxn id="367" idx="6"/>
              <a:endCxn id="373" idx="2"/>
            </p:cNvCxnSpPr>
            <p:nvPr/>
          </p:nvCxnSpPr>
          <p:spPr>
            <a:xfrm>
              <a:off x="5441396" y="3139298"/>
              <a:ext cx="378237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4156EFF3-6050-4A52-937B-67444B08199A}"/>
                </a:ext>
              </a:extLst>
            </p:cNvPr>
            <p:cNvCxnSpPr>
              <a:cxnSpLocks/>
              <a:endCxn id="371" idx="2"/>
            </p:cNvCxnSpPr>
            <p:nvPr/>
          </p:nvCxnSpPr>
          <p:spPr>
            <a:xfrm>
              <a:off x="5441396" y="3139298"/>
              <a:ext cx="378237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1056F99F-0C80-481F-A2C2-CCFDF27368F5}"/>
                </a:ext>
              </a:extLst>
            </p:cNvPr>
            <p:cNvCxnSpPr>
              <a:cxnSpLocks/>
              <a:endCxn id="372" idx="2"/>
            </p:cNvCxnSpPr>
            <p:nvPr/>
          </p:nvCxnSpPr>
          <p:spPr>
            <a:xfrm flipV="1">
              <a:off x="5441396" y="2636449"/>
              <a:ext cx="378237" cy="50285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90" name="Straight Connector 589">
              <a:extLst>
                <a:ext uri="{FF2B5EF4-FFF2-40B4-BE49-F238E27FC236}">
                  <a16:creationId xmlns:a16="http://schemas.microsoft.com/office/drawing/2014/main" id="{DBEABEF1-0A60-4531-81AE-29D8BB190F1D}"/>
                </a:ext>
              </a:extLst>
            </p:cNvPr>
            <p:cNvCxnSpPr>
              <a:cxnSpLocks/>
              <a:stCxn id="367" idx="6"/>
            </p:cNvCxnSpPr>
            <p:nvPr/>
          </p:nvCxnSpPr>
          <p:spPr>
            <a:xfrm flipV="1">
              <a:off x="5441396" y="2133600"/>
              <a:ext cx="378237" cy="10056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34FBC2D7-881F-49B0-BE99-84F4BFB6BEDC}"/>
                </a:ext>
              </a:extLst>
            </p:cNvPr>
            <p:cNvCxnSpPr>
              <a:cxnSpLocks/>
              <a:stCxn id="368" idx="6"/>
              <a:endCxn id="370" idx="2"/>
            </p:cNvCxnSpPr>
            <p:nvPr/>
          </p:nvCxnSpPr>
          <p:spPr>
            <a:xfrm flipV="1">
              <a:off x="5441396" y="2133600"/>
              <a:ext cx="378237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EB633E77-3B85-4D09-A868-05E17945C433}"/>
                </a:ext>
              </a:extLst>
            </p:cNvPr>
            <p:cNvCxnSpPr>
              <a:cxnSpLocks/>
              <a:endCxn id="372" idx="2"/>
            </p:cNvCxnSpPr>
            <p:nvPr/>
          </p:nvCxnSpPr>
          <p:spPr>
            <a:xfrm flipV="1">
              <a:off x="5441396" y="2636449"/>
              <a:ext cx="378237" cy="161615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97" name="Straight Connector 596">
              <a:extLst>
                <a:ext uri="{FF2B5EF4-FFF2-40B4-BE49-F238E27FC236}">
                  <a16:creationId xmlns:a16="http://schemas.microsoft.com/office/drawing/2014/main" id="{1F24D58B-D8BA-4655-8EE0-43A2BC57CAE9}"/>
                </a:ext>
              </a:extLst>
            </p:cNvPr>
            <p:cNvCxnSpPr>
              <a:cxnSpLocks/>
              <a:stCxn id="368" idx="6"/>
            </p:cNvCxnSpPr>
            <p:nvPr/>
          </p:nvCxnSpPr>
          <p:spPr>
            <a:xfrm flipV="1">
              <a:off x="5441396" y="3139298"/>
              <a:ext cx="378237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99" name="Straight Connector 598">
              <a:extLst>
                <a:ext uri="{FF2B5EF4-FFF2-40B4-BE49-F238E27FC236}">
                  <a16:creationId xmlns:a16="http://schemas.microsoft.com/office/drawing/2014/main" id="{63E0C9D6-63E0-4417-832C-3590C435E54A}"/>
                </a:ext>
              </a:extLst>
            </p:cNvPr>
            <p:cNvCxnSpPr>
              <a:cxnSpLocks/>
              <a:stCxn id="368" idx="6"/>
              <a:endCxn id="373" idx="2"/>
            </p:cNvCxnSpPr>
            <p:nvPr/>
          </p:nvCxnSpPr>
          <p:spPr>
            <a:xfrm>
              <a:off x="5441396" y="4252598"/>
              <a:ext cx="378237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02" name="Straight Connector 601">
              <a:extLst>
                <a:ext uri="{FF2B5EF4-FFF2-40B4-BE49-F238E27FC236}">
                  <a16:creationId xmlns:a16="http://schemas.microsoft.com/office/drawing/2014/main" id="{04733C4F-B9BA-43E4-B112-1440227C73B5}"/>
                </a:ext>
              </a:extLst>
            </p:cNvPr>
            <p:cNvCxnSpPr>
              <a:cxnSpLocks/>
              <a:stCxn id="368" idx="6"/>
              <a:endCxn id="502" idx="2"/>
            </p:cNvCxnSpPr>
            <p:nvPr/>
          </p:nvCxnSpPr>
          <p:spPr>
            <a:xfrm>
              <a:off x="5441396" y="4252598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05" name="Straight Connector 604">
              <a:extLst>
                <a:ext uri="{FF2B5EF4-FFF2-40B4-BE49-F238E27FC236}">
                  <a16:creationId xmlns:a16="http://schemas.microsoft.com/office/drawing/2014/main" id="{1BA92BB7-E52E-4802-A9C0-A456F1A70453}"/>
                </a:ext>
              </a:extLst>
            </p:cNvPr>
            <p:cNvCxnSpPr>
              <a:cxnSpLocks/>
              <a:stCxn id="501" idx="6"/>
              <a:endCxn id="502" idx="2"/>
            </p:cNvCxnSpPr>
            <p:nvPr/>
          </p:nvCxnSpPr>
          <p:spPr>
            <a:xfrm>
              <a:off x="5441396" y="4755447"/>
              <a:ext cx="378237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07" name="Straight Connector 606">
              <a:extLst>
                <a:ext uri="{FF2B5EF4-FFF2-40B4-BE49-F238E27FC236}">
                  <a16:creationId xmlns:a16="http://schemas.microsoft.com/office/drawing/2014/main" id="{B9382E2F-04B3-4DDE-A26C-11C3C6C415DB}"/>
                </a:ext>
              </a:extLst>
            </p:cNvPr>
            <p:cNvCxnSpPr>
              <a:cxnSpLocks/>
              <a:stCxn id="501" idx="6"/>
              <a:endCxn id="373" idx="2"/>
            </p:cNvCxnSpPr>
            <p:nvPr/>
          </p:nvCxnSpPr>
          <p:spPr>
            <a:xfrm flipV="1">
              <a:off x="5441396" y="4252598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0" name="Straight Connector 609">
              <a:extLst>
                <a:ext uri="{FF2B5EF4-FFF2-40B4-BE49-F238E27FC236}">
                  <a16:creationId xmlns:a16="http://schemas.microsoft.com/office/drawing/2014/main" id="{664D8E3F-8014-425E-A18B-D6FC1927F51D}"/>
                </a:ext>
              </a:extLst>
            </p:cNvPr>
            <p:cNvCxnSpPr>
              <a:cxnSpLocks/>
              <a:stCxn id="501" idx="6"/>
              <a:endCxn id="371" idx="2"/>
            </p:cNvCxnSpPr>
            <p:nvPr/>
          </p:nvCxnSpPr>
          <p:spPr>
            <a:xfrm flipV="1">
              <a:off x="5441396" y="3139298"/>
              <a:ext cx="378237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3" name="Straight Connector 612">
              <a:extLst>
                <a:ext uri="{FF2B5EF4-FFF2-40B4-BE49-F238E27FC236}">
                  <a16:creationId xmlns:a16="http://schemas.microsoft.com/office/drawing/2014/main" id="{A5CFF436-1432-4187-AAD8-45E8069475DC}"/>
                </a:ext>
              </a:extLst>
            </p:cNvPr>
            <p:cNvCxnSpPr>
              <a:cxnSpLocks/>
              <a:stCxn id="501" idx="6"/>
              <a:endCxn id="372" idx="2"/>
            </p:cNvCxnSpPr>
            <p:nvPr/>
          </p:nvCxnSpPr>
          <p:spPr>
            <a:xfrm flipV="1">
              <a:off x="5441396" y="2636449"/>
              <a:ext cx="378237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6" name="Straight Connector 615">
              <a:extLst>
                <a:ext uri="{FF2B5EF4-FFF2-40B4-BE49-F238E27FC236}">
                  <a16:creationId xmlns:a16="http://schemas.microsoft.com/office/drawing/2014/main" id="{22CBAA23-4557-4CA0-8BCD-3D3FD9FCDBBA}"/>
                </a:ext>
              </a:extLst>
            </p:cNvPr>
            <p:cNvCxnSpPr>
              <a:cxnSpLocks/>
              <a:stCxn id="501" idx="6"/>
            </p:cNvCxnSpPr>
            <p:nvPr/>
          </p:nvCxnSpPr>
          <p:spPr>
            <a:xfrm flipV="1">
              <a:off x="5441396" y="2133601"/>
              <a:ext cx="378237" cy="2621846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2495B791-9AB3-4813-983D-656E9B3473E2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2133600"/>
              <a:ext cx="378237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9A3FB345-84E1-4E36-B7EE-8A6C6841CB58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2133600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0" name="Straight Connector 619">
              <a:extLst>
                <a:ext uri="{FF2B5EF4-FFF2-40B4-BE49-F238E27FC236}">
                  <a16:creationId xmlns:a16="http://schemas.microsoft.com/office/drawing/2014/main" id="{35CA6DFA-2BBA-4B3B-A652-64CE7D50D86A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2133600"/>
              <a:ext cx="378237" cy="10056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1" name="Straight Connector 620">
              <a:extLst>
                <a:ext uri="{FF2B5EF4-FFF2-40B4-BE49-F238E27FC236}">
                  <a16:creationId xmlns:a16="http://schemas.microsoft.com/office/drawing/2014/main" id="{6D16DAC5-60BC-48BD-A8AE-736AFB6C6892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2133600"/>
              <a:ext cx="378237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2" name="Straight Connector 621">
              <a:extLst>
                <a:ext uri="{FF2B5EF4-FFF2-40B4-BE49-F238E27FC236}">
                  <a16:creationId xmlns:a16="http://schemas.microsoft.com/office/drawing/2014/main" id="{F8A3D4D0-F15B-4D6C-BBFD-A147DA05DDEC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2133600"/>
              <a:ext cx="378237" cy="2621847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3" name="Straight Connector 622">
              <a:extLst>
                <a:ext uri="{FF2B5EF4-FFF2-40B4-BE49-F238E27FC236}">
                  <a16:creationId xmlns:a16="http://schemas.microsoft.com/office/drawing/2014/main" id="{6DAB855E-244D-4D09-A867-99B629E041B5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2636449"/>
              <a:ext cx="378237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4" name="Straight Connector 623">
              <a:extLst>
                <a:ext uri="{FF2B5EF4-FFF2-40B4-BE49-F238E27FC236}">
                  <a16:creationId xmlns:a16="http://schemas.microsoft.com/office/drawing/2014/main" id="{4E51EDFA-1CAB-4C23-BE4B-461657CF32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2133600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54255E8A-8EF1-470D-AFD2-E5568EEAB083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2636449"/>
              <a:ext cx="378237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105D58F-8BB7-4900-8237-B52917821EFD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2636449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5489EF72-8F36-448B-9FF8-1EEEE51DB32A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2636449"/>
              <a:ext cx="378237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8" name="Straight Connector 627">
              <a:extLst>
                <a:ext uri="{FF2B5EF4-FFF2-40B4-BE49-F238E27FC236}">
                  <a16:creationId xmlns:a16="http://schemas.microsoft.com/office/drawing/2014/main" id="{A772AB37-31F6-4472-B8DD-6C127E1E162A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3139298"/>
              <a:ext cx="378237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29" name="Straight Connector 628">
              <a:extLst>
                <a:ext uri="{FF2B5EF4-FFF2-40B4-BE49-F238E27FC236}">
                  <a16:creationId xmlns:a16="http://schemas.microsoft.com/office/drawing/2014/main" id="{486A4BFE-BFE3-43E1-B177-124FD2722966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3139298"/>
              <a:ext cx="378237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EDFC490A-534F-4D16-89D0-899AA0FDBF2F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3139298"/>
              <a:ext cx="378237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3FD99114-7DA7-43FC-9CF2-5D0F93CF54BB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3139298"/>
              <a:ext cx="378237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2" name="Straight Connector 631">
              <a:extLst>
                <a:ext uri="{FF2B5EF4-FFF2-40B4-BE49-F238E27FC236}">
                  <a16:creationId xmlns:a16="http://schemas.microsoft.com/office/drawing/2014/main" id="{85028425-7D5F-497C-B74A-6C1E683CA9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2636449"/>
              <a:ext cx="378237" cy="50285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3" name="Straight Connector 632">
              <a:extLst>
                <a:ext uri="{FF2B5EF4-FFF2-40B4-BE49-F238E27FC236}">
                  <a16:creationId xmlns:a16="http://schemas.microsoft.com/office/drawing/2014/main" id="{1AEBAC63-57A4-4D1A-B173-4608587821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2133600"/>
              <a:ext cx="378237" cy="10056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4" name="Straight Connector 633">
              <a:extLst>
                <a:ext uri="{FF2B5EF4-FFF2-40B4-BE49-F238E27FC236}">
                  <a16:creationId xmlns:a16="http://schemas.microsoft.com/office/drawing/2014/main" id="{52C1A572-6D45-4208-88FD-373D966393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2133600"/>
              <a:ext cx="378237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5" name="Straight Connector 634">
              <a:extLst>
                <a:ext uri="{FF2B5EF4-FFF2-40B4-BE49-F238E27FC236}">
                  <a16:creationId xmlns:a16="http://schemas.microsoft.com/office/drawing/2014/main" id="{86C77F28-AA74-4703-999B-8C45E2BD99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2636449"/>
              <a:ext cx="378237" cy="161615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6" name="Straight Connector 635">
              <a:extLst>
                <a:ext uri="{FF2B5EF4-FFF2-40B4-BE49-F238E27FC236}">
                  <a16:creationId xmlns:a16="http://schemas.microsoft.com/office/drawing/2014/main" id="{85C436E5-CD7A-4B7E-B722-727CE46379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3139298"/>
              <a:ext cx="378237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A1AF0A4D-14DC-4EFD-B9B0-E4B396099C7C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4252598"/>
              <a:ext cx="378237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8" name="Straight Connector 637">
              <a:extLst>
                <a:ext uri="{FF2B5EF4-FFF2-40B4-BE49-F238E27FC236}">
                  <a16:creationId xmlns:a16="http://schemas.microsoft.com/office/drawing/2014/main" id="{FB412B37-EDEA-4637-A2F6-398920392665}"/>
                </a:ext>
              </a:extLst>
            </p:cNvPr>
            <p:cNvCxnSpPr>
              <a:cxnSpLocks/>
            </p:cNvCxnSpPr>
            <p:nvPr/>
          </p:nvCxnSpPr>
          <p:spPr>
            <a:xfrm>
              <a:off x="6181342" y="4252598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39" name="Straight Connector 638">
              <a:extLst>
                <a:ext uri="{FF2B5EF4-FFF2-40B4-BE49-F238E27FC236}">
                  <a16:creationId xmlns:a16="http://schemas.microsoft.com/office/drawing/2014/main" id="{584786A1-6CE2-4128-8D9B-816A19B4D9F9}"/>
                </a:ext>
              </a:extLst>
            </p:cNvPr>
            <p:cNvCxnSpPr>
              <a:cxnSpLocks/>
              <a:stCxn id="502" idx="6"/>
              <a:endCxn id="503" idx="2"/>
            </p:cNvCxnSpPr>
            <p:nvPr/>
          </p:nvCxnSpPr>
          <p:spPr>
            <a:xfrm>
              <a:off x="6181583" y="4755447"/>
              <a:ext cx="375889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0" name="Straight Connector 639">
              <a:extLst>
                <a:ext uri="{FF2B5EF4-FFF2-40B4-BE49-F238E27FC236}">
                  <a16:creationId xmlns:a16="http://schemas.microsoft.com/office/drawing/2014/main" id="{36BBC991-9ED9-4572-B7C3-B05A49100D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4252598"/>
              <a:ext cx="378237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1" name="Straight Connector 640">
              <a:extLst>
                <a:ext uri="{FF2B5EF4-FFF2-40B4-BE49-F238E27FC236}">
                  <a16:creationId xmlns:a16="http://schemas.microsoft.com/office/drawing/2014/main" id="{910EB9E7-28CD-4A06-8B77-298D7ED0B0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3139298"/>
              <a:ext cx="378237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2" name="Straight Connector 641">
              <a:extLst>
                <a:ext uri="{FF2B5EF4-FFF2-40B4-BE49-F238E27FC236}">
                  <a16:creationId xmlns:a16="http://schemas.microsoft.com/office/drawing/2014/main" id="{2C1C5D92-AF9B-4C54-B47E-1C64442306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2636449"/>
              <a:ext cx="378237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3" name="Straight Connector 642">
              <a:extLst>
                <a:ext uri="{FF2B5EF4-FFF2-40B4-BE49-F238E27FC236}">
                  <a16:creationId xmlns:a16="http://schemas.microsoft.com/office/drawing/2014/main" id="{9C4C8AF3-9C65-4A4E-BBCB-F6EB11655B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1342" y="2133601"/>
              <a:ext cx="378237" cy="2621846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7" name="Straight Connector 646">
              <a:extLst>
                <a:ext uri="{FF2B5EF4-FFF2-40B4-BE49-F238E27FC236}">
                  <a16:creationId xmlns:a16="http://schemas.microsoft.com/office/drawing/2014/main" id="{DED1413F-25F8-4CFE-BBDC-8DAF404EFA26}"/>
                </a:ext>
              </a:extLst>
            </p:cNvPr>
            <p:cNvCxnSpPr>
              <a:cxnSpLocks/>
              <a:stCxn id="374" idx="6"/>
              <a:endCxn id="386" idx="2"/>
            </p:cNvCxnSpPr>
            <p:nvPr/>
          </p:nvCxnSpPr>
          <p:spPr>
            <a:xfrm>
              <a:off x="6919422" y="2133600"/>
              <a:ext cx="610929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50" name="Straight Connector 649">
              <a:extLst>
                <a:ext uri="{FF2B5EF4-FFF2-40B4-BE49-F238E27FC236}">
                  <a16:creationId xmlns:a16="http://schemas.microsoft.com/office/drawing/2014/main" id="{0835EA2A-9F0A-4CBA-9C73-EB3222DA3805}"/>
                </a:ext>
              </a:extLst>
            </p:cNvPr>
            <p:cNvCxnSpPr>
              <a:cxnSpLocks/>
              <a:stCxn id="374" idx="6"/>
              <a:endCxn id="387" idx="2"/>
            </p:cNvCxnSpPr>
            <p:nvPr/>
          </p:nvCxnSpPr>
          <p:spPr>
            <a:xfrm>
              <a:off x="6919422" y="2133600"/>
              <a:ext cx="610929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53" name="Straight Connector 652">
              <a:extLst>
                <a:ext uri="{FF2B5EF4-FFF2-40B4-BE49-F238E27FC236}">
                  <a16:creationId xmlns:a16="http://schemas.microsoft.com/office/drawing/2014/main" id="{1A7D41BE-5A43-47F3-9729-37B4A166F9C9}"/>
                </a:ext>
              </a:extLst>
            </p:cNvPr>
            <p:cNvCxnSpPr>
              <a:cxnSpLocks/>
              <a:endCxn id="388" idx="2"/>
            </p:cNvCxnSpPr>
            <p:nvPr/>
          </p:nvCxnSpPr>
          <p:spPr>
            <a:xfrm>
              <a:off x="6919422" y="2133600"/>
              <a:ext cx="610929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55" name="Straight Connector 654">
              <a:extLst>
                <a:ext uri="{FF2B5EF4-FFF2-40B4-BE49-F238E27FC236}">
                  <a16:creationId xmlns:a16="http://schemas.microsoft.com/office/drawing/2014/main" id="{A8E6ADD5-CBAB-43A3-AA83-0B3B7BB15787}"/>
                </a:ext>
              </a:extLst>
            </p:cNvPr>
            <p:cNvCxnSpPr>
              <a:cxnSpLocks/>
              <a:stCxn id="375" idx="6"/>
            </p:cNvCxnSpPr>
            <p:nvPr/>
          </p:nvCxnSpPr>
          <p:spPr>
            <a:xfrm>
              <a:off x="6919422" y="2636449"/>
              <a:ext cx="610929" cy="11133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57" name="Straight Connector 656">
              <a:extLst>
                <a:ext uri="{FF2B5EF4-FFF2-40B4-BE49-F238E27FC236}">
                  <a16:creationId xmlns:a16="http://schemas.microsoft.com/office/drawing/2014/main" id="{716FF107-8353-4816-9212-F319AEF4BE6F}"/>
                </a:ext>
              </a:extLst>
            </p:cNvPr>
            <p:cNvCxnSpPr>
              <a:cxnSpLocks/>
              <a:stCxn id="375" idx="6"/>
              <a:endCxn id="387" idx="2"/>
            </p:cNvCxnSpPr>
            <p:nvPr/>
          </p:nvCxnSpPr>
          <p:spPr>
            <a:xfrm>
              <a:off x="6919422" y="2636449"/>
              <a:ext cx="610929" cy="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60" name="Straight Connector 659">
              <a:extLst>
                <a:ext uri="{FF2B5EF4-FFF2-40B4-BE49-F238E27FC236}">
                  <a16:creationId xmlns:a16="http://schemas.microsoft.com/office/drawing/2014/main" id="{30F41A26-B3EC-4C63-BE6B-0F65FC8C6D18}"/>
                </a:ext>
              </a:extLst>
            </p:cNvPr>
            <p:cNvCxnSpPr>
              <a:cxnSpLocks/>
              <a:endCxn id="386" idx="2"/>
            </p:cNvCxnSpPr>
            <p:nvPr/>
          </p:nvCxnSpPr>
          <p:spPr>
            <a:xfrm flipV="1">
              <a:off x="6919422" y="2133600"/>
              <a:ext cx="610929" cy="50285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62" name="Straight Connector 661">
              <a:extLst>
                <a:ext uri="{FF2B5EF4-FFF2-40B4-BE49-F238E27FC236}">
                  <a16:creationId xmlns:a16="http://schemas.microsoft.com/office/drawing/2014/main" id="{D92B8D37-7AEB-4AB0-9784-371348420ABB}"/>
                </a:ext>
              </a:extLst>
            </p:cNvPr>
            <p:cNvCxnSpPr>
              <a:cxnSpLocks/>
              <a:stCxn id="376" idx="6"/>
              <a:endCxn id="386" idx="2"/>
            </p:cNvCxnSpPr>
            <p:nvPr/>
          </p:nvCxnSpPr>
          <p:spPr>
            <a:xfrm flipV="1">
              <a:off x="6919422" y="2133600"/>
              <a:ext cx="610929" cy="10056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65" name="Straight Connector 664">
              <a:extLst>
                <a:ext uri="{FF2B5EF4-FFF2-40B4-BE49-F238E27FC236}">
                  <a16:creationId xmlns:a16="http://schemas.microsoft.com/office/drawing/2014/main" id="{2669BD0D-92DE-48DC-A3D6-AF31EA8D5589}"/>
                </a:ext>
              </a:extLst>
            </p:cNvPr>
            <p:cNvCxnSpPr>
              <a:cxnSpLocks/>
              <a:endCxn id="387" idx="2"/>
            </p:cNvCxnSpPr>
            <p:nvPr/>
          </p:nvCxnSpPr>
          <p:spPr>
            <a:xfrm flipV="1">
              <a:off x="6919422" y="2636449"/>
              <a:ext cx="610929" cy="50285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67" name="Straight Connector 666">
              <a:extLst>
                <a:ext uri="{FF2B5EF4-FFF2-40B4-BE49-F238E27FC236}">
                  <a16:creationId xmlns:a16="http://schemas.microsoft.com/office/drawing/2014/main" id="{30BDBCCF-2353-4E87-A113-5C3595E7C989}"/>
                </a:ext>
              </a:extLst>
            </p:cNvPr>
            <p:cNvCxnSpPr>
              <a:cxnSpLocks/>
              <a:stCxn id="376" idx="6"/>
              <a:endCxn id="388" idx="2"/>
            </p:cNvCxnSpPr>
            <p:nvPr/>
          </p:nvCxnSpPr>
          <p:spPr>
            <a:xfrm>
              <a:off x="6919422" y="3139298"/>
              <a:ext cx="610929" cy="610451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F0BDB44D-8500-4B54-AA27-7DE7C22C5943}"/>
                </a:ext>
              </a:extLst>
            </p:cNvPr>
            <p:cNvCxnSpPr>
              <a:cxnSpLocks/>
              <a:stCxn id="377" idx="6"/>
              <a:endCxn id="388" idx="2"/>
            </p:cNvCxnSpPr>
            <p:nvPr/>
          </p:nvCxnSpPr>
          <p:spPr>
            <a:xfrm flipV="1">
              <a:off x="6919422" y="3749749"/>
              <a:ext cx="610929" cy="5028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73" name="Straight Connector 672">
              <a:extLst>
                <a:ext uri="{FF2B5EF4-FFF2-40B4-BE49-F238E27FC236}">
                  <a16:creationId xmlns:a16="http://schemas.microsoft.com/office/drawing/2014/main" id="{41886EBB-A284-4E9E-A7C3-4CD5994F551B}"/>
                </a:ext>
              </a:extLst>
            </p:cNvPr>
            <p:cNvCxnSpPr>
              <a:cxnSpLocks/>
              <a:stCxn id="503" idx="6"/>
              <a:endCxn id="388" idx="2"/>
            </p:cNvCxnSpPr>
            <p:nvPr/>
          </p:nvCxnSpPr>
          <p:spPr>
            <a:xfrm flipV="1">
              <a:off x="6919422" y="3749749"/>
              <a:ext cx="610929" cy="10056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76" name="Straight Connector 675">
              <a:extLst>
                <a:ext uri="{FF2B5EF4-FFF2-40B4-BE49-F238E27FC236}">
                  <a16:creationId xmlns:a16="http://schemas.microsoft.com/office/drawing/2014/main" id="{4CF8C25A-2616-4197-9891-3FC856E5425D}"/>
                </a:ext>
              </a:extLst>
            </p:cNvPr>
            <p:cNvCxnSpPr>
              <a:cxnSpLocks/>
              <a:stCxn id="377" idx="6"/>
              <a:endCxn id="387" idx="2"/>
            </p:cNvCxnSpPr>
            <p:nvPr/>
          </p:nvCxnSpPr>
          <p:spPr>
            <a:xfrm flipV="1">
              <a:off x="6919422" y="2636449"/>
              <a:ext cx="610929" cy="1616149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9AB554F9-EA50-4BB9-BBF2-179852ADF3B0}"/>
                </a:ext>
              </a:extLst>
            </p:cNvPr>
            <p:cNvCxnSpPr>
              <a:cxnSpLocks/>
              <a:stCxn id="377" idx="6"/>
              <a:endCxn id="386" idx="2"/>
            </p:cNvCxnSpPr>
            <p:nvPr/>
          </p:nvCxnSpPr>
          <p:spPr>
            <a:xfrm flipV="1">
              <a:off x="6919422" y="2133600"/>
              <a:ext cx="610929" cy="2118998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82" name="Straight Connector 681">
              <a:extLst>
                <a:ext uri="{FF2B5EF4-FFF2-40B4-BE49-F238E27FC236}">
                  <a16:creationId xmlns:a16="http://schemas.microsoft.com/office/drawing/2014/main" id="{8CC0DC02-9A41-4695-B27B-B7F6DEA18A1D}"/>
                </a:ext>
              </a:extLst>
            </p:cNvPr>
            <p:cNvCxnSpPr>
              <a:cxnSpLocks/>
              <a:stCxn id="503" idx="6"/>
              <a:endCxn id="386" idx="2"/>
            </p:cNvCxnSpPr>
            <p:nvPr/>
          </p:nvCxnSpPr>
          <p:spPr>
            <a:xfrm flipV="1">
              <a:off x="6919422" y="2133600"/>
              <a:ext cx="610929" cy="2621847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85" name="Straight Connector 684">
              <a:extLst>
                <a:ext uri="{FF2B5EF4-FFF2-40B4-BE49-F238E27FC236}">
                  <a16:creationId xmlns:a16="http://schemas.microsoft.com/office/drawing/2014/main" id="{2950C486-3CE3-4D2F-9FB8-F9701137529C}"/>
                </a:ext>
              </a:extLst>
            </p:cNvPr>
            <p:cNvCxnSpPr>
              <a:cxnSpLocks/>
              <a:endCxn id="387" idx="2"/>
            </p:cNvCxnSpPr>
            <p:nvPr/>
          </p:nvCxnSpPr>
          <p:spPr>
            <a:xfrm flipV="1">
              <a:off x="6919422" y="2636449"/>
              <a:ext cx="610929" cy="2119000"/>
            </a:xfrm>
            <a:prstGeom prst="line">
              <a:avLst/>
            </a:prstGeom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525" name="Rectangle 524">
            <a:extLst>
              <a:ext uri="{FF2B5EF4-FFF2-40B4-BE49-F238E27FC236}">
                <a16:creationId xmlns:a16="http://schemas.microsoft.com/office/drawing/2014/main" id="{4248305D-AC86-484A-A905-31FD49C3228D}"/>
              </a:ext>
            </a:extLst>
          </p:cNvPr>
          <p:cNvSpPr/>
          <p:nvPr/>
        </p:nvSpPr>
        <p:spPr>
          <a:xfrm>
            <a:off x="2223478" y="5021994"/>
            <a:ext cx="132622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Output: (x,y,100)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526" name="Rectangle 525">
            <a:extLst>
              <a:ext uri="{FF2B5EF4-FFF2-40B4-BE49-F238E27FC236}">
                <a16:creationId xmlns:a16="http://schemas.microsoft.com/office/drawing/2014/main" id="{48522AAE-F6B4-4DBA-BA47-2D1146B24A34}"/>
              </a:ext>
            </a:extLst>
          </p:cNvPr>
          <p:cNvSpPr/>
          <p:nvPr/>
        </p:nvSpPr>
        <p:spPr>
          <a:xfrm>
            <a:off x="3419746" y="5021994"/>
            <a:ext cx="132622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Output: (x,y,100)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528" name="Rectangle 527">
            <a:extLst>
              <a:ext uri="{FF2B5EF4-FFF2-40B4-BE49-F238E27FC236}">
                <a16:creationId xmlns:a16="http://schemas.microsoft.com/office/drawing/2014/main" id="{8E3A2A09-B2A5-4A28-A09B-4A93B7A7409C}"/>
              </a:ext>
            </a:extLst>
          </p:cNvPr>
          <p:cNvSpPr/>
          <p:nvPr/>
        </p:nvSpPr>
        <p:spPr>
          <a:xfrm>
            <a:off x="4156760" y="5837365"/>
            <a:ext cx="132622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Output: (x,y,128)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8612A77B-4292-460E-9ED7-5CCF8FEC370E}"/>
              </a:ext>
            </a:extLst>
          </p:cNvPr>
          <p:cNvSpPr/>
          <p:nvPr/>
        </p:nvSpPr>
        <p:spPr>
          <a:xfrm>
            <a:off x="5352050" y="5837365"/>
            <a:ext cx="132622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Output: (x,y,256)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531" name="Rectangle 530">
            <a:extLst>
              <a:ext uri="{FF2B5EF4-FFF2-40B4-BE49-F238E27FC236}">
                <a16:creationId xmlns:a16="http://schemas.microsoft.com/office/drawing/2014/main" id="{126034EF-CD57-4E53-8C9B-A034F47DC530}"/>
              </a:ext>
            </a:extLst>
          </p:cNvPr>
          <p:cNvSpPr/>
          <p:nvPr/>
        </p:nvSpPr>
        <p:spPr>
          <a:xfrm>
            <a:off x="6547340" y="5837365"/>
            <a:ext cx="132622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Output: (x,128)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533" name="Rectangle 532">
            <a:extLst>
              <a:ext uri="{FF2B5EF4-FFF2-40B4-BE49-F238E27FC236}">
                <a16:creationId xmlns:a16="http://schemas.microsoft.com/office/drawing/2014/main" id="{5586DDE1-6028-4998-929F-1DEC3B8F15AA}"/>
              </a:ext>
            </a:extLst>
          </p:cNvPr>
          <p:cNvSpPr/>
          <p:nvPr/>
        </p:nvSpPr>
        <p:spPr>
          <a:xfrm>
            <a:off x="7106699" y="4418482"/>
            <a:ext cx="132622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Output: (x,43)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sp>
        <p:nvSpPr>
          <p:cNvPr id="534" name="Rectangle 533">
            <a:extLst>
              <a:ext uri="{FF2B5EF4-FFF2-40B4-BE49-F238E27FC236}">
                <a16:creationId xmlns:a16="http://schemas.microsoft.com/office/drawing/2014/main" id="{80DD86C1-6932-4E4D-9518-ADE41B954CC9}"/>
              </a:ext>
            </a:extLst>
          </p:cNvPr>
          <p:cNvSpPr/>
          <p:nvPr/>
        </p:nvSpPr>
        <p:spPr>
          <a:xfrm>
            <a:off x="1121390" y="5458618"/>
            <a:ext cx="132622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Output: (</a:t>
            </a:r>
            <a:r>
              <a:rPr lang="en-US" altLang="zh-TW" sz="2000" dirty="0" err="1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x,y</a:t>
            </a:r>
            <a:r>
              <a:rPr lang="en-US" altLang="zh-TW" sz="2000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rPr>
              <a:t>)</a:t>
            </a:r>
            <a:endParaRPr lang="zh-TW" altLang="zh-TW" sz="2000" dirty="0">
              <a:latin typeface="Tw Cen MT" panose="020B0602020104020603" pitchFamily="34" charset="0"/>
            </a:endParaRPr>
          </a:p>
        </p:txBody>
      </p:sp>
      <p:pic>
        <p:nvPicPr>
          <p:cNvPr id="785" name="Picture 784">
            <a:extLst>
              <a:ext uri="{FF2B5EF4-FFF2-40B4-BE49-F238E27FC236}">
                <a16:creationId xmlns:a16="http://schemas.microsoft.com/office/drawing/2014/main" id="{CF328B18-5634-4D9C-8CBE-BEA0B08B5C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39114" y="2787906"/>
            <a:ext cx="2835380" cy="1346532"/>
          </a:xfrm>
          <a:prstGeom prst="rect">
            <a:avLst/>
          </a:prstGeom>
        </p:spPr>
      </p:pic>
      <p:pic>
        <p:nvPicPr>
          <p:cNvPr id="786" name="Picture 785">
            <a:extLst>
              <a:ext uri="{FF2B5EF4-FFF2-40B4-BE49-F238E27FC236}">
                <a16:creationId xmlns:a16="http://schemas.microsoft.com/office/drawing/2014/main" id="{2FC37AB2-AF54-497E-8539-44D17E0F69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39114" y="2787906"/>
            <a:ext cx="2835380" cy="1346532"/>
          </a:xfrm>
          <a:prstGeom prst="rect">
            <a:avLst/>
          </a:prstGeom>
        </p:spPr>
      </p:pic>
      <p:grpSp>
        <p:nvGrpSpPr>
          <p:cNvPr id="802" name="Group 801">
            <a:extLst>
              <a:ext uri="{FF2B5EF4-FFF2-40B4-BE49-F238E27FC236}">
                <a16:creationId xmlns:a16="http://schemas.microsoft.com/office/drawing/2014/main" id="{9D2E886B-4848-45F5-B7D4-28CD1243BBEA}"/>
              </a:ext>
            </a:extLst>
          </p:cNvPr>
          <p:cNvGrpSpPr/>
          <p:nvPr/>
        </p:nvGrpSpPr>
        <p:grpSpPr>
          <a:xfrm>
            <a:off x="-6898236" y="1649020"/>
            <a:ext cx="6554352" cy="1035508"/>
            <a:chOff x="933543" y="1363254"/>
            <a:chExt cx="6554352" cy="1035508"/>
          </a:xfrm>
        </p:grpSpPr>
        <p:sp>
          <p:nvSpPr>
            <p:cNvPr id="803" name="îṩḻîde">
              <a:extLst>
                <a:ext uri="{FF2B5EF4-FFF2-40B4-BE49-F238E27FC236}">
                  <a16:creationId xmlns:a16="http://schemas.microsoft.com/office/drawing/2014/main" id="{3088C5EB-AC63-44A6-85D3-03E1654881C8}"/>
                </a:ext>
              </a:extLst>
            </p:cNvPr>
            <p:cNvSpPr/>
            <p:nvPr/>
          </p:nvSpPr>
          <p:spPr>
            <a:xfrm>
              <a:off x="933543" y="1363254"/>
              <a:ext cx="738756" cy="738756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000" b="1" dirty="0">
                  <a:solidFill>
                    <a:schemeClr val="bg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2000" b="1" dirty="0">
                  <a:solidFill>
                    <a:schemeClr val="bg1"/>
                  </a:solidFill>
                </a:rPr>
                <a:t>1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804" name="íṣḻïďe">
              <a:extLst>
                <a:ext uri="{FF2B5EF4-FFF2-40B4-BE49-F238E27FC236}">
                  <a16:creationId xmlns:a16="http://schemas.microsoft.com/office/drawing/2014/main" id="{315F72BA-7C55-4EE3-8CDE-CB907B3BBE0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90611" y="1480524"/>
              <a:ext cx="4797284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sz="2400" b="1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Possibility of each category</a:t>
              </a:r>
            </a:p>
          </p:txBody>
        </p:sp>
        <p:sp>
          <p:nvSpPr>
            <p:cNvPr id="805" name="îSḷïḑê">
              <a:extLst>
                <a:ext uri="{FF2B5EF4-FFF2-40B4-BE49-F238E27FC236}">
                  <a16:creationId xmlns:a16="http://schemas.microsoft.com/office/drawing/2014/main" id="{52CF35DF-70E0-43EB-A2FA-9E8BD075E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611" y="1926157"/>
              <a:ext cx="4797284" cy="4726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5314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75214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98742, …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42746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 ]</a:t>
              </a:r>
              <a:endPara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endParaRPr>
            </a:p>
          </p:txBody>
        </p:sp>
        <p:sp>
          <p:nvSpPr>
            <p:cNvPr id="806" name="iconfont-11790-5633983">
              <a:extLst>
                <a:ext uri="{FF2B5EF4-FFF2-40B4-BE49-F238E27FC236}">
                  <a16:creationId xmlns:a16="http://schemas.microsoft.com/office/drawing/2014/main" id="{E2C5F39C-0900-4F15-9F7B-ADDA1A7FC3B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38265" y="1429348"/>
              <a:ext cx="609685" cy="488741"/>
            </a:xfrm>
            <a:custGeom>
              <a:avLst/>
              <a:gdLst>
                <a:gd name="T0" fmla="*/ 14920 w 16120"/>
                <a:gd name="T1" fmla="*/ 4920 h 12920"/>
                <a:gd name="T2" fmla="*/ 11952 w 16120"/>
                <a:gd name="T3" fmla="*/ 4920 h 12920"/>
                <a:gd name="T4" fmla="*/ 11527 w 16120"/>
                <a:gd name="T5" fmla="*/ 7153 h 12920"/>
                <a:gd name="T6" fmla="*/ 8120 w 16120"/>
                <a:gd name="T7" fmla="*/ 10560 h 12920"/>
                <a:gd name="T8" fmla="*/ 8120 w 16120"/>
                <a:gd name="T9" fmla="*/ 11720 h 12920"/>
                <a:gd name="T10" fmla="*/ 9320 w 16120"/>
                <a:gd name="T11" fmla="*/ 12920 h 12920"/>
                <a:gd name="T12" fmla="*/ 14920 w 16120"/>
                <a:gd name="T13" fmla="*/ 12920 h 12920"/>
                <a:gd name="T14" fmla="*/ 16120 w 16120"/>
                <a:gd name="T15" fmla="*/ 11720 h 12920"/>
                <a:gd name="T16" fmla="*/ 16120 w 16120"/>
                <a:gd name="T17" fmla="*/ 6120 h 12920"/>
                <a:gd name="T18" fmla="*/ 14920 w 16120"/>
                <a:gd name="T19" fmla="*/ 4920 h 12920"/>
                <a:gd name="T20" fmla="*/ 12120 w 16120"/>
                <a:gd name="T21" fmla="*/ 9520 h 12920"/>
                <a:gd name="T22" fmla="*/ 11520 w 16120"/>
                <a:gd name="T23" fmla="*/ 8920 h 12920"/>
                <a:gd name="T24" fmla="*/ 12120 w 16120"/>
                <a:gd name="T25" fmla="*/ 8320 h 12920"/>
                <a:gd name="T26" fmla="*/ 12720 w 16120"/>
                <a:gd name="T27" fmla="*/ 8920 h 12920"/>
                <a:gd name="T28" fmla="*/ 12120 w 16120"/>
                <a:gd name="T29" fmla="*/ 9520 h 12920"/>
                <a:gd name="T30" fmla="*/ 10961 w 16120"/>
                <a:gd name="T31" fmla="*/ 4853 h 12920"/>
                <a:gd name="T32" fmla="*/ 6588 w 16120"/>
                <a:gd name="T33" fmla="*/ 479 h 12920"/>
                <a:gd name="T34" fmla="*/ 4853 w 16120"/>
                <a:gd name="T35" fmla="*/ 479 h 12920"/>
                <a:gd name="T36" fmla="*/ 479 w 16120"/>
                <a:gd name="T37" fmla="*/ 4853 h 12920"/>
                <a:gd name="T38" fmla="*/ 479 w 16120"/>
                <a:gd name="T39" fmla="*/ 6587 h 12920"/>
                <a:gd name="T40" fmla="*/ 4853 w 16120"/>
                <a:gd name="T41" fmla="*/ 10961 h 12920"/>
                <a:gd name="T42" fmla="*/ 6587 w 16120"/>
                <a:gd name="T43" fmla="*/ 10961 h 12920"/>
                <a:gd name="T44" fmla="*/ 10961 w 16120"/>
                <a:gd name="T45" fmla="*/ 6588 h 12920"/>
                <a:gd name="T46" fmla="*/ 10961 w 16120"/>
                <a:gd name="T47" fmla="*/ 4853 h 12920"/>
                <a:gd name="T48" fmla="*/ 2520 w 16120"/>
                <a:gd name="T49" fmla="*/ 6320 h 12920"/>
                <a:gd name="T50" fmla="*/ 1920 w 16120"/>
                <a:gd name="T51" fmla="*/ 5720 h 12920"/>
                <a:gd name="T52" fmla="*/ 2520 w 16120"/>
                <a:gd name="T53" fmla="*/ 5120 h 12920"/>
                <a:gd name="T54" fmla="*/ 3120 w 16120"/>
                <a:gd name="T55" fmla="*/ 5720 h 12920"/>
                <a:gd name="T56" fmla="*/ 2520 w 16120"/>
                <a:gd name="T57" fmla="*/ 6320 h 12920"/>
                <a:gd name="T58" fmla="*/ 5720 w 16120"/>
                <a:gd name="T59" fmla="*/ 9520 h 12920"/>
                <a:gd name="T60" fmla="*/ 5120 w 16120"/>
                <a:gd name="T61" fmla="*/ 8920 h 12920"/>
                <a:gd name="T62" fmla="*/ 5720 w 16120"/>
                <a:gd name="T63" fmla="*/ 8320 h 12920"/>
                <a:gd name="T64" fmla="*/ 6320 w 16120"/>
                <a:gd name="T65" fmla="*/ 8920 h 12920"/>
                <a:gd name="T66" fmla="*/ 5720 w 16120"/>
                <a:gd name="T67" fmla="*/ 9520 h 12920"/>
                <a:gd name="T68" fmla="*/ 5720 w 16120"/>
                <a:gd name="T69" fmla="*/ 6320 h 12920"/>
                <a:gd name="T70" fmla="*/ 5120 w 16120"/>
                <a:gd name="T71" fmla="*/ 5720 h 12920"/>
                <a:gd name="T72" fmla="*/ 5720 w 16120"/>
                <a:gd name="T73" fmla="*/ 5120 h 12920"/>
                <a:gd name="T74" fmla="*/ 6320 w 16120"/>
                <a:gd name="T75" fmla="*/ 5720 h 12920"/>
                <a:gd name="T76" fmla="*/ 5720 w 16120"/>
                <a:gd name="T77" fmla="*/ 6320 h 12920"/>
                <a:gd name="T78" fmla="*/ 5720 w 16120"/>
                <a:gd name="T79" fmla="*/ 3120 h 12920"/>
                <a:gd name="T80" fmla="*/ 5120 w 16120"/>
                <a:gd name="T81" fmla="*/ 2520 h 12920"/>
                <a:gd name="T82" fmla="*/ 5720 w 16120"/>
                <a:gd name="T83" fmla="*/ 1920 h 12920"/>
                <a:gd name="T84" fmla="*/ 6320 w 16120"/>
                <a:gd name="T85" fmla="*/ 2520 h 12920"/>
                <a:gd name="T86" fmla="*/ 5720 w 16120"/>
                <a:gd name="T87" fmla="*/ 3120 h 12920"/>
                <a:gd name="T88" fmla="*/ 8920 w 16120"/>
                <a:gd name="T89" fmla="*/ 6320 h 12920"/>
                <a:gd name="T90" fmla="*/ 8320 w 16120"/>
                <a:gd name="T91" fmla="*/ 5720 h 12920"/>
                <a:gd name="T92" fmla="*/ 8920 w 16120"/>
                <a:gd name="T93" fmla="*/ 5120 h 12920"/>
                <a:gd name="T94" fmla="*/ 9520 w 16120"/>
                <a:gd name="T95" fmla="*/ 5720 h 12920"/>
                <a:gd name="T96" fmla="*/ 8920 w 16120"/>
                <a:gd name="T97" fmla="*/ 6320 h 12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120" h="12920">
                  <a:moveTo>
                    <a:pt x="14920" y="4920"/>
                  </a:moveTo>
                  <a:lnTo>
                    <a:pt x="11952" y="4920"/>
                  </a:lnTo>
                  <a:cubicBezTo>
                    <a:pt x="12269" y="5660"/>
                    <a:pt x="12130" y="6550"/>
                    <a:pt x="11527" y="7153"/>
                  </a:cubicBezTo>
                  <a:lnTo>
                    <a:pt x="8120" y="10560"/>
                  </a:lnTo>
                  <a:lnTo>
                    <a:pt x="8120" y="11720"/>
                  </a:lnTo>
                  <a:cubicBezTo>
                    <a:pt x="8120" y="12383"/>
                    <a:pt x="8657" y="12920"/>
                    <a:pt x="9320" y="12920"/>
                  </a:cubicBezTo>
                  <a:lnTo>
                    <a:pt x="14920" y="12920"/>
                  </a:lnTo>
                  <a:cubicBezTo>
                    <a:pt x="15583" y="12920"/>
                    <a:pt x="16120" y="12383"/>
                    <a:pt x="16120" y="11720"/>
                  </a:cubicBezTo>
                  <a:lnTo>
                    <a:pt x="16120" y="6120"/>
                  </a:lnTo>
                  <a:cubicBezTo>
                    <a:pt x="16120" y="5457"/>
                    <a:pt x="15583" y="4920"/>
                    <a:pt x="14920" y="4920"/>
                  </a:cubicBezTo>
                  <a:close/>
                  <a:moveTo>
                    <a:pt x="12120" y="9520"/>
                  </a:moveTo>
                  <a:cubicBezTo>
                    <a:pt x="11789" y="9520"/>
                    <a:pt x="11520" y="9251"/>
                    <a:pt x="11520" y="8920"/>
                  </a:cubicBezTo>
                  <a:cubicBezTo>
                    <a:pt x="11520" y="8589"/>
                    <a:pt x="11789" y="8320"/>
                    <a:pt x="12120" y="8320"/>
                  </a:cubicBezTo>
                  <a:cubicBezTo>
                    <a:pt x="12451" y="8320"/>
                    <a:pt x="12720" y="8589"/>
                    <a:pt x="12720" y="8920"/>
                  </a:cubicBezTo>
                  <a:cubicBezTo>
                    <a:pt x="12720" y="9251"/>
                    <a:pt x="12451" y="9520"/>
                    <a:pt x="12120" y="9520"/>
                  </a:cubicBezTo>
                  <a:close/>
                  <a:moveTo>
                    <a:pt x="10961" y="4853"/>
                  </a:moveTo>
                  <a:lnTo>
                    <a:pt x="6588" y="479"/>
                  </a:lnTo>
                  <a:cubicBezTo>
                    <a:pt x="6109" y="0"/>
                    <a:pt x="5332" y="0"/>
                    <a:pt x="4853" y="479"/>
                  </a:cubicBezTo>
                  <a:lnTo>
                    <a:pt x="479" y="4853"/>
                  </a:lnTo>
                  <a:cubicBezTo>
                    <a:pt x="0" y="5332"/>
                    <a:pt x="0" y="6108"/>
                    <a:pt x="479" y="6587"/>
                  </a:cubicBezTo>
                  <a:lnTo>
                    <a:pt x="4853" y="10961"/>
                  </a:lnTo>
                  <a:cubicBezTo>
                    <a:pt x="5332" y="11440"/>
                    <a:pt x="6108" y="11440"/>
                    <a:pt x="6587" y="10961"/>
                  </a:cubicBezTo>
                  <a:lnTo>
                    <a:pt x="10961" y="6588"/>
                  </a:lnTo>
                  <a:cubicBezTo>
                    <a:pt x="11440" y="6108"/>
                    <a:pt x="11440" y="5331"/>
                    <a:pt x="10961" y="4853"/>
                  </a:cubicBezTo>
                  <a:close/>
                  <a:moveTo>
                    <a:pt x="2520" y="6320"/>
                  </a:moveTo>
                  <a:cubicBezTo>
                    <a:pt x="2189" y="6320"/>
                    <a:pt x="1920" y="6051"/>
                    <a:pt x="1920" y="5720"/>
                  </a:cubicBezTo>
                  <a:cubicBezTo>
                    <a:pt x="1920" y="5389"/>
                    <a:pt x="2189" y="5120"/>
                    <a:pt x="2520" y="5120"/>
                  </a:cubicBezTo>
                  <a:cubicBezTo>
                    <a:pt x="2851" y="5120"/>
                    <a:pt x="3120" y="5389"/>
                    <a:pt x="3120" y="5720"/>
                  </a:cubicBezTo>
                  <a:cubicBezTo>
                    <a:pt x="3120" y="6051"/>
                    <a:pt x="2851" y="6320"/>
                    <a:pt x="2520" y="6320"/>
                  </a:cubicBezTo>
                  <a:close/>
                  <a:moveTo>
                    <a:pt x="5720" y="9520"/>
                  </a:moveTo>
                  <a:cubicBezTo>
                    <a:pt x="5389" y="9520"/>
                    <a:pt x="5120" y="9251"/>
                    <a:pt x="5120" y="8920"/>
                  </a:cubicBezTo>
                  <a:cubicBezTo>
                    <a:pt x="5120" y="8589"/>
                    <a:pt x="5389" y="8320"/>
                    <a:pt x="5720" y="8320"/>
                  </a:cubicBezTo>
                  <a:cubicBezTo>
                    <a:pt x="6051" y="8320"/>
                    <a:pt x="6320" y="8589"/>
                    <a:pt x="6320" y="8920"/>
                  </a:cubicBezTo>
                  <a:cubicBezTo>
                    <a:pt x="6320" y="9251"/>
                    <a:pt x="6051" y="9520"/>
                    <a:pt x="5720" y="9520"/>
                  </a:cubicBezTo>
                  <a:close/>
                  <a:moveTo>
                    <a:pt x="5720" y="6320"/>
                  </a:moveTo>
                  <a:cubicBezTo>
                    <a:pt x="5389" y="6320"/>
                    <a:pt x="5120" y="6051"/>
                    <a:pt x="5120" y="5720"/>
                  </a:cubicBezTo>
                  <a:cubicBezTo>
                    <a:pt x="5120" y="5389"/>
                    <a:pt x="5389" y="5120"/>
                    <a:pt x="5720" y="5120"/>
                  </a:cubicBezTo>
                  <a:cubicBezTo>
                    <a:pt x="6051" y="5120"/>
                    <a:pt x="6320" y="5389"/>
                    <a:pt x="6320" y="5720"/>
                  </a:cubicBezTo>
                  <a:cubicBezTo>
                    <a:pt x="6320" y="6051"/>
                    <a:pt x="6051" y="6320"/>
                    <a:pt x="5720" y="6320"/>
                  </a:cubicBezTo>
                  <a:close/>
                  <a:moveTo>
                    <a:pt x="5720" y="3120"/>
                  </a:moveTo>
                  <a:cubicBezTo>
                    <a:pt x="5389" y="3120"/>
                    <a:pt x="5120" y="2851"/>
                    <a:pt x="5120" y="2520"/>
                  </a:cubicBezTo>
                  <a:cubicBezTo>
                    <a:pt x="5120" y="2189"/>
                    <a:pt x="5389" y="1920"/>
                    <a:pt x="5720" y="1920"/>
                  </a:cubicBezTo>
                  <a:cubicBezTo>
                    <a:pt x="6051" y="1920"/>
                    <a:pt x="6320" y="2189"/>
                    <a:pt x="6320" y="2520"/>
                  </a:cubicBezTo>
                  <a:cubicBezTo>
                    <a:pt x="6320" y="2851"/>
                    <a:pt x="6051" y="3120"/>
                    <a:pt x="5720" y="3120"/>
                  </a:cubicBezTo>
                  <a:close/>
                  <a:moveTo>
                    <a:pt x="8920" y="6320"/>
                  </a:moveTo>
                  <a:cubicBezTo>
                    <a:pt x="8589" y="6320"/>
                    <a:pt x="8320" y="6051"/>
                    <a:pt x="8320" y="5720"/>
                  </a:cubicBezTo>
                  <a:cubicBezTo>
                    <a:pt x="8320" y="5389"/>
                    <a:pt x="8589" y="5120"/>
                    <a:pt x="8920" y="5120"/>
                  </a:cubicBezTo>
                  <a:cubicBezTo>
                    <a:pt x="9251" y="5120"/>
                    <a:pt x="9520" y="5389"/>
                    <a:pt x="9520" y="5720"/>
                  </a:cubicBezTo>
                  <a:cubicBezTo>
                    <a:pt x="9520" y="6051"/>
                    <a:pt x="9251" y="6320"/>
                    <a:pt x="8920" y="632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grpSp>
        <p:nvGrpSpPr>
          <p:cNvPr id="807" name="Group 806">
            <a:extLst>
              <a:ext uri="{FF2B5EF4-FFF2-40B4-BE49-F238E27FC236}">
                <a16:creationId xmlns:a16="http://schemas.microsoft.com/office/drawing/2014/main" id="{457BDA8C-010C-4038-AEF5-10F0F9C65D37}"/>
              </a:ext>
            </a:extLst>
          </p:cNvPr>
          <p:cNvGrpSpPr/>
          <p:nvPr/>
        </p:nvGrpSpPr>
        <p:grpSpPr>
          <a:xfrm>
            <a:off x="-9795556" y="3231716"/>
            <a:ext cx="6554352" cy="918238"/>
            <a:chOff x="933543" y="3229769"/>
            <a:chExt cx="6554352" cy="918238"/>
          </a:xfrm>
        </p:grpSpPr>
        <p:sp>
          <p:nvSpPr>
            <p:cNvPr id="808" name="ïṧḷîdè">
              <a:extLst>
                <a:ext uri="{FF2B5EF4-FFF2-40B4-BE49-F238E27FC236}">
                  <a16:creationId xmlns:a16="http://schemas.microsoft.com/office/drawing/2014/main" id="{BB411D6C-559D-468B-8896-0B2E4304B3BA}"/>
                </a:ext>
              </a:extLst>
            </p:cNvPr>
            <p:cNvSpPr/>
            <p:nvPr/>
          </p:nvSpPr>
          <p:spPr>
            <a:xfrm>
              <a:off x="933543" y="3349551"/>
              <a:ext cx="738756" cy="738756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000" b="1" dirty="0">
                  <a:solidFill>
                    <a:schemeClr val="bg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2000" b="1" dirty="0">
                  <a:solidFill>
                    <a:schemeClr val="bg1"/>
                  </a:solidFill>
                </a:rPr>
                <a:t>2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809" name="iconfont-11253-5327531">
              <a:extLst>
                <a:ext uri="{FF2B5EF4-FFF2-40B4-BE49-F238E27FC236}">
                  <a16:creationId xmlns:a16="http://schemas.microsoft.com/office/drawing/2014/main" id="{080A3C2F-3C36-4FBA-A614-37D4BC82F13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38265" y="3483918"/>
              <a:ext cx="609685" cy="604389"/>
            </a:xfrm>
            <a:custGeom>
              <a:avLst/>
              <a:gdLst>
                <a:gd name="T0" fmla="*/ 9994 w 10075"/>
                <a:gd name="T1" fmla="*/ 278 h 9987"/>
                <a:gd name="T2" fmla="*/ 9894 w 10075"/>
                <a:gd name="T3" fmla="*/ 774 h 9987"/>
                <a:gd name="T4" fmla="*/ 6397 w 10075"/>
                <a:gd name="T5" fmla="*/ 4270 h 9987"/>
                <a:gd name="T6" fmla="*/ 6397 w 10075"/>
                <a:gd name="T7" fmla="*/ 9532 h 9987"/>
                <a:gd name="T8" fmla="*/ 6121 w 10075"/>
                <a:gd name="T9" fmla="*/ 9950 h 9987"/>
                <a:gd name="T10" fmla="*/ 5943 w 10075"/>
                <a:gd name="T11" fmla="*/ 9987 h 9987"/>
                <a:gd name="T12" fmla="*/ 5625 w 10075"/>
                <a:gd name="T13" fmla="*/ 9853 h 9987"/>
                <a:gd name="T14" fmla="*/ 3809 w 10075"/>
                <a:gd name="T15" fmla="*/ 8034 h 9987"/>
                <a:gd name="T16" fmla="*/ 3675 w 10075"/>
                <a:gd name="T17" fmla="*/ 7715 h 9987"/>
                <a:gd name="T18" fmla="*/ 3675 w 10075"/>
                <a:gd name="T19" fmla="*/ 4270 h 9987"/>
                <a:gd name="T20" fmla="*/ 179 w 10075"/>
                <a:gd name="T21" fmla="*/ 774 h 9987"/>
                <a:gd name="T22" fmla="*/ 79 w 10075"/>
                <a:gd name="T23" fmla="*/ 278 h 9987"/>
                <a:gd name="T24" fmla="*/ 497 w 10075"/>
                <a:gd name="T25" fmla="*/ 2 h 9987"/>
                <a:gd name="T26" fmla="*/ 9574 w 10075"/>
                <a:gd name="T27" fmla="*/ 2 h 9987"/>
                <a:gd name="T28" fmla="*/ 9994 w 10075"/>
                <a:gd name="T29" fmla="*/ 278 h 9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075" h="9987">
                  <a:moveTo>
                    <a:pt x="9994" y="278"/>
                  </a:moveTo>
                  <a:cubicBezTo>
                    <a:pt x="10075" y="471"/>
                    <a:pt x="10041" y="638"/>
                    <a:pt x="9894" y="774"/>
                  </a:cubicBezTo>
                  <a:lnTo>
                    <a:pt x="6397" y="4270"/>
                  </a:lnTo>
                  <a:lnTo>
                    <a:pt x="6397" y="9532"/>
                  </a:lnTo>
                  <a:cubicBezTo>
                    <a:pt x="6397" y="9729"/>
                    <a:pt x="6305" y="9870"/>
                    <a:pt x="6121" y="9950"/>
                  </a:cubicBezTo>
                  <a:cubicBezTo>
                    <a:pt x="6060" y="9975"/>
                    <a:pt x="6000" y="9987"/>
                    <a:pt x="5943" y="9987"/>
                  </a:cubicBezTo>
                  <a:cubicBezTo>
                    <a:pt x="5815" y="9987"/>
                    <a:pt x="5710" y="9942"/>
                    <a:pt x="5625" y="9853"/>
                  </a:cubicBezTo>
                  <a:lnTo>
                    <a:pt x="3809" y="8034"/>
                  </a:lnTo>
                  <a:cubicBezTo>
                    <a:pt x="3719" y="7944"/>
                    <a:pt x="3675" y="7838"/>
                    <a:pt x="3675" y="7715"/>
                  </a:cubicBezTo>
                  <a:lnTo>
                    <a:pt x="3675" y="4270"/>
                  </a:lnTo>
                  <a:lnTo>
                    <a:pt x="179" y="774"/>
                  </a:lnTo>
                  <a:cubicBezTo>
                    <a:pt x="32" y="637"/>
                    <a:pt x="0" y="472"/>
                    <a:pt x="79" y="278"/>
                  </a:cubicBezTo>
                  <a:cubicBezTo>
                    <a:pt x="160" y="93"/>
                    <a:pt x="297" y="2"/>
                    <a:pt x="497" y="2"/>
                  </a:cubicBezTo>
                  <a:lnTo>
                    <a:pt x="9574" y="2"/>
                  </a:lnTo>
                  <a:cubicBezTo>
                    <a:pt x="9774" y="0"/>
                    <a:pt x="9914" y="93"/>
                    <a:pt x="9994" y="27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810" name="íṣḻïďe">
              <a:extLst>
                <a:ext uri="{FF2B5EF4-FFF2-40B4-BE49-F238E27FC236}">
                  <a16:creationId xmlns:a16="http://schemas.microsoft.com/office/drawing/2014/main" id="{DA7E70E4-E0C4-4B27-90C6-43ECB962D73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90611" y="3229769"/>
              <a:ext cx="4797284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sz="2400" b="1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Choose Top 6</a:t>
              </a:r>
            </a:p>
          </p:txBody>
        </p:sp>
        <p:sp>
          <p:nvSpPr>
            <p:cNvPr id="811" name="îSḷïḑê">
              <a:extLst>
                <a:ext uri="{FF2B5EF4-FFF2-40B4-BE49-F238E27FC236}">
                  <a16:creationId xmlns:a16="http://schemas.microsoft.com/office/drawing/2014/main" id="{A2744AC6-81AD-4516-9222-14502E558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611" y="3675402"/>
              <a:ext cx="4797284" cy="4726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0, 1, 1, …, 0]</a:t>
              </a:r>
            </a:p>
          </p:txBody>
        </p:sp>
      </p:grpSp>
      <p:grpSp>
        <p:nvGrpSpPr>
          <p:cNvPr id="812" name="Group 811">
            <a:extLst>
              <a:ext uri="{FF2B5EF4-FFF2-40B4-BE49-F238E27FC236}">
                <a16:creationId xmlns:a16="http://schemas.microsoft.com/office/drawing/2014/main" id="{F5BF0DED-512C-4092-9EF8-C0FD59E84FF0}"/>
              </a:ext>
            </a:extLst>
          </p:cNvPr>
          <p:cNvGrpSpPr/>
          <p:nvPr/>
        </p:nvGrpSpPr>
        <p:grpSpPr>
          <a:xfrm>
            <a:off x="-12803799" y="4697142"/>
            <a:ext cx="6554352" cy="918238"/>
            <a:chOff x="933543" y="5156366"/>
            <a:chExt cx="6554352" cy="918238"/>
          </a:xfrm>
        </p:grpSpPr>
        <p:sp>
          <p:nvSpPr>
            <p:cNvPr id="813" name="íSḷîḍê">
              <a:extLst>
                <a:ext uri="{FF2B5EF4-FFF2-40B4-BE49-F238E27FC236}">
                  <a16:creationId xmlns:a16="http://schemas.microsoft.com/office/drawing/2014/main" id="{1B5800BC-594C-4E7D-B7FC-29BED12E88B1}"/>
                </a:ext>
              </a:extLst>
            </p:cNvPr>
            <p:cNvSpPr/>
            <p:nvPr/>
          </p:nvSpPr>
          <p:spPr>
            <a:xfrm>
              <a:off x="933543" y="5335848"/>
              <a:ext cx="738756" cy="738756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0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000" b="1">
                  <a:solidFill>
                    <a:schemeClr val="bg1"/>
                  </a:solidFill>
                </a:rPr>
                <a:t>3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814" name="binary-code_288855">
              <a:extLst>
                <a:ext uri="{FF2B5EF4-FFF2-40B4-BE49-F238E27FC236}">
                  <a16:creationId xmlns:a16="http://schemas.microsoft.com/office/drawing/2014/main" id="{D7E53EAA-F7F1-4C30-9007-6859F15268D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08207" y="5400383"/>
              <a:ext cx="457936" cy="609685"/>
            </a:xfrm>
            <a:custGeom>
              <a:avLst/>
              <a:gdLst>
                <a:gd name="connsiteX0" fmla="*/ 177190 w 455711"/>
                <a:gd name="connsiteY0" fmla="*/ 429814 h 606722"/>
                <a:gd name="connsiteX1" fmla="*/ 202594 w 455711"/>
                <a:gd name="connsiteY1" fmla="*/ 429814 h 606722"/>
                <a:gd name="connsiteX2" fmla="*/ 202594 w 455711"/>
                <a:gd name="connsiteY2" fmla="*/ 480268 h 606722"/>
                <a:gd name="connsiteX3" fmla="*/ 177190 w 455711"/>
                <a:gd name="connsiteY3" fmla="*/ 480268 h 606722"/>
                <a:gd name="connsiteX4" fmla="*/ 372224 w 455711"/>
                <a:gd name="connsiteY4" fmla="*/ 404452 h 606722"/>
                <a:gd name="connsiteX5" fmla="*/ 359496 w 455711"/>
                <a:gd name="connsiteY5" fmla="*/ 407029 h 606722"/>
                <a:gd name="connsiteX6" fmla="*/ 334218 w 455711"/>
                <a:gd name="connsiteY6" fmla="*/ 432268 h 606722"/>
                <a:gd name="connsiteX7" fmla="*/ 334218 w 455711"/>
                <a:gd name="connsiteY7" fmla="*/ 449954 h 606722"/>
                <a:gd name="connsiteX8" fmla="*/ 351930 w 455711"/>
                <a:gd name="connsiteY8" fmla="*/ 449954 h 606722"/>
                <a:gd name="connsiteX9" fmla="*/ 354511 w 455711"/>
                <a:gd name="connsiteY9" fmla="*/ 447465 h 606722"/>
                <a:gd name="connsiteX10" fmla="*/ 354511 w 455711"/>
                <a:gd name="connsiteY10" fmla="*/ 492967 h 606722"/>
                <a:gd name="connsiteX11" fmla="*/ 367150 w 455711"/>
                <a:gd name="connsiteY11" fmla="*/ 505587 h 606722"/>
                <a:gd name="connsiteX12" fmla="*/ 379789 w 455711"/>
                <a:gd name="connsiteY12" fmla="*/ 492967 h 606722"/>
                <a:gd name="connsiteX13" fmla="*/ 379789 w 455711"/>
                <a:gd name="connsiteY13" fmla="*/ 417071 h 606722"/>
                <a:gd name="connsiteX14" fmla="*/ 372224 w 455711"/>
                <a:gd name="connsiteY14" fmla="*/ 404452 h 606722"/>
                <a:gd name="connsiteX15" fmla="*/ 164572 w 455711"/>
                <a:gd name="connsiteY15" fmla="*/ 404452 h 606722"/>
                <a:gd name="connsiteX16" fmla="*/ 151934 w 455711"/>
                <a:gd name="connsiteY16" fmla="*/ 417071 h 606722"/>
                <a:gd name="connsiteX17" fmla="*/ 151934 w 455711"/>
                <a:gd name="connsiteY17" fmla="*/ 492967 h 606722"/>
                <a:gd name="connsiteX18" fmla="*/ 164572 w 455711"/>
                <a:gd name="connsiteY18" fmla="*/ 505587 h 606722"/>
                <a:gd name="connsiteX19" fmla="*/ 215217 w 455711"/>
                <a:gd name="connsiteY19" fmla="*/ 505587 h 606722"/>
                <a:gd name="connsiteX20" fmla="*/ 227856 w 455711"/>
                <a:gd name="connsiteY20" fmla="*/ 492967 h 606722"/>
                <a:gd name="connsiteX21" fmla="*/ 227856 w 455711"/>
                <a:gd name="connsiteY21" fmla="*/ 417071 h 606722"/>
                <a:gd name="connsiteX22" fmla="*/ 215217 w 455711"/>
                <a:gd name="connsiteY22" fmla="*/ 404452 h 606722"/>
                <a:gd name="connsiteX23" fmla="*/ 289926 w 455711"/>
                <a:gd name="connsiteY23" fmla="*/ 403841 h 606722"/>
                <a:gd name="connsiteX24" fmla="*/ 283574 w 455711"/>
                <a:gd name="connsiteY24" fmla="*/ 407029 h 606722"/>
                <a:gd name="connsiteX25" fmla="*/ 258296 w 455711"/>
                <a:gd name="connsiteY25" fmla="*/ 432268 h 606722"/>
                <a:gd name="connsiteX26" fmla="*/ 258296 w 455711"/>
                <a:gd name="connsiteY26" fmla="*/ 449954 h 606722"/>
                <a:gd name="connsiteX27" fmla="*/ 276008 w 455711"/>
                <a:gd name="connsiteY27" fmla="*/ 449954 h 606722"/>
                <a:gd name="connsiteX28" fmla="*/ 278500 w 455711"/>
                <a:gd name="connsiteY28" fmla="*/ 447465 h 606722"/>
                <a:gd name="connsiteX29" fmla="*/ 278500 w 455711"/>
                <a:gd name="connsiteY29" fmla="*/ 492967 h 606722"/>
                <a:gd name="connsiteX30" fmla="*/ 291139 w 455711"/>
                <a:gd name="connsiteY30" fmla="*/ 505587 h 606722"/>
                <a:gd name="connsiteX31" fmla="*/ 303867 w 455711"/>
                <a:gd name="connsiteY31" fmla="*/ 492967 h 606722"/>
                <a:gd name="connsiteX32" fmla="*/ 303867 w 455711"/>
                <a:gd name="connsiteY32" fmla="*/ 417071 h 606722"/>
                <a:gd name="connsiteX33" fmla="*/ 296212 w 455711"/>
                <a:gd name="connsiteY33" fmla="*/ 404452 h 606722"/>
                <a:gd name="connsiteX34" fmla="*/ 289926 w 455711"/>
                <a:gd name="connsiteY34" fmla="*/ 403841 h 606722"/>
                <a:gd name="connsiteX35" fmla="*/ 112682 w 455711"/>
                <a:gd name="connsiteY35" fmla="*/ 403841 h 606722"/>
                <a:gd name="connsiteX36" fmla="*/ 106362 w 455711"/>
                <a:gd name="connsiteY36" fmla="*/ 407029 h 606722"/>
                <a:gd name="connsiteX37" fmla="*/ 81084 w 455711"/>
                <a:gd name="connsiteY37" fmla="*/ 432268 h 606722"/>
                <a:gd name="connsiteX38" fmla="*/ 81084 w 455711"/>
                <a:gd name="connsiteY38" fmla="*/ 449954 h 606722"/>
                <a:gd name="connsiteX39" fmla="*/ 98796 w 455711"/>
                <a:gd name="connsiteY39" fmla="*/ 449954 h 606722"/>
                <a:gd name="connsiteX40" fmla="*/ 101289 w 455711"/>
                <a:gd name="connsiteY40" fmla="*/ 447465 h 606722"/>
                <a:gd name="connsiteX41" fmla="*/ 101289 w 455711"/>
                <a:gd name="connsiteY41" fmla="*/ 492967 h 606722"/>
                <a:gd name="connsiteX42" fmla="*/ 113928 w 455711"/>
                <a:gd name="connsiteY42" fmla="*/ 505587 h 606722"/>
                <a:gd name="connsiteX43" fmla="*/ 126656 w 455711"/>
                <a:gd name="connsiteY43" fmla="*/ 492967 h 606722"/>
                <a:gd name="connsiteX44" fmla="*/ 126656 w 455711"/>
                <a:gd name="connsiteY44" fmla="*/ 417071 h 606722"/>
                <a:gd name="connsiteX45" fmla="*/ 119001 w 455711"/>
                <a:gd name="connsiteY45" fmla="*/ 404452 h 606722"/>
                <a:gd name="connsiteX46" fmla="*/ 112682 w 455711"/>
                <a:gd name="connsiteY46" fmla="*/ 403841 h 606722"/>
                <a:gd name="connsiteX47" fmla="*/ 101261 w 455711"/>
                <a:gd name="connsiteY47" fmla="*/ 278099 h 606722"/>
                <a:gd name="connsiteX48" fmla="*/ 126665 w 455711"/>
                <a:gd name="connsiteY48" fmla="*/ 278099 h 606722"/>
                <a:gd name="connsiteX49" fmla="*/ 126665 w 455711"/>
                <a:gd name="connsiteY49" fmla="*/ 328624 h 606722"/>
                <a:gd name="connsiteX50" fmla="*/ 101261 w 455711"/>
                <a:gd name="connsiteY50" fmla="*/ 328624 h 606722"/>
                <a:gd name="connsiteX51" fmla="*/ 372224 w 455711"/>
                <a:gd name="connsiteY51" fmla="*/ 252749 h 606722"/>
                <a:gd name="connsiteX52" fmla="*/ 359496 w 455711"/>
                <a:gd name="connsiteY52" fmla="*/ 255326 h 606722"/>
                <a:gd name="connsiteX53" fmla="*/ 334218 w 455711"/>
                <a:gd name="connsiteY53" fmla="*/ 280566 h 606722"/>
                <a:gd name="connsiteX54" fmla="*/ 334218 w 455711"/>
                <a:gd name="connsiteY54" fmla="*/ 298251 h 606722"/>
                <a:gd name="connsiteX55" fmla="*/ 351930 w 455711"/>
                <a:gd name="connsiteY55" fmla="*/ 298251 h 606722"/>
                <a:gd name="connsiteX56" fmla="*/ 354511 w 455711"/>
                <a:gd name="connsiteY56" fmla="*/ 295763 h 606722"/>
                <a:gd name="connsiteX57" fmla="*/ 354511 w 455711"/>
                <a:gd name="connsiteY57" fmla="*/ 341264 h 606722"/>
                <a:gd name="connsiteX58" fmla="*/ 367150 w 455711"/>
                <a:gd name="connsiteY58" fmla="*/ 353884 h 606722"/>
                <a:gd name="connsiteX59" fmla="*/ 379789 w 455711"/>
                <a:gd name="connsiteY59" fmla="*/ 341264 h 606722"/>
                <a:gd name="connsiteX60" fmla="*/ 379789 w 455711"/>
                <a:gd name="connsiteY60" fmla="*/ 265458 h 606722"/>
                <a:gd name="connsiteX61" fmla="*/ 372224 w 455711"/>
                <a:gd name="connsiteY61" fmla="*/ 252749 h 606722"/>
                <a:gd name="connsiteX62" fmla="*/ 88650 w 455711"/>
                <a:gd name="connsiteY62" fmla="*/ 252749 h 606722"/>
                <a:gd name="connsiteX63" fmla="*/ 76011 w 455711"/>
                <a:gd name="connsiteY63" fmla="*/ 265458 h 606722"/>
                <a:gd name="connsiteX64" fmla="*/ 76011 w 455711"/>
                <a:gd name="connsiteY64" fmla="*/ 341264 h 606722"/>
                <a:gd name="connsiteX65" fmla="*/ 88650 w 455711"/>
                <a:gd name="connsiteY65" fmla="*/ 353884 h 606722"/>
                <a:gd name="connsiteX66" fmla="*/ 139295 w 455711"/>
                <a:gd name="connsiteY66" fmla="*/ 353884 h 606722"/>
                <a:gd name="connsiteX67" fmla="*/ 151934 w 455711"/>
                <a:gd name="connsiteY67" fmla="*/ 341264 h 606722"/>
                <a:gd name="connsiteX68" fmla="*/ 151934 w 455711"/>
                <a:gd name="connsiteY68" fmla="*/ 265458 h 606722"/>
                <a:gd name="connsiteX69" fmla="*/ 139295 w 455711"/>
                <a:gd name="connsiteY69" fmla="*/ 252749 h 606722"/>
                <a:gd name="connsiteX70" fmla="*/ 289926 w 455711"/>
                <a:gd name="connsiteY70" fmla="*/ 252138 h 606722"/>
                <a:gd name="connsiteX71" fmla="*/ 283574 w 455711"/>
                <a:gd name="connsiteY71" fmla="*/ 255326 h 606722"/>
                <a:gd name="connsiteX72" fmla="*/ 258296 w 455711"/>
                <a:gd name="connsiteY72" fmla="*/ 280566 h 606722"/>
                <a:gd name="connsiteX73" fmla="*/ 258296 w 455711"/>
                <a:gd name="connsiteY73" fmla="*/ 298251 h 606722"/>
                <a:gd name="connsiteX74" fmla="*/ 276008 w 455711"/>
                <a:gd name="connsiteY74" fmla="*/ 298251 h 606722"/>
                <a:gd name="connsiteX75" fmla="*/ 278500 w 455711"/>
                <a:gd name="connsiteY75" fmla="*/ 295763 h 606722"/>
                <a:gd name="connsiteX76" fmla="*/ 278500 w 455711"/>
                <a:gd name="connsiteY76" fmla="*/ 341264 h 606722"/>
                <a:gd name="connsiteX77" fmla="*/ 291139 w 455711"/>
                <a:gd name="connsiteY77" fmla="*/ 353884 h 606722"/>
                <a:gd name="connsiteX78" fmla="*/ 303867 w 455711"/>
                <a:gd name="connsiteY78" fmla="*/ 341264 h 606722"/>
                <a:gd name="connsiteX79" fmla="*/ 303867 w 455711"/>
                <a:gd name="connsiteY79" fmla="*/ 265458 h 606722"/>
                <a:gd name="connsiteX80" fmla="*/ 296212 w 455711"/>
                <a:gd name="connsiteY80" fmla="*/ 252749 h 606722"/>
                <a:gd name="connsiteX81" fmla="*/ 289926 w 455711"/>
                <a:gd name="connsiteY81" fmla="*/ 252138 h 606722"/>
                <a:gd name="connsiteX82" fmla="*/ 213971 w 455711"/>
                <a:gd name="connsiteY82" fmla="*/ 252138 h 606722"/>
                <a:gd name="connsiteX83" fmla="*/ 207651 w 455711"/>
                <a:gd name="connsiteY83" fmla="*/ 255326 h 606722"/>
                <a:gd name="connsiteX84" fmla="*/ 182285 w 455711"/>
                <a:gd name="connsiteY84" fmla="*/ 280566 h 606722"/>
                <a:gd name="connsiteX85" fmla="*/ 182285 w 455711"/>
                <a:gd name="connsiteY85" fmla="*/ 298251 h 606722"/>
                <a:gd name="connsiteX86" fmla="*/ 199997 w 455711"/>
                <a:gd name="connsiteY86" fmla="*/ 298251 h 606722"/>
                <a:gd name="connsiteX87" fmla="*/ 202578 w 455711"/>
                <a:gd name="connsiteY87" fmla="*/ 295763 h 606722"/>
                <a:gd name="connsiteX88" fmla="*/ 202578 w 455711"/>
                <a:gd name="connsiteY88" fmla="*/ 341264 h 606722"/>
                <a:gd name="connsiteX89" fmla="*/ 215217 w 455711"/>
                <a:gd name="connsiteY89" fmla="*/ 353884 h 606722"/>
                <a:gd name="connsiteX90" fmla="*/ 227856 w 455711"/>
                <a:gd name="connsiteY90" fmla="*/ 341264 h 606722"/>
                <a:gd name="connsiteX91" fmla="*/ 227856 w 455711"/>
                <a:gd name="connsiteY91" fmla="*/ 265458 h 606722"/>
                <a:gd name="connsiteX92" fmla="*/ 220290 w 455711"/>
                <a:gd name="connsiteY92" fmla="*/ 252749 h 606722"/>
                <a:gd name="connsiteX93" fmla="*/ 213971 w 455711"/>
                <a:gd name="connsiteY93" fmla="*/ 252138 h 606722"/>
                <a:gd name="connsiteX94" fmla="*/ 151934 w 455711"/>
                <a:gd name="connsiteY94" fmla="*/ 43014 h 606722"/>
                <a:gd name="connsiteX95" fmla="*/ 43079 w 455711"/>
                <a:gd name="connsiteY95" fmla="*/ 151703 h 606722"/>
                <a:gd name="connsiteX96" fmla="*/ 151934 w 455711"/>
                <a:gd name="connsiteY96" fmla="*/ 151703 h 606722"/>
                <a:gd name="connsiteX97" fmla="*/ 159499 w 455711"/>
                <a:gd name="connsiteY97" fmla="*/ 0 h 606722"/>
                <a:gd name="connsiteX98" fmla="*/ 162080 w 455711"/>
                <a:gd name="connsiteY98" fmla="*/ 0 h 606722"/>
                <a:gd name="connsiteX99" fmla="*/ 164572 w 455711"/>
                <a:gd name="connsiteY99" fmla="*/ 0 h 606722"/>
                <a:gd name="connsiteX100" fmla="*/ 443072 w 455711"/>
                <a:gd name="connsiteY100" fmla="*/ 0 h 606722"/>
                <a:gd name="connsiteX101" fmla="*/ 455711 w 455711"/>
                <a:gd name="connsiteY101" fmla="*/ 12620 h 606722"/>
                <a:gd name="connsiteX102" fmla="*/ 455711 w 455711"/>
                <a:gd name="connsiteY102" fmla="*/ 594013 h 606722"/>
                <a:gd name="connsiteX103" fmla="*/ 443072 w 455711"/>
                <a:gd name="connsiteY103" fmla="*/ 606722 h 606722"/>
                <a:gd name="connsiteX104" fmla="*/ 12728 w 455711"/>
                <a:gd name="connsiteY104" fmla="*/ 606722 h 606722"/>
                <a:gd name="connsiteX105" fmla="*/ 0 w 455711"/>
                <a:gd name="connsiteY105" fmla="*/ 594013 h 606722"/>
                <a:gd name="connsiteX106" fmla="*/ 0 w 455711"/>
                <a:gd name="connsiteY106" fmla="*/ 164322 h 606722"/>
                <a:gd name="connsiteX107" fmla="*/ 0 w 455711"/>
                <a:gd name="connsiteY107" fmla="*/ 161745 h 606722"/>
                <a:gd name="connsiteX108" fmla="*/ 0 w 455711"/>
                <a:gd name="connsiteY108" fmla="*/ 159257 h 606722"/>
                <a:gd name="connsiteX109" fmla="*/ 2581 w 455711"/>
                <a:gd name="connsiteY109" fmla="*/ 154191 h 606722"/>
                <a:gd name="connsiteX110" fmla="*/ 154426 w 455711"/>
                <a:gd name="connsiteY110" fmla="*/ 2488 h 606722"/>
                <a:gd name="connsiteX111" fmla="*/ 159499 w 455711"/>
                <a:gd name="connsiteY111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455711" h="606722">
                  <a:moveTo>
                    <a:pt x="177190" y="429814"/>
                  </a:moveTo>
                  <a:lnTo>
                    <a:pt x="202594" y="429814"/>
                  </a:lnTo>
                  <a:lnTo>
                    <a:pt x="202594" y="480268"/>
                  </a:lnTo>
                  <a:lnTo>
                    <a:pt x="177190" y="480268"/>
                  </a:lnTo>
                  <a:close/>
                  <a:moveTo>
                    <a:pt x="372224" y="404452"/>
                  </a:moveTo>
                  <a:cubicBezTo>
                    <a:pt x="369642" y="401963"/>
                    <a:pt x="362077" y="404452"/>
                    <a:pt x="359496" y="407029"/>
                  </a:cubicBezTo>
                  <a:lnTo>
                    <a:pt x="334218" y="432268"/>
                  </a:lnTo>
                  <a:cubicBezTo>
                    <a:pt x="329145" y="437334"/>
                    <a:pt x="329145" y="444888"/>
                    <a:pt x="334218" y="449954"/>
                  </a:cubicBezTo>
                  <a:cubicBezTo>
                    <a:pt x="339291" y="455019"/>
                    <a:pt x="346857" y="455019"/>
                    <a:pt x="351930" y="449954"/>
                  </a:cubicBezTo>
                  <a:lnTo>
                    <a:pt x="354511" y="447465"/>
                  </a:lnTo>
                  <a:lnTo>
                    <a:pt x="354511" y="492967"/>
                  </a:lnTo>
                  <a:cubicBezTo>
                    <a:pt x="354511" y="500521"/>
                    <a:pt x="359496" y="505587"/>
                    <a:pt x="367150" y="505587"/>
                  </a:cubicBezTo>
                  <a:cubicBezTo>
                    <a:pt x="374716" y="505587"/>
                    <a:pt x="379789" y="500521"/>
                    <a:pt x="379789" y="492967"/>
                  </a:cubicBezTo>
                  <a:lnTo>
                    <a:pt x="379789" y="417071"/>
                  </a:lnTo>
                  <a:cubicBezTo>
                    <a:pt x="379789" y="412006"/>
                    <a:pt x="377297" y="407029"/>
                    <a:pt x="372224" y="404452"/>
                  </a:cubicBezTo>
                  <a:close/>
                  <a:moveTo>
                    <a:pt x="164572" y="404452"/>
                  </a:moveTo>
                  <a:cubicBezTo>
                    <a:pt x="157007" y="404452"/>
                    <a:pt x="151934" y="409517"/>
                    <a:pt x="151934" y="417071"/>
                  </a:cubicBezTo>
                  <a:lnTo>
                    <a:pt x="151934" y="492967"/>
                  </a:lnTo>
                  <a:cubicBezTo>
                    <a:pt x="151934" y="500521"/>
                    <a:pt x="157007" y="505587"/>
                    <a:pt x="164572" y="505587"/>
                  </a:cubicBezTo>
                  <a:lnTo>
                    <a:pt x="215217" y="505587"/>
                  </a:lnTo>
                  <a:cubicBezTo>
                    <a:pt x="222782" y="505587"/>
                    <a:pt x="227856" y="500521"/>
                    <a:pt x="227856" y="492967"/>
                  </a:cubicBezTo>
                  <a:lnTo>
                    <a:pt x="227856" y="417071"/>
                  </a:lnTo>
                  <a:cubicBezTo>
                    <a:pt x="227856" y="409517"/>
                    <a:pt x="222782" y="404452"/>
                    <a:pt x="215217" y="404452"/>
                  </a:cubicBezTo>
                  <a:close/>
                  <a:moveTo>
                    <a:pt x="289926" y="403841"/>
                  </a:moveTo>
                  <a:cubicBezTo>
                    <a:pt x="287401" y="404474"/>
                    <a:pt x="284864" y="405740"/>
                    <a:pt x="283574" y="407029"/>
                  </a:cubicBezTo>
                  <a:lnTo>
                    <a:pt x="258296" y="432268"/>
                  </a:lnTo>
                  <a:cubicBezTo>
                    <a:pt x="253222" y="437334"/>
                    <a:pt x="253222" y="444888"/>
                    <a:pt x="258296" y="449954"/>
                  </a:cubicBezTo>
                  <a:cubicBezTo>
                    <a:pt x="263369" y="455019"/>
                    <a:pt x="270935" y="455019"/>
                    <a:pt x="276008" y="449954"/>
                  </a:cubicBezTo>
                  <a:lnTo>
                    <a:pt x="278500" y="447465"/>
                  </a:lnTo>
                  <a:lnTo>
                    <a:pt x="278500" y="492967"/>
                  </a:lnTo>
                  <a:cubicBezTo>
                    <a:pt x="278500" y="500521"/>
                    <a:pt x="283574" y="505587"/>
                    <a:pt x="291139" y="505587"/>
                  </a:cubicBezTo>
                  <a:cubicBezTo>
                    <a:pt x="298794" y="505587"/>
                    <a:pt x="303867" y="500521"/>
                    <a:pt x="303867" y="492967"/>
                  </a:cubicBezTo>
                  <a:lnTo>
                    <a:pt x="303867" y="417071"/>
                  </a:lnTo>
                  <a:cubicBezTo>
                    <a:pt x="303867" y="412006"/>
                    <a:pt x="301286" y="407029"/>
                    <a:pt x="296212" y="404452"/>
                  </a:cubicBezTo>
                  <a:cubicBezTo>
                    <a:pt x="294966" y="403207"/>
                    <a:pt x="292452" y="403207"/>
                    <a:pt x="289926" y="403841"/>
                  </a:cubicBezTo>
                  <a:close/>
                  <a:moveTo>
                    <a:pt x="112682" y="403841"/>
                  </a:moveTo>
                  <a:cubicBezTo>
                    <a:pt x="110145" y="404474"/>
                    <a:pt x="107609" y="405740"/>
                    <a:pt x="106362" y="407029"/>
                  </a:cubicBezTo>
                  <a:lnTo>
                    <a:pt x="81084" y="432268"/>
                  </a:lnTo>
                  <a:cubicBezTo>
                    <a:pt x="76011" y="437334"/>
                    <a:pt x="76011" y="444888"/>
                    <a:pt x="81084" y="449954"/>
                  </a:cubicBezTo>
                  <a:cubicBezTo>
                    <a:pt x="86069" y="455019"/>
                    <a:pt x="93723" y="455019"/>
                    <a:pt x="98796" y="449954"/>
                  </a:cubicBezTo>
                  <a:lnTo>
                    <a:pt x="101289" y="447465"/>
                  </a:lnTo>
                  <a:lnTo>
                    <a:pt x="101289" y="492967"/>
                  </a:lnTo>
                  <a:cubicBezTo>
                    <a:pt x="101289" y="500521"/>
                    <a:pt x="106362" y="505587"/>
                    <a:pt x="113928" y="505587"/>
                  </a:cubicBezTo>
                  <a:cubicBezTo>
                    <a:pt x="121583" y="505587"/>
                    <a:pt x="126656" y="500521"/>
                    <a:pt x="126656" y="492967"/>
                  </a:cubicBezTo>
                  <a:lnTo>
                    <a:pt x="126656" y="417071"/>
                  </a:lnTo>
                  <a:cubicBezTo>
                    <a:pt x="126656" y="412006"/>
                    <a:pt x="124075" y="407029"/>
                    <a:pt x="119001" y="404452"/>
                  </a:cubicBezTo>
                  <a:cubicBezTo>
                    <a:pt x="117755" y="403207"/>
                    <a:pt x="115219" y="403207"/>
                    <a:pt x="112682" y="403841"/>
                  </a:cubicBezTo>
                  <a:close/>
                  <a:moveTo>
                    <a:pt x="101261" y="278099"/>
                  </a:moveTo>
                  <a:lnTo>
                    <a:pt x="126665" y="278099"/>
                  </a:lnTo>
                  <a:lnTo>
                    <a:pt x="126665" y="328624"/>
                  </a:lnTo>
                  <a:lnTo>
                    <a:pt x="101261" y="328624"/>
                  </a:lnTo>
                  <a:close/>
                  <a:moveTo>
                    <a:pt x="372224" y="252749"/>
                  </a:moveTo>
                  <a:cubicBezTo>
                    <a:pt x="369642" y="250261"/>
                    <a:pt x="362077" y="252749"/>
                    <a:pt x="359496" y="255326"/>
                  </a:cubicBezTo>
                  <a:lnTo>
                    <a:pt x="334218" y="280566"/>
                  </a:lnTo>
                  <a:cubicBezTo>
                    <a:pt x="329145" y="285631"/>
                    <a:pt x="329145" y="293274"/>
                    <a:pt x="334218" y="298251"/>
                  </a:cubicBezTo>
                  <a:cubicBezTo>
                    <a:pt x="339291" y="303317"/>
                    <a:pt x="346857" y="303317"/>
                    <a:pt x="351930" y="298251"/>
                  </a:cubicBezTo>
                  <a:lnTo>
                    <a:pt x="354511" y="295763"/>
                  </a:lnTo>
                  <a:lnTo>
                    <a:pt x="354511" y="341264"/>
                  </a:lnTo>
                  <a:cubicBezTo>
                    <a:pt x="354511" y="348819"/>
                    <a:pt x="359496" y="353884"/>
                    <a:pt x="367150" y="353884"/>
                  </a:cubicBezTo>
                  <a:cubicBezTo>
                    <a:pt x="374716" y="353884"/>
                    <a:pt x="379789" y="348819"/>
                    <a:pt x="379789" y="341264"/>
                  </a:cubicBezTo>
                  <a:lnTo>
                    <a:pt x="379789" y="265458"/>
                  </a:lnTo>
                  <a:cubicBezTo>
                    <a:pt x="379789" y="260392"/>
                    <a:pt x="377297" y="255326"/>
                    <a:pt x="372224" y="252749"/>
                  </a:cubicBezTo>
                  <a:close/>
                  <a:moveTo>
                    <a:pt x="88650" y="252749"/>
                  </a:moveTo>
                  <a:cubicBezTo>
                    <a:pt x="81084" y="252749"/>
                    <a:pt x="76011" y="257815"/>
                    <a:pt x="76011" y="265458"/>
                  </a:cubicBezTo>
                  <a:lnTo>
                    <a:pt x="76011" y="341264"/>
                  </a:lnTo>
                  <a:cubicBezTo>
                    <a:pt x="76011" y="348819"/>
                    <a:pt x="81084" y="353884"/>
                    <a:pt x="88650" y="353884"/>
                  </a:cubicBezTo>
                  <a:lnTo>
                    <a:pt x="139295" y="353884"/>
                  </a:lnTo>
                  <a:cubicBezTo>
                    <a:pt x="146860" y="353884"/>
                    <a:pt x="151934" y="348819"/>
                    <a:pt x="151934" y="341264"/>
                  </a:cubicBezTo>
                  <a:lnTo>
                    <a:pt x="151934" y="265458"/>
                  </a:lnTo>
                  <a:cubicBezTo>
                    <a:pt x="151934" y="257815"/>
                    <a:pt x="146860" y="252749"/>
                    <a:pt x="139295" y="252749"/>
                  </a:cubicBezTo>
                  <a:close/>
                  <a:moveTo>
                    <a:pt x="289926" y="252138"/>
                  </a:moveTo>
                  <a:cubicBezTo>
                    <a:pt x="287401" y="252771"/>
                    <a:pt x="284864" y="254038"/>
                    <a:pt x="283574" y="255326"/>
                  </a:cubicBezTo>
                  <a:lnTo>
                    <a:pt x="258296" y="280566"/>
                  </a:lnTo>
                  <a:cubicBezTo>
                    <a:pt x="253222" y="285631"/>
                    <a:pt x="253222" y="293274"/>
                    <a:pt x="258296" y="298251"/>
                  </a:cubicBezTo>
                  <a:cubicBezTo>
                    <a:pt x="263369" y="303317"/>
                    <a:pt x="270935" y="303317"/>
                    <a:pt x="276008" y="298251"/>
                  </a:cubicBezTo>
                  <a:lnTo>
                    <a:pt x="278500" y="295763"/>
                  </a:lnTo>
                  <a:lnTo>
                    <a:pt x="278500" y="341264"/>
                  </a:lnTo>
                  <a:cubicBezTo>
                    <a:pt x="278500" y="348819"/>
                    <a:pt x="283574" y="353884"/>
                    <a:pt x="291139" y="353884"/>
                  </a:cubicBezTo>
                  <a:cubicBezTo>
                    <a:pt x="298794" y="353884"/>
                    <a:pt x="303867" y="348819"/>
                    <a:pt x="303867" y="341264"/>
                  </a:cubicBezTo>
                  <a:lnTo>
                    <a:pt x="303867" y="265458"/>
                  </a:lnTo>
                  <a:cubicBezTo>
                    <a:pt x="303867" y="260392"/>
                    <a:pt x="301286" y="255326"/>
                    <a:pt x="296212" y="252749"/>
                  </a:cubicBezTo>
                  <a:cubicBezTo>
                    <a:pt x="294966" y="251505"/>
                    <a:pt x="292452" y="251505"/>
                    <a:pt x="289926" y="252138"/>
                  </a:cubicBezTo>
                  <a:close/>
                  <a:moveTo>
                    <a:pt x="213971" y="252138"/>
                  </a:moveTo>
                  <a:cubicBezTo>
                    <a:pt x="211434" y="252771"/>
                    <a:pt x="208898" y="254038"/>
                    <a:pt x="207651" y="255326"/>
                  </a:cubicBezTo>
                  <a:lnTo>
                    <a:pt x="182285" y="280566"/>
                  </a:lnTo>
                  <a:cubicBezTo>
                    <a:pt x="177211" y="285631"/>
                    <a:pt x="177211" y="293274"/>
                    <a:pt x="182285" y="298251"/>
                  </a:cubicBezTo>
                  <a:cubicBezTo>
                    <a:pt x="187358" y="303317"/>
                    <a:pt x="195013" y="303317"/>
                    <a:pt x="199997" y="298251"/>
                  </a:cubicBezTo>
                  <a:lnTo>
                    <a:pt x="202578" y="295763"/>
                  </a:lnTo>
                  <a:lnTo>
                    <a:pt x="202578" y="341264"/>
                  </a:lnTo>
                  <a:cubicBezTo>
                    <a:pt x="202578" y="348819"/>
                    <a:pt x="207651" y="353884"/>
                    <a:pt x="215217" y="353884"/>
                  </a:cubicBezTo>
                  <a:cubicBezTo>
                    <a:pt x="222782" y="353884"/>
                    <a:pt x="227856" y="348819"/>
                    <a:pt x="227856" y="341264"/>
                  </a:cubicBezTo>
                  <a:lnTo>
                    <a:pt x="227856" y="265458"/>
                  </a:lnTo>
                  <a:cubicBezTo>
                    <a:pt x="227856" y="260392"/>
                    <a:pt x="225364" y="255326"/>
                    <a:pt x="220290" y="252749"/>
                  </a:cubicBezTo>
                  <a:cubicBezTo>
                    <a:pt x="219044" y="251505"/>
                    <a:pt x="216508" y="251505"/>
                    <a:pt x="213971" y="252138"/>
                  </a:cubicBezTo>
                  <a:close/>
                  <a:moveTo>
                    <a:pt x="151934" y="43014"/>
                  </a:moveTo>
                  <a:lnTo>
                    <a:pt x="43079" y="151703"/>
                  </a:lnTo>
                  <a:lnTo>
                    <a:pt x="151934" y="151703"/>
                  </a:lnTo>
                  <a:close/>
                  <a:moveTo>
                    <a:pt x="159499" y="0"/>
                  </a:moveTo>
                  <a:lnTo>
                    <a:pt x="162080" y="0"/>
                  </a:lnTo>
                  <a:lnTo>
                    <a:pt x="164572" y="0"/>
                  </a:lnTo>
                  <a:lnTo>
                    <a:pt x="443072" y="0"/>
                  </a:lnTo>
                  <a:cubicBezTo>
                    <a:pt x="450638" y="0"/>
                    <a:pt x="455711" y="5066"/>
                    <a:pt x="455711" y="12620"/>
                  </a:cubicBezTo>
                  <a:lnTo>
                    <a:pt x="455711" y="594013"/>
                  </a:lnTo>
                  <a:cubicBezTo>
                    <a:pt x="455711" y="601656"/>
                    <a:pt x="450638" y="606722"/>
                    <a:pt x="443072" y="606722"/>
                  </a:cubicBezTo>
                  <a:lnTo>
                    <a:pt x="12728" y="606722"/>
                  </a:lnTo>
                  <a:cubicBezTo>
                    <a:pt x="5073" y="606722"/>
                    <a:pt x="0" y="601656"/>
                    <a:pt x="0" y="594013"/>
                  </a:cubicBezTo>
                  <a:lnTo>
                    <a:pt x="0" y="164322"/>
                  </a:lnTo>
                  <a:lnTo>
                    <a:pt x="0" y="161745"/>
                  </a:lnTo>
                  <a:lnTo>
                    <a:pt x="0" y="159257"/>
                  </a:lnTo>
                  <a:cubicBezTo>
                    <a:pt x="0" y="156768"/>
                    <a:pt x="0" y="156768"/>
                    <a:pt x="2581" y="154191"/>
                  </a:cubicBezTo>
                  <a:lnTo>
                    <a:pt x="154426" y="2488"/>
                  </a:lnTo>
                  <a:cubicBezTo>
                    <a:pt x="154426" y="2488"/>
                    <a:pt x="157007" y="0"/>
                    <a:pt x="15949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</p:sp>
        <p:sp>
          <p:nvSpPr>
            <p:cNvPr id="815" name="íṣḻïďe">
              <a:extLst>
                <a:ext uri="{FF2B5EF4-FFF2-40B4-BE49-F238E27FC236}">
                  <a16:creationId xmlns:a16="http://schemas.microsoft.com/office/drawing/2014/main" id="{AB5DCF9E-37EF-428A-BE16-55C758DF6E9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90611" y="5156366"/>
              <a:ext cx="4797284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sz="2400" b="1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Decode</a:t>
              </a:r>
            </a:p>
          </p:txBody>
        </p:sp>
        <p:sp>
          <p:nvSpPr>
            <p:cNvPr id="816" name="îSḷïḑê">
              <a:extLst>
                <a:ext uri="{FF2B5EF4-FFF2-40B4-BE49-F238E27FC236}">
                  <a16:creationId xmlns:a16="http://schemas.microsoft.com/office/drawing/2014/main" id="{5D808D7B-6104-4B10-A7D8-EE0C7CE1F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611" y="5601999"/>
              <a:ext cx="4797284" cy="4726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“hug”, “applause”,…]</a:t>
              </a:r>
            </a:p>
          </p:txBody>
        </p:sp>
      </p:grpSp>
      <p:grpSp>
        <p:nvGrpSpPr>
          <p:cNvPr id="817" name="79fc69df-94a5-4f42-ba71-3616878b9b7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C5F0B7F-59C8-4E95-B941-024F9976DFC2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-3694332" y="2129848"/>
            <a:ext cx="2982334" cy="2873820"/>
            <a:chOff x="4117976" y="1516063"/>
            <a:chExt cx="3970338" cy="3825875"/>
          </a:xfrm>
        </p:grpSpPr>
        <p:sp>
          <p:nvSpPr>
            <p:cNvPr id="818" name="iślïḓe">
              <a:extLst>
                <a:ext uri="{FF2B5EF4-FFF2-40B4-BE49-F238E27FC236}">
                  <a16:creationId xmlns:a16="http://schemas.microsoft.com/office/drawing/2014/main" id="{25F4060C-2C7E-4DDF-96AF-F73AADCECA9C}"/>
                </a:ext>
              </a:extLst>
            </p:cNvPr>
            <p:cNvSpPr/>
            <p:nvPr/>
          </p:nvSpPr>
          <p:spPr bwMode="auto">
            <a:xfrm>
              <a:off x="4598988" y="1600200"/>
              <a:ext cx="2909888" cy="3530600"/>
            </a:xfrm>
            <a:custGeom>
              <a:avLst/>
              <a:gdLst>
                <a:gd name="T0" fmla="*/ 181 w 206"/>
                <a:gd name="T1" fmla="*/ 0 h 250"/>
                <a:gd name="T2" fmla="*/ 25 w 206"/>
                <a:gd name="T3" fmla="*/ 0 h 250"/>
                <a:gd name="T4" fmla="*/ 0 w 206"/>
                <a:gd name="T5" fmla="*/ 25 h 250"/>
                <a:gd name="T6" fmla="*/ 0 w 206"/>
                <a:gd name="T7" fmla="*/ 225 h 250"/>
                <a:gd name="T8" fmla="*/ 25 w 206"/>
                <a:gd name="T9" fmla="*/ 250 h 250"/>
                <a:gd name="T10" fmla="*/ 181 w 206"/>
                <a:gd name="T11" fmla="*/ 250 h 250"/>
                <a:gd name="T12" fmla="*/ 206 w 206"/>
                <a:gd name="T13" fmla="*/ 225 h 250"/>
                <a:gd name="T14" fmla="*/ 206 w 206"/>
                <a:gd name="T15" fmla="*/ 25 h 250"/>
                <a:gd name="T16" fmla="*/ 181 w 206"/>
                <a:gd name="T1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50">
                  <a:moveTo>
                    <a:pt x="181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39"/>
                    <a:pt x="11" y="250"/>
                    <a:pt x="25" y="250"/>
                  </a:cubicBezTo>
                  <a:cubicBezTo>
                    <a:pt x="181" y="250"/>
                    <a:pt x="181" y="250"/>
                    <a:pt x="181" y="250"/>
                  </a:cubicBezTo>
                  <a:cubicBezTo>
                    <a:pt x="195" y="250"/>
                    <a:pt x="206" y="239"/>
                    <a:pt x="206" y="225"/>
                  </a:cubicBezTo>
                  <a:cubicBezTo>
                    <a:pt x="206" y="25"/>
                    <a:pt x="206" y="25"/>
                    <a:pt x="206" y="25"/>
                  </a:cubicBezTo>
                  <a:cubicBezTo>
                    <a:pt x="206" y="11"/>
                    <a:pt x="195" y="0"/>
                    <a:pt x="181" y="0"/>
                  </a:cubicBezTo>
                  <a:close/>
                </a:path>
              </a:pathLst>
            </a:custGeom>
            <a:solidFill>
              <a:srgbClr val="5760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9" name="îṥ1idê">
              <a:extLst>
                <a:ext uri="{FF2B5EF4-FFF2-40B4-BE49-F238E27FC236}">
                  <a16:creationId xmlns:a16="http://schemas.microsoft.com/office/drawing/2014/main" id="{846A4101-26BB-4C37-8248-8D4AD2332050}"/>
                </a:ext>
              </a:extLst>
            </p:cNvPr>
            <p:cNvSpPr/>
            <p:nvPr/>
          </p:nvSpPr>
          <p:spPr bwMode="auto">
            <a:xfrm>
              <a:off x="4160838" y="5030788"/>
              <a:ext cx="268288" cy="268288"/>
            </a:xfrm>
            <a:prstGeom prst="ellipse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0" name="ïṣľiďé">
              <a:extLst>
                <a:ext uri="{FF2B5EF4-FFF2-40B4-BE49-F238E27FC236}">
                  <a16:creationId xmlns:a16="http://schemas.microsoft.com/office/drawing/2014/main" id="{EB7B03AA-322D-4593-82B0-DC6F787F8974}"/>
                </a:ext>
              </a:extLst>
            </p:cNvPr>
            <p:cNvSpPr/>
            <p:nvPr/>
          </p:nvSpPr>
          <p:spPr bwMode="auto">
            <a:xfrm>
              <a:off x="7777163" y="2828925"/>
              <a:ext cx="254000" cy="268288"/>
            </a:xfrm>
            <a:prstGeom prst="ellipse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1" name="ïS1íďè">
              <a:extLst>
                <a:ext uri="{FF2B5EF4-FFF2-40B4-BE49-F238E27FC236}">
                  <a16:creationId xmlns:a16="http://schemas.microsoft.com/office/drawing/2014/main" id="{2E918B3E-354C-4FB6-9AD7-728AF9E07DBD}"/>
                </a:ext>
              </a:extLst>
            </p:cNvPr>
            <p:cNvSpPr/>
            <p:nvPr/>
          </p:nvSpPr>
          <p:spPr bwMode="auto">
            <a:xfrm>
              <a:off x="6802438" y="3181350"/>
              <a:ext cx="352425" cy="354013"/>
            </a:xfrm>
            <a:prstGeom prst="rect">
              <a:avLst/>
            </a:prstGeom>
            <a:solidFill>
              <a:srgbClr val="80AF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2" name="ïṩ1ïde">
              <a:extLst>
                <a:ext uri="{FF2B5EF4-FFF2-40B4-BE49-F238E27FC236}">
                  <a16:creationId xmlns:a16="http://schemas.microsoft.com/office/drawing/2014/main" id="{1E46EA84-5C28-4F69-B42E-6138B45B6C49}"/>
                </a:ext>
              </a:extLst>
            </p:cNvPr>
            <p:cNvSpPr/>
            <p:nvPr/>
          </p:nvSpPr>
          <p:spPr bwMode="auto">
            <a:xfrm>
              <a:off x="6180138" y="4424363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3" name="isḻíḑé">
              <a:extLst>
                <a:ext uri="{FF2B5EF4-FFF2-40B4-BE49-F238E27FC236}">
                  <a16:creationId xmlns:a16="http://schemas.microsoft.com/office/drawing/2014/main" id="{F2B3463F-97C3-465F-9B22-EABCDEABEEF7}"/>
                </a:ext>
              </a:extLst>
            </p:cNvPr>
            <p:cNvSpPr/>
            <p:nvPr/>
          </p:nvSpPr>
          <p:spPr bwMode="auto">
            <a:xfrm>
              <a:off x="5573713" y="4424363"/>
              <a:ext cx="352425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4" name="ïṡľïde">
              <a:extLst>
                <a:ext uri="{FF2B5EF4-FFF2-40B4-BE49-F238E27FC236}">
                  <a16:creationId xmlns:a16="http://schemas.microsoft.com/office/drawing/2014/main" id="{174FD498-4468-437D-ACF8-E20F374C6F00}"/>
                </a:ext>
              </a:extLst>
            </p:cNvPr>
            <p:cNvSpPr/>
            <p:nvPr/>
          </p:nvSpPr>
          <p:spPr bwMode="auto">
            <a:xfrm>
              <a:off x="7861301" y="3887788"/>
              <a:ext cx="169863" cy="18415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5" name="íSļíḍe">
              <a:extLst>
                <a:ext uri="{FF2B5EF4-FFF2-40B4-BE49-F238E27FC236}">
                  <a16:creationId xmlns:a16="http://schemas.microsoft.com/office/drawing/2014/main" id="{20E5A7DA-4369-42F9-A535-513D863554BA}"/>
                </a:ext>
              </a:extLst>
            </p:cNvPr>
            <p:cNvSpPr/>
            <p:nvPr/>
          </p:nvSpPr>
          <p:spPr bwMode="auto">
            <a:xfrm>
              <a:off x="7693026" y="1600200"/>
              <a:ext cx="168275" cy="18415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6" name="íšḷîdê">
              <a:extLst>
                <a:ext uri="{FF2B5EF4-FFF2-40B4-BE49-F238E27FC236}">
                  <a16:creationId xmlns:a16="http://schemas.microsoft.com/office/drawing/2014/main" id="{C9C8E37D-FD12-48DD-AB15-39CB57AA87BB}"/>
                </a:ext>
              </a:extLst>
            </p:cNvPr>
            <p:cNvSpPr/>
            <p:nvPr/>
          </p:nvSpPr>
          <p:spPr bwMode="auto">
            <a:xfrm>
              <a:off x="6802438" y="3803650"/>
              <a:ext cx="352425" cy="973138"/>
            </a:xfrm>
            <a:prstGeom prst="rect">
              <a:avLst/>
            </a:prstGeom>
            <a:solidFill>
              <a:srgbClr val="E64C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7" name="ïšľïdè">
              <a:extLst>
                <a:ext uri="{FF2B5EF4-FFF2-40B4-BE49-F238E27FC236}">
                  <a16:creationId xmlns:a16="http://schemas.microsoft.com/office/drawing/2014/main" id="{4225B570-D413-43E0-AC41-DBA6FBBD3C28}"/>
                </a:ext>
              </a:extLst>
            </p:cNvPr>
            <p:cNvSpPr/>
            <p:nvPr/>
          </p:nvSpPr>
          <p:spPr bwMode="auto">
            <a:xfrm>
              <a:off x="4951413" y="1954213"/>
              <a:ext cx="2203450" cy="704850"/>
            </a:xfrm>
            <a:prstGeom prst="rect">
              <a:avLst/>
            </a:prstGeom>
            <a:solidFill>
              <a:srgbClr val="ECF0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8" name="iŝľïďê">
              <a:extLst>
                <a:ext uri="{FF2B5EF4-FFF2-40B4-BE49-F238E27FC236}">
                  <a16:creationId xmlns:a16="http://schemas.microsoft.com/office/drawing/2014/main" id="{C1BDCE02-C73A-4188-9F85-5B3D170174A7}"/>
                </a:ext>
              </a:extLst>
            </p:cNvPr>
            <p:cNvSpPr/>
            <p:nvPr/>
          </p:nvSpPr>
          <p:spPr bwMode="auto">
            <a:xfrm>
              <a:off x="6180138" y="3803650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9" name="ïṡ1ïḋé">
              <a:extLst>
                <a:ext uri="{FF2B5EF4-FFF2-40B4-BE49-F238E27FC236}">
                  <a16:creationId xmlns:a16="http://schemas.microsoft.com/office/drawing/2014/main" id="{F7C05188-AB7B-42A0-B3D9-8C190D4734E7}"/>
                </a:ext>
              </a:extLst>
            </p:cNvPr>
            <p:cNvSpPr/>
            <p:nvPr/>
          </p:nvSpPr>
          <p:spPr bwMode="auto">
            <a:xfrm>
              <a:off x="6180138" y="3181350"/>
              <a:ext cx="354013" cy="354013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0" name="iSḻïďê">
              <a:extLst>
                <a:ext uri="{FF2B5EF4-FFF2-40B4-BE49-F238E27FC236}">
                  <a16:creationId xmlns:a16="http://schemas.microsoft.com/office/drawing/2014/main" id="{A3993F12-E7DB-4435-9F45-7C2C8D29030E}"/>
                </a:ext>
              </a:extLst>
            </p:cNvPr>
            <p:cNvSpPr/>
            <p:nvPr/>
          </p:nvSpPr>
          <p:spPr bwMode="auto">
            <a:xfrm>
              <a:off x="5573713" y="3803650"/>
              <a:ext cx="352425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1" name="ïṩḻïḍe">
              <a:extLst>
                <a:ext uri="{FF2B5EF4-FFF2-40B4-BE49-F238E27FC236}">
                  <a16:creationId xmlns:a16="http://schemas.microsoft.com/office/drawing/2014/main" id="{EEB8496F-8E31-4B62-8B31-F3CBF5D05B2F}"/>
                </a:ext>
              </a:extLst>
            </p:cNvPr>
            <p:cNvSpPr/>
            <p:nvPr/>
          </p:nvSpPr>
          <p:spPr bwMode="auto">
            <a:xfrm>
              <a:off x="5573713" y="3181350"/>
              <a:ext cx="352425" cy="354013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2" name="íṥ1iḍé">
              <a:extLst>
                <a:ext uri="{FF2B5EF4-FFF2-40B4-BE49-F238E27FC236}">
                  <a16:creationId xmlns:a16="http://schemas.microsoft.com/office/drawing/2014/main" id="{C8657FF7-0642-4ADC-A0B3-4FEAAA7A9249}"/>
                </a:ext>
              </a:extLst>
            </p:cNvPr>
            <p:cNvSpPr/>
            <p:nvPr/>
          </p:nvSpPr>
          <p:spPr bwMode="auto">
            <a:xfrm>
              <a:off x="4951413" y="4424363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3" name="isliḓè">
              <a:extLst>
                <a:ext uri="{FF2B5EF4-FFF2-40B4-BE49-F238E27FC236}">
                  <a16:creationId xmlns:a16="http://schemas.microsoft.com/office/drawing/2014/main" id="{5E0BEB63-7D84-4E1F-9D33-2874D53E80A9}"/>
                </a:ext>
              </a:extLst>
            </p:cNvPr>
            <p:cNvSpPr/>
            <p:nvPr/>
          </p:nvSpPr>
          <p:spPr bwMode="auto">
            <a:xfrm>
              <a:off x="4951413" y="3803650"/>
              <a:ext cx="354013" cy="352425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4" name="îṥ1îḍe">
              <a:extLst>
                <a:ext uri="{FF2B5EF4-FFF2-40B4-BE49-F238E27FC236}">
                  <a16:creationId xmlns:a16="http://schemas.microsoft.com/office/drawing/2014/main" id="{CE8D8760-808F-44D5-A525-019A23316867}"/>
                </a:ext>
              </a:extLst>
            </p:cNvPr>
            <p:cNvSpPr/>
            <p:nvPr/>
          </p:nvSpPr>
          <p:spPr bwMode="auto">
            <a:xfrm>
              <a:off x="4951413" y="3181350"/>
              <a:ext cx="354013" cy="354013"/>
            </a:xfrm>
            <a:prstGeom prst="rect">
              <a:avLst/>
            </a:prstGeom>
            <a:solidFill>
              <a:srgbClr val="D7D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5" name="iṣḷiḑe">
              <a:extLst>
                <a:ext uri="{FF2B5EF4-FFF2-40B4-BE49-F238E27FC236}">
                  <a16:creationId xmlns:a16="http://schemas.microsoft.com/office/drawing/2014/main" id="{A5CB87A4-526A-474A-A699-107298C61C28}"/>
                </a:ext>
              </a:extLst>
            </p:cNvPr>
            <p:cNvSpPr/>
            <p:nvPr/>
          </p:nvSpPr>
          <p:spPr bwMode="auto">
            <a:xfrm>
              <a:off x="4244976" y="1516063"/>
              <a:ext cx="184150" cy="16986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6" name="ïSḻídé">
              <a:extLst>
                <a:ext uri="{FF2B5EF4-FFF2-40B4-BE49-F238E27FC236}">
                  <a16:creationId xmlns:a16="http://schemas.microsoft.com/office/drawing/2014/main" id="{B4786425-E9ED-49B9-BB10-C61FAD9048A4}"/>
                </a:ext>
              </a:extLst>
            </p:cNvPr>
            <p:cNvSpPr/>
            <p:nvPr/>
          </p:nvSpPr>
          <p:spPr bwMode="auto">
            <a:xfrm>
              <a:off x="4160838" y="2927350"/>
              <a:ext cx="169863" cy="16986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7" name="í$ľiḍè">
              <a:extLst>
                <a:ext uri="{FF2B5EF4-FFF2-40B4-BE49-F238E27FC236}">
                  <a16:creationId xmlns:a16="http://schemas.microsoft.com/office/drawing/2014/main" id="{CCABC250-9D35-4E1D-AFA2-682CCCD71A4D}"/>
                </a:ext>
              </a:extLst>
            </p:cNvPr>
            <p:cNvSpPr/>
            <p:nvPr/>
          </p:nvSpPr>
          <p:spPr bwMode="auto">
            <a:xfrm>
              <a:off x="4556126" y="1558925"/>
              <a:ext cx="2995613" cy="3613150"/>
            </a:xfrm>
            <a:custGeom>
              <a:avLst/>
              <a:gdLst>
                <a:gd name="T0" fmla="*/ 184 w 212"/>
                <a:gd name="T1" fmla="*/ 256 h 256"/>
                <a:gd name="T2" fmla="*/ 28 w 212"/>
                <a:gd name="T3" fmla="*/ 256 h 256"/>
                <a:gd name="T4" fmla="*/ 0 w 212"/>
                <a:gd name="T5" fmla="*/ 228 h 256"/>
                <a:gd name="T6" fmla="*/ 0 w 212"/>
                <a:gd name="T7" fmla="*/ 28 h 256"/>
                <a:gd name="T8" fmla="*/ 28 w 212"/>
                <a:gd name="T9" fmla="*/ 0 h 256"/>
                <a:gd name="T10" fmla="*/ 184 w 212"/>
                <a:gd name="T11" fmla="*/ 0 h 256"/>
                <a:gd name="T12" fmla="*/ 212 w 212"/>
                <a:gd name="T13" fmla="*/ 28 h 256"/>
                <a:gd name="T14" fmla="*/ 212 w 212"/>
                <a:gd name="T15" fmla="*/ 228 h 256"/>
                <a:gd name="T16" fmla="*/ 184 w 212"/>
                <a:gd name="T17" fmla="*/ 256 h 256"/>
                <a:gd name="T18" fmla="*/ 28 w 212"/>
                <a:gd name="T19" fmla="*/ 6 h 256"/>
                <a:gd name="T20" fmla="*/ 6 w 212"/>
                <a:gd name="T21" fmla="*/ 28 h 256"/>
                <a:gd name="T22" fmla="*/ 6 w 212"/>
                <a:gd name="T23" fmla="*/ 228 h 256"/>
                <a:gd name="T24" fmla="*/ 28 w 212"/>
                <a:gd name="T25" fmla="*/ 250 h 256"/>
                <a:gd name="T26" fmla="*/ 184 w 212"/>
                <a:gd name="T27" fmla="*/ 250 h 256"/>
                <a:gd name="T28" fmla="*/ 206 w 212"/>
                <a:gd name="T29" fmla="*/ 228 h 256"/>
                <a:gd name="T30" fmla="*/ 206 w 212"/>
                <a:gd name="T31" fmla="*/ 28 h 256"/>
                <a:gd name="T32" fmla="*/ 184 w 212"/>
                <a:gd name="T33" fmla="*/ 6 h 256"/>
                <a:gd name="T34" fmla="*/ 28 w 212"/>
                <a:gd name="T35" fmla="*/ 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56">
                  <a:moveTo>
                    <a:pt x="184" y="256"/>
                  </a:moveTo>
                  <a:cubicBezTo>
                    <a:pt x="28" y="256"/>
                    <a:pt x="28" y="256"/>
                    <a:pt x="28" y="256"/>
                  </a:cubicBezTo>
                  <a:cubicBezTo>
                    <a:pt x="12" y="256"/>
                    <a:pt x="0" y="243"/>
                    <a:pt x="0" y="2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2" y="12"/>
                    <a:pt x="212" y="28"/>
                  </a:cubicBezTo>
                  <a:cubicBezTo>
                    <a:pt x="212" y="228"/>
                    <a:pt x="212" y="228"/>
                    <a:pt x="212" y="228"/>
                  </a:cubicBezTo>
                  <a:cubicBezTo>
                    <a:pt x="212" y="243"/>
                    <a:pt x="200" y="256"/>
                    <a:pt x="184" y="256"/>
                  </a:cubicBezTo>
                  <a:close/>
                  <a:moveTo>
                    <a:pt x="28" y="6"/>
                  </a:moveTo>
                  <a:cubicBezTo>
                    <a:pt x="16" y="6"/>
                    <a:pt x="6" y="16"/>
                    <a:pt x="6" y="28"/>
                  </a:cubicBezTo>
                  <a:cubicBezTo>
                    <a:pt x="6" y="228"/>
                    <a:pt x="6" y="228"/>
                    <a:pt x="6" y="228"/>
                  </a:cubicBezTo>
                  <a:cubicBezTo>
                    <a:pt x="6" y="240"/>
                    <a:pt x="16" y="250"/>
                    <a:pt x="28" y="250"/>
                  </a:cubicBezTo>
                  <a:cubicBezTo>
                    <a:pt x="184" y="250"/>
                    <a:pt x="184" y="250"/>
                    <a:pt x="184" y="250"/>
                  </a:cubicBezTo>
                  <a:cubicBezTo>
                    <a:pt x="196" y="250"/>
                    <a:pt x="206" y="240"/>
                    <a:pt x="206" y="228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6" y="16"/>
                    <a:pt x="196" y="6"/>
                    <a:pt x="184" y="6"/>
                  </a:cubicBezTo>
                  <a:lnTo>
                    <a:pt x="28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8" name="ïşḻíḑe">
              <a:extLst>
                <a:ext uri="{FF2B5EF4-FFF2-40B4-BE49-F238E27FC236}">
                  <a16:creationId xmlns:a16="http://schemas.microsoft.com/office/drawing/2014/main" id="{A508E753-1118-4A6C-ADCB-AD12A4B7F6BA}"/>
                </a:ext>
              </a:extLst>
            </p:cNvPr>
            <p:cNvSpPr/>
            <p:nvPr/>
          </p:nvSpPr>
          <p:spPr bwMode="auto">
            <a:xfrm>
              <a:off x="4908551" y="1911350"/>
              <a:ext cx="2289175" cy="790575"/>
            </a:xfrm>
            <a:custGeom>
              <a:avLst/>
              <a:gdLst>
                <a:gd name="T0" fmla="*/ 159 w 162"/>
                <a:gd name="T1" fmla="*/ 56 h 56"/>
                <a:gd name="T2" fmla="*/ 3 w 162"/>
                <a:gd name="T3" fmla="*/ 56 h 56"/>
                <a:gd name="T4" fmla="*/ 0 w 162"/>
                <a:gd name="T5" fmla="*/ 53 h 56"/>
                <a:gd name="T6" fmla="*/ 0 w 162"/>
                <a:gd name="T7" fmla="*/ 3 h 56"/>
                <a:gd name="T8" fmla="*/ 3 w 162"/>
                <a:gd name="T9" fmla="*/ 0 h 56"/>
                <a:gd name="T10" fmla="*/ 159 w 162"/>
                <a:gd name="T11" fmla="*/ 0 h 56"/>
                <a:gd name="T12" fmla="*/ 162 w 162"/>
                <a:gd name="T13" fmla="*/ 3 h 56"/>
                <a:gd name="T14" fmla="*/ 162 w 162"/>
                <a:gd name="T15" fmla="*/ 53 h 56"/>
                <a:gd name="T16" fmla="*/ 159 w 162"/>
                <a:gd name="T17" fmla="*/ 56 h 56"/>
                <a:gd name="T18" fmla="*/ 6 w 162"/>
                <a:gd name="T19" fmla="*/ 50 h 56"/>
                <a:gd name="T20" fmla="*/ 156 w 162"/>
                <a:gd name="T21" fmla="*/ 50 h 56"/>
                <a:gd name="T22" fmla="*/ 156 w 162"/>
                <a:gd name="T23" fmla="*/ 6 h 56"/>
                <a:gd name="T24" fmla="*/ 6 w 162"/>
                <a:gd name="T25" fmla="*/ 6 h 56"/>
                <a:gd name="T26" fmla="*/ 6 w 162"/>
                <a:gd name="T27" fmla="*/ 5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2" h="56">
                  <a:moveTo>
                    <a:pt x="159" y="56"/>
                  </a:moveTo>
                  <a:cubicBezTo>
                    <a:pt x="3" y="56"/>
                    <a:pt x="3" y="56"/>
                    <a:pt x="3" y="56"/>
                  </a:cubicBezTo>
                  <a:cubicBezTo>
                    <a:pt x="1" y="56"/>
                    <a:pt x="0" y="55"/>
                    <a:pt x="0" y="5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2" y="53"/>
                    <a:pt x="162" y="53"/>
                    <a:pt x="162" y="53"/>
                  </a:cubicBezTo>
                  <a:cubicBezTo>
                    <a:pt x="162" y="55"/>
                    <a:pt x="161" y="56"/>
                    <a:pt x="159" y="56"/>
                  </a:cubicBezTo>
                  <a:close/>
                  <a:moveTo>
                    <a:pt x="6" y="50"/>
                  </a:moveTo>
                  <a:cubicBezTo>
                    <a:pt x="156" y="50"/>
                    <a:pt x="156" y="50"/>
                    <a:pt x="156" y="50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9" name="íşlîḋè">
              <a:extLst>
                <a:ext uri="{FF2B5EF4-FFF2-40B4-BE49-F238E27FC236}">
                  <a16:creationId xmlns:a16="http://schemas.microsoft.com/office/drawing/2014/main" id="{CFC8DB26-9A59-4D98-9394-4611E3024310}"/>
                </a:ext>
              </a:extLst>
            </p:cNvPr>
            <p:cNvSpPr/>
            <p:nvPr/>
          </p:nvSpPr>
          <p:spPr bwMode="auto">
            <a:xfrm>
              <a:off x="4908551" y="4381500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29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9"/>
                    <a:pt x="30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0" name="ïS1ïḓé">
              <a:extLst>
                <a:ext uri="{FF2B5EF4-FFF2-40B4-BE49-F238E27FC236}">
                  <a16:creationId xmlns:a16="http://schemas.microsoft.com/office/drawing/2014/main" id="{6FB3655C-2D38-4ACE-85D1-3455C0D5A7BC}"/>
                </a:ext>
              </a:extLst>
            </p:cNvPr>
            <p:cNvSpPr/>
            <p:nvPr/>
          </p:nvSpPr>
          <p:spPr bwMode="auto">
            <a:xfrm>
              <a:off x="5530851" y="4381500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29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9"/>
                    <a:pt x="29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1" name="î$1ïdè">
              <a:extLst>
                <a:ext uri="{FF2B5EF4-FFF2-40B4-BE49-F238E27FC236}">
                  <a16:creationId xmlns:a16="http://schemas.microsoft.com/office/drawing/2014/main" id="{6E197015-C8F4-4F2D-907B-E7A8ED5D38F7}"/>
                </a:ext>
              </a:extLst>
            </p:cNvPr>
            <p:cNvSpPr/>
            <p:nvPr/>
          </p:nvSpPr>
          <p:spPr bwMode="auto">
            <a:xfrm>
              <a:off x="6138863" y="4381500"/>
              <a:ext cx="450850" cy="438150"/>
            </a:xfrm>
            <a:custGeom>
              <a:avLst/>
              <a:gdLst>
                <a:gd name="T0" fmla="*/ 28 w 32"/>
                <a:gd name="T1" fmla="*/ 31 h 31"/>
                <a:gd name="T2" fmla="*/ 3 w 32"/>
                <a:gd name="T3" fmla="*/ 31 h 31"/>
                <a:gd name="T4" fmla="*/ 0 w 32"/>
                <a:gd name="T5" fmla="*/ 28 h 31"/>
                <a:gd name="T6" fmla="*/ 0 w 32"/>
                <a:gd name="T7" fmla="*/ 3 h 31"/>
                <a:gd name="T8" fmla="*/ 3 w 32"/>
                <a:gd name="T9" fmla="*/ 0 h 31"/>
                <a:gd name="T10" fmla="*/ 28 w 32"/>
                <a:gd name="T11" fmla="*/ 0 h 31"/>
                <a:gd name="T12" fmla="*/ 32 w 32"/>
                <a:gd name="T13" fmla="*/ 3 h 31"/>
                <a:gd name="T14" fmla="*/ 32 w 32"/>
                <a:gd name="T15" fmla="*/ 28 h 31"/>
                <a:gd name="T16" fmla="*/ 28 w 32"/>
                <a:gd name="T17" fmla="*/ 31 h 31"/>
                <a:gd name="T18" fmla="*/ 7 w 32"/>
                <a:gd name="T19" fmla="*/ 25 h 31"/>
                <a:gd name="T20" fmla="*/ 25 w 32"/>
                <a:gd name="T21" fmla="*/ 25 h 31"/>
                <a:gd name="T22" fmla="*/ 25 w 32"/>
                <a:gd name="T23" fmla="*/ 6 h 31"/>
                <a:gd name="T24" fmla="*/ 7 w 32"/>
                <a:gd name="T25" fmla="*/ 6 h 31"/>
                <a:gd name="T26" fmla="*/ 7 w 32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2" y="31"/>
                    <a:pt x="0" y="29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29"/>
                    <a:pt x="30" y="31"/>
                    <a:pt x="28" y="31"/>
                  </a:cubicBezTo>
                  <a:close/>
                  <a:moveTo>
                    <a:pt x="7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2" name="ïṧḻîḓé">
              <a:extLst>
                <a:ext uri="{FF2B5EF4-FFF2-40B4-BE49-F238E27FC236}">
                  <a16:creationId xmlns:a16="http://schemas.microsoft.com/office/drawing/2014/main" id="{ECBBCCE5-1863-4112-A580-E5EDBEB59B7A}"/>
                </a:ext>
              </a:extLst>
            </p:cNvPr>
            <p:cNvSpPr/>
            <p:nvPr/>
          </p:nvSpPr>
          <p:spPr bwMode="auto">
            <a:xfrm>
              <a:off x="4908551" y="3760788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30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3" name="iṩ1îḓè">
              <a:extLst>
                <a:ext uri="{FF2B5EF4-FFF2-40B4-BE49-F238E27FC236}">
                  <a16:creationId xmlns:a16="http://schemas.microsoft.com/office/drawing/2014/main" id="{E65DBDCB-B4D0-47DF-B1BB-4CF7C3BDE84A}"/>
                </a:ext>
              </a:extLst>
            </p:cNvPr>
            <p:cNvSpPr/>
            <p:nvPr/>
          </p:nvSpPr>
          <p:spPr bwMode="auto">
            <a:xfrm>
              <a:off x="5530851" y="3760788"/>
              <a:ext cx="438150" cy="438150"/>
            </a:xfrm>
            <a:custGeom>
              <a:avLst/>
              <a:gdLst>
                <a:gd name="T0" fmla="*/ 28 w 31"/>
                <a:gd name="T1" fmla="*/ 31 h 31"/>
                <a:gd name="T2" fmla="*/ 3 w 31"/>
                <a:gd name="T3" fmla="*/ 31 h 31"/>
                <a:gd name="T4" fmla="*/ 0 w 31"/>
                <a:gd name="T5" fmla="*/ 28 h 31"/>
                <a:gd name="T6" fmla="*/ 0 w 31"/>
                <a:gd name="T7" fmla="*/ 3 h 31"/>
                <a:gd name="T8" fmla="*/ 3 w 31"/>
                <a:gd name="T9" fmla="*/ 0 h 31"/>
                <a:gd name="T10" fmla="*/ 28 w 31"/>
                <a:gd name="T11" fmla="*/ 0 h 31"/>
                <a:gd name="T12" fmla="*/ 31 w 31"/>
                <a:gd name="T13" fmla="*/ 3 h 31"/>
                <a:gd name="T14" fmla="*/ 31 w 31"/>
                <a:gd name="T15" fmla="*/ 28 h 31"/>
                <a:gd name="T16" fmla="*/ 28 w 31"/>
                <a:gd name="T17" fmla="*/ 31 h 31"/>
                <a:gd name="T18" fmla="*/ 6 w 31"/>
                <a:gd name="T19" fmla="*/ 25 h 31"/>
                <a:gd name="T20" fmla="*/ 25 w 31"/>
                <a:gd name="T21" fmla="*/ 25 h 31"/>
                <a:gd name="T22" fmla="*/ 25 w 31"/>
                <a:gd name="T23" fmla="*/ 6 h 31"/>
                <a:gd name="T24" fmla="*/ 6 w 31"/>
                <a:gd name="T25" fmla="*/ 6 h 31"/>
                <a:gd name="T26" fmla="*/ 6 w 3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29" y="31"/>
                    <a:pt x="28" y="31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4" name="iŝḻîďé">
              <a:extLst>
                <a:ext uri="{FF2B5EF4-FFF2-40B4-BE49-F238E27FC236}">
                  <a16:creationId xmlns:a16="http://schemas.microsoft.com/office/drawing/2014/main" id="{A328041B-58C9-4920-B032-7C3D4E7C2217}"/>
                </a:ext>
              </a:extLst>
            </p:cNvPr>
            <p:cNvSpPr/>
            <p:nvPr/>
          </p:nvSpPr>
          <p:spPr bwMode="auto">
            <a:xfrm>
              <a:off x="6138863" y="3760788"/>
              <a:ext cx="450850" cy="438150"/>
            </a:xfrm>
            <a:custGeom>
              <a:avLst/>
              <a:gdLst>
                <a:gd name="T0" fmla="*/ 28 w 32"/>
                <a:gd name="T1" fmla="*/ 31 h 31"/>
                <a:gd name="T2" fmla="*/ 3 w 32"/>
                <a:gd name="T3" fmla="*/ 31 h 31"/>
                <a:gd name="T4" fmla="*/ 0 w 32"/>
                <a:gd name="T5" fmla="*/ 28 h 31"/>
                <a:gd name="T6" fmla="*/ 0 w 32"/>
                <a:gd name="T7" fmla="*/ 3 h 31"/>
                <a:gd name="T8" fmla="*/ 3 w 32"/>
                <a:gd name="T9" fmla="*/ 0 h 31"/>
                <a:gd name="T10" fmla="*/ 28 w 32"/>
                <a:gd name="T11" fmla="*/ 0 h 31"/>
                <a:gd name="T12" fmla="*/ 32 w 32"/>
                <a:gd name="T13" fmla="*/ 3 h 31"/>
                <a:gd name="T14" fmla="*/ 32 w 32"/>
                <a:gd name="T15" fmla="*/ 28 h 31"/>
                <a:gd name="T16" fmla="*/ 28 w 32"/>
                <a:gd name="T17" fmla="*/ 31 h 31"/>
                <a:gd name="T18" fmla="*/ 7 w 32"/>
                <a:gd name="T19" fmla="*/ 25 h 31"/>
                <a:gd name="T20" fmla="*/ 25 w 32"/>
                <a:gd name="T21" fmla="*/ 25 h 31"/>
                <a:gd name="T22" fmla="*/ 25 w 32"/>
                <a:gd name="T23" fmla="*/ 6 h 31"/>
                <a:gd name="T24" fmla="*/ 7 w 32"/>
                <a:gd name="T25" fmla="*/ 6 h 31"/>
                <a:gd name="T26" fmla="*/ 7 w 32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1">
                  <a:moveTo>
                    <a:pt x="28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2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0"/>
                    <a:pt x="30" y="31"/>
                    <a:pt x="28" y="31"/>
                  </a:cubicBezTo>
                  <a:close/>
                  <a:moveTo>
                    <a:pt x="7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7" y="6"/>
                    <a:pt x="7" y="6"/>
                    <a:pt x="7" y="6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5" name="ïṩḷîḓe">
              <a:extLst>
                <a:ext uri="{FF2B5EF4-FFF2-40B4-BE49-F238E27FC236}">
                  <a16:creationId xmlns:a16="http://schemas.microsoft.com/office/drawing/2014/main" id="{AFD1D088-6352-43D6-A489-07E4216C252C}"/>
                </a:ext>
              </a:extLst>
            </p:cNvPr>
            <p:cNvSpPr/>
            <p:nvPr/>
          </p:nvSpPr>
          <p:spPr bwMode="auto">
            <a:xfrm>
              <a:off x="6759576" y="3760788"/>
              <a:ext cx="438150" cy="1058863"/>
            </a:xfrm>
            <a:custGeom>
              <a:avLst/>
              <a:gdLst>
                <a:gd name="T0" fmla="*/ 28 w 31"/>
                <a:gd name="T1" fmla="*/ 75 h 75"/>
                <a:gd name="T2" fmla="*/ 3 w 31"/>
                <a:gd name="T3" fmla="*/ 75 h 75"/>
                <a:gd name="T4" fmla="*/ 0 w 31"/>
                <a:gd name="T5" fmla="*/ 72 h 75"/>
                <a:gd name="T6" fmla="*/ 0 w 31"/>
                <a:gd name="T7" fmla="*/ 3 h 75"/>
                <a:gd name="T8" fmla="*/ 3 w 31"/>
                <a:gd name="T9" fmla="*/ 0 h 75"/>
                <a:gd name="T10" fmla="*/ 28 w 31"/>
                <a:gd name="T11" fmla="*/ 0 h 75"/>
                <a:gd name="T12" fmla="*/ 31 w 31"/>
                <a:gd name="T13" fmla="*/ 3 h 75"/>
                <a:gd name="T14" fmla="*/ 31 w 31"/>
                <a:gd name="T15" fmla="*/ 72 h 75"/>
                <a:gd name="T16" fmla="*/ 28 w 31"/>
                <a:gd name="T17" fmla="*/ 75 h 75"/>
                <a:gd name="T18" fmla="*/ 6 w 31"/>
                <a:gd name="T19" fmla="*/ 69 h 75"/>
                <a:gd name="T20" fmla="*/ 25 w 31"/>
                <a:gd name="T21" fmla="*/ 69 h 75"/>
                <a:gd name="T22" fmla="*/ 25 w 31"/>
                <a:gd name="T23" fmla="*/ 6 h 75"/>
                <a:gd name="T24" fmla="*/ 6 w 31"/>
                <a:gd name="T25" fmla="*/ 6 h 75"/>
                <a:gd name="T26" fmla="*/ 6 w 31"/>
                <a:gd name="T27" fmla="*/ 6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75">
                  <a:moveTo>
                    <a:pt x="28" y="75"/>
                  </a:moveTo>
                  <a:cubicBezTo>
                    <a:pt x="3" y="75"/>
                    <a:pt x="3" y="75"/>
                    <a:pt x="3" y="75"/>
                  </a:cubicBezTo>
                  <a:cubicBezTo>
                    <a:pt x="1" y="75"/>
                    <a:pt x="0" y="73"/>
                    <a:pt x="0" y="7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3"/>
                    <a:pt x="30" y="75"/>
                    <a:pt x="28" y="75"/>
                  </a:cubicBezTo>
                  <a:close/>
                  <a:moveTo>
                    <a:pt x="6" y="69"/>
                  </a:moveTo>
                  <a:cubicBezTo>
                    <a:pt x="25" y="69"/>
                    <a:pt x="25" y="69"/>
                    <a:pt x="25" y="69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6" y="6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6" name="îṩľîḓe">
              <a:extLst>
                <a:ext uri="{FF2B5EF4-FFF2-40B4-BE49-F238E27FC236}">
                  <a16:creationId xmlns:a16="http://schemas.microsoft.com/office/drawing/2014/main" id="{1BAC62ED-88F8-401D-BFFC-EEA21329186B}"/>
                </a:ext>
              </a:extLst>
            </p:cNvPr>
            <p:cNvSpPr/>
            <p:nvPr/>
          </p:nvSpPr>
          <p:spPr bwMode="auto">
            <a:xfrm>
              <a:off x="4908551" y="3140075"/>
              <a:ext cx="438150" cy="450850"/>
            </a:xfrm>
            <a:custGeom>
              <a:avLst/>
              <a:gdLst>
                <a:gd name="T0" fmla="*/ 28 w 31"/>
                <a:gd name="T1" fmla="*/ 32 h 32"/>
                <a:gd name="T2" fmla="*/ 3 w 31"/>
                <a:gd name="T3" fmla="*/ 32 h 32"/>
                <a:gd name="T4" fmla="*/ 0 w 31"/>
                <a:gd name="T5" fmla="*/ 28 h 32"/>
                <a:gd name="T6" fmla="*/ 0 w 31"/>
                <a:gd name="T7" fmla="*/ 3 h 32"/>
                <a:gd name="T8" fmla="*/ 3 w 31"/>
                <a:gd name="T9" fmla="*/ 0 h 32"/>
                <a:gd name="T10" fmla="*/ 28 w 31"/>
                <a:gd name="T11" fmla="*/ 0 h 32"/>
                <a:gd name="T12" fmla="*/ 31 w 31"/>
                <a:gd name="T13" fmla="*/ 3 h 32"/>
                <a:gd name="T14" fmla="*/ 31 w 31"/>
                <a:gd name="T15" fmla="*/ 28 h 32"/>
                <a:gd name="T16" fmla="*/ 28 w 31"/>
                <a:gd name="T17" fmla="*/ 32 h 32"/>
                <a:gd name="T18" fmla="*/ 6 w 31"/>
                <a:gd name="T19" fmla="*/ 25 h 32"/>
                <a:gd name="T20" fmla="*/ 25 w 31"/>
                <a:gd name="T21" fmla="*/ 25 h 32"/>
                <a:gd name="T22" fmla="*/ 25 w 31"/>
                <a:gd name="T23" fmla="*/ 7 h 32"/>
                <a:gd name="T24" fmla="*/ 6 w 31"/>
                <a:gd name="T25" fmla="*/ 7 h 32"/>
                <a:gd name="T26" fmla="*/ 6 w 31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2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30" y="32"/>
                    <a:pt x="28" y="32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7" name="íşḻíḑê">
              <a:extLst>
                <a:ext uri="{FF2B5EF4-FFF2-40B4-BE49-F238E27FC236}">
                  <a16:creationId xmlns:a16="http://schemas.microsoft.com/office/drawing/2014/main" id="{D97FA806-7B72-40E9-B026-7E41DC721D8D}"/>
                </a:ext>
              </a:extLst>
            </p:cNvPr>
            <p:cNvSpPr/>
            <p:nvPr/>
          </p:nvSpPr>
          <p:spPr bwMode="auto">
            <a:xfrm>
              <a:off x="5530851" y="3140075"/>
              <a:ext cx="438150" cy="450850"/>
            </a:xfrm>
            <a:custGeom>
              <a:avLst/>
              <a:gdLst>
                <a:gd name="T0" fmla="*/ 28 w 31"/>
                <a:gd name="T1" fmla="*/ 32 h 32"/>
                <a:gd name="T2" fmla="*/ 3 w 31"/>
                <a:gd name="T3" fmla="*/ 32 h 32"/>
                <a:gd name="T4" fmla="*/ 0 w 31"/>
                <a:gd name="T5" fmla="*/ 28 h 32"/>
                <a:gd name="T6" fmla="*/ 0 w 31"/>
                <a:gd name="T7" fmla="*/ 3 h 32"/>
                <a:gd name="T8" fmla="*/ 3 w 31"/>
                <a:gd name="T9" fmla="*/ 0 h 32"/>
                <a:gd name="T10" fmla="*/ 28 w 31"/>
                <a:gd name="T11" fmla="*/ 0 h 32"/>
                <a:gd name="T12" fmla="*/ 31 w 31"/>
                <a:gd name="T13" fmla="*/ 3 h 32"/>
                <a:gd name="T14" fmla="*/ 31 w 31"/>
                <a:gd name="T15" fmla="*/ 28 h 32"/>
                <a:gd name="T16" fmla="*/ 28 w 31"/>
                <a:gd name="T17" fmla="*/ 32 h 32"/>
                <a:gd name="T18" fmla="*/ 6 w 31"/>
                <a:gd name="T19" fmla="*/ 25 h 32"/>
                <a:gd name="T20" fmla="*/ 25 w 31"/>
                <a:gd name="T21" fmla="*/ 25 h 32"/>
                <a:gd name="T22" fmla="*/ 25 w 31"/>
                <a:gd name="T23" fmla="*/ 7 h 32"/>
                <a:gd name="T24" fmla="*/ 6 w 31"/>
                <a:gd name="T25" fmla="*/ 7 h 32"/>
                <a:gd name="T26" fmla="*/ 6 w 31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2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29" y="32"/>
                    <a:pt x="28" y="32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8" name="iṥlîḍê">
              <a:extLst>
                <a:ext uri="{FF2B5EF4-FFF2-40B4-BE49-F238E27FC236}">
                  <a16:creationId xmlns:a16="http://schemas.microsoft.com/office/drawing/2014/main" id="{CB3DDDCF-C0C9-44EB-9CFC-BA1003898F0D}"/>
                </a:ext>
              </a:extLst>
            </p:cNvPr>
            <p:cNvSpPr/>
            <p:nvPr/>
          </p:nvSpPr>
          <p:spPr bwMode="auto">
            <a:xfrm>
              <a:off x="6138863" y="3140075"/>
              <a:ext cx="450850" cy="450850"/>
            </a:xfrm>
            <a:custGeom>
              <a:avLst/>
              <a:gdLst>
                <a:gd name="T0" fmla="*/ 28 w 32"/>
                <a:gd name="T1" fmla="*/ 32 h 32"/>
                <a:gd name="T2" fmla="*/ 3 w 32"/>
                <a:gd name="T3" fmla="*/ 32 h 32"/>
                <a:gd name="T4" fmla="*/ 0 w 32"/>
                <a:gd name="T5" fmla="*/ 28 h 32"/>
                <a:gd name="T6" fmla="*/ 0 w 32"/>
                <a:gd name="T7" fmla="*/ 3 h 32"/>
                <a:gd name="T8" fmla="*/ 3 w 32"/>
                <a:gd name="T9" fmla="*/ 0 h 32"/>
                <a:gd name="T10" fmla="*/ 28 w 32"/>
                <a:gd name="T11" fmla="*/ 0 h 32"/>
                <a:gd name="T12" fmla="*/ 32 w 32"/>
                <a:gd name="T13" fmla="*/ 3 h 32"/>
                <a:gd name="T14" fmla="*/ 32 w 32"/>
                <a:gd name="T15" fmla="*/ 28 h 32"/>
                <a:gd name="T16" fmla="*/ 28 w 32"/>
                <a:gd name="T17" fmla="*/ 32 h 32"/>
                <a:gd name="T18" fmla="*/ 7 w 32"/>
                <a:gd name="T19" fmla="*/ 25 h 32"/>
                <a:gd name="T20" fmla="*/ 25 w 32"/>
                <a:gd name="T21" fmla="*/ 25 h 32"/>
                <a:gd name="T22" fmla="*/ 25 w 32"/>
                <a:gd name="T23" fmla="*/ 7 h 32"/>
                <a:gd name="T24" fmla="*/ 7 w 32"/>
                <a:gd name="T25" fmla="*/ 7 h 32"/>
                <a:gd name="T26" fmla="*/ 7 w 32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2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2" y="2"/>
                    <a:pt x="32" y="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0"/>
                    <a:pt x="30" y="32"/>
                    <a:pt x="28" y="32"/>
                  </a:cubicBezTo>
                  <a:close/>
                  <a:moveTo>
                    <a:pt x="7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9" name="íSlîḓe">
              <a:extLst>
                <a:ext uri="{FF2B5EF4-FFF2-40B4-BE49-F238E27FC236}">
                  <a16:creationId xmlns:a16="http://schemas.microsoft.com/office/drawing/2014/main" id="{7BE923DF-F9E9-4B3A-9286-6D1BF7C80AFB}"/>
                </a:ext>
              </a:extLst>
            </p:cNvPr>
            <p:cNvSpPr/>
            <p:nvPr/>
          </p:nvSpPr>
          <p:spPr bwMode="auto">
            <a:xfrm>
              <a:off x="6759576" y="3140075"/>
              <a:ext cx="438150" cy="450850"/>
            </a:xfrm>
            <a:custGeom>
              <a:avLst/>
              <a:gdLst>
                <a:gd name="T0" fmla="*/ 28 w 31"/>
                <a:gd name="T1" fmla="*/ 32 h 32"/>
                <a:gd name="T2" fmla="*/ 3 w 31"/>
                <a:gd name="T3" fmla="*/ 32 h 32"/>
                <a:gd name="T4" fmla="*/ 0 w 31"/>
                <a:gd name="T5" fmla="*/ 28 h 32"/>
                <a:gd name="T6" fmla="*/ 0 w 31"/>
                <a:gd name="T7" fmla="*/ 3 h 32"/>
                <a:gd name="T8" fmla="*/ 3 w 31"/>
                <a:gd name="T9" fmla="*/ 0 h 32"/>
                <a:gd name="T10" fmla="*/ 28 w 31"/>
                <a:gd name="T11" fmla="*/ 0 h 32"/>
                <a:gd name="T12" fmla="*/ 31 w 31"/>
                <a:gd name="T13" fmla="*/ 3 h 32"/>
                <a:gd name="T14" fmla="*/ 31 w 31"/>
                <a:gd name="T15" fmla="*/ 28 h 32"/>
                <a:gd name="T16" fmla="*/ 28 w 31"/>
                <a:gd name="T17" fmla="*/ 32 h 32"/>
                <a:gd name="T18" fmla="*/ 6 w 31"/>
                <a:gd name="T19" fmla="*/ 25 h 32"/>
                <a:gd name="T20" fmla="*/ 25 w 31"/>
                <a:gd name="T21" fmla="*/ 25 h 32"/>
                <a:gd name="T22" fmla="*/ 25 w 31"/>
                <a:gd name="T23" fmla="*/ 7 h 32"/>
                <a:gd name="T24" fmla="*/ 6 w 31"/>
                <a:gd name="T25" fmla="*/ 7 h 32"/>
                <a:gd name="T26" fmla="*/ 6 w 31"/>
                <a:gd name="T2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2">
                  <a:moveTo>
                    <a:pt x="28" y="32"/>
                  </a:moveTo>
                  <a:cubicBezTo>
                    <a:pt x="3" y="32"/>
                    <a:pt x="3" y="32"/>
                    <a:pt x="3" y="32"/>
                  </a:cubicBezTo>
                  <a:cubicBezTo>
                    <a:pt x="1" y="32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2"/>
                    <a:pt x="31" y="3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30"/>
                    <a:pt x="30" y="32"/>
                    <a:pt x="28" y="32"/>
                  </a:cubicBezTo>
                  <a:close/>
                  <a:moveTo>
                    <a:pt x="6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6" y="7"/>
                    <a:pt x="6" y="7"/>
                    <a:pt x="6" y="7"/>
                  </a:cubicBezTo>
                  <a:lnTo>
                    <a:pt x="6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0" name="ïšlídé">
              <a:extLst>
                <a:ext uri="{FF2B5EF4-FFF2-40B4-BE49-F238E27FC236}">
                  <a16:creationId xmlns:a16="http://schemas.microsoft.com/office/drawing/2014/main" id="{053FF1EF-322C-4838-BB18-AFACCEF80769}"/>
                </a:ext>
              </a:extLst>
            </p:cNvPr>
            <p:cNvSpPr/>
            <p:nvPr/>
          </p:nvSpPr>
          <p:spPr bwMode="auto">
            <a:xfrm>
              <a:off x="5078413" y="2886075"/>
              <a:ext cx="354013" cy="84138"/>
            </a:xfrm>
            <a:custGeom>
              <a:avLst/>
              <a:gdLst>
                <a:gd name="T0" fmla="*/ 22 w 25"/>
                <a:gd name="T1" fmla="*/ 6 h 6"/>
                <a:gd name="T2" fmla="*/ 4 w 25"/>
                <a:gd name="T3" fmla="*/ 6 h 6"/>
                <a:gd name="T4" fmla="*/ 0 w 25"/>
                <a:gd name="T5" fmla="*/ 3 h 6"/>
                <a:gd name="T6" fmla="*/ 4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2" y="6"/>
                    <a:pt x="0" y="4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4"/>
                    <a:pt x="24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1" name="îs1ïdè">
              <a:extLst>
                <a:ext uri="{FF2B5EF4-FFF2-40B4-BE49-F238E27FC236}">
                  <a16:creationId xmlns:a16="http://schemas.microsoft.com/office/drawing/2014/main" id="{2AA1B645-78DA-49A2-9633-A818F702D611}"/>
                </a:ext>
              </a:extLst>
            </p:cNvPr>
            <p:cNvSpPr/>
            <p:nvPr/>
          </p:nvSpPr>
          <p:spPr bwMode="auto">
            <a:xfrm>
              <a:off x="5614988" y="2886075"/>
              <a:ext cx="354013" cy="84138"/>
            </a:xfrm>
            <a:custGeom>
              <a:avLst/>
              <a:gdLst>
                <a:gd name="T0" fmla="*/ 22 w 25"/>
                <a:gd name="T1" fmla="*/ 6 h 6"/>
                <a:gd name="T2" fmla="*/ 3 w 25"/>
                <a:gd name="T3" fmla="*/ 6 h 6"/>
                <a:gd name="T4" fmla="*/ 0 w 25"/>
                <a:gd name="T5" fmla="*/ 3 h 6"/>
                <a:gd name="T6" fmla="*/ 3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4"/>
                    <a:pt x="23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2" name="íṡḷïḋê">
              <a:extLst>
                <a:ext uri="{FF2B5EF4-FFF2-40B4-BE49-F238E27FC236}">
                  <a16:creationId xmlns:a16="http://schemas.microsoft.com/office/drawing/2014/main" id="{ED97358E-C3EE-493A-BE66-8E2BE7CA5140}"/>
                </a:ext>
              </a:extLst>
            </p:cNvPr>
            <p:cNvSpPr/>
            <p:nvPr/>
          </p:nvSpPr>
          <p:spPr bwMode="auto">
            <a:xfrm>
              <a:off x="6138863" y="2886075"/>
              <a:ext cx="352425" cy="84138"/>
            </a:xfrm>
            <a:custGeom>
              <a:avLst/>
              <a:gdLst>
                <a:gd name="T0" fmla="*/ 22 w 25"/>
                <a:gd name="T1" fmla="*/ 6 h 6"/>
                <a:gd name="T2" fmla="*/ 3 w 25"/>
                <a:gd name="T3" fmla="*/ 6 h 6"/>
                <a:gd name="T4" fmla="*/ 0 w 25"/>
                <a:gd name="T5" fmla="*/ 3 h 6"/>
                <a:gd name="T6" fmla="*/ 3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4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4"/>
                    <a:pt x="24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3" name="îŝ1iḑè">
              <a:extLst>
                <a:ext uri="{FF2B5EF4-FFF2-40B4-BE49-F238E27FC236}">
                  <a16:creationId xmlns:a16="http://schemas.microsoft.com/office/drawing/2014/main" id="{2249DA71-DDAD-4AD1-B67F-5BA35D79285D}"/>
                </a:ext>
              </a:extLst>
            </p:cNvPr>
            <p:cNvSpPr/>
            <p:nvPr/>
          </p:nvSpPr>
          <p:spPr bwMode="auto">
            <a:xfrm>
              <a:off x="6675438" y="2886075"/>
              <a:ext cx="352425" cy="84138"/>
            </a:xfrm>
            <a:custGeom>
              <a:avLst/>
              <a:gdLst>
                <a:gd name="T0" fmla="*/ 22 w 25"/>
                <a:gd name="T1" fmla="*/ 6 h 6"/>
                <a:gd name="T2" fmla="*/ 3 w 25"/>
                <a:gd name="T3" fmla="*/ 6 h 6"/>
                <a:gd name="T4" fmla="*/ 0 w 25"/>
                <a:gd name="T5" fmla="*/ 3 h 6"/>
                <a:gd name="T6" fmla="*/ 3 w 25"/>
                <a:gd name="T7" fmla="*/ 0 h 6"/>
                <a:gd name="T8" fmla="*/ 22 w 25"/>
                <a:gd name="T9" fmla="*/ 0 h 6"/>
                <a:gd name="T10" fmla="*/ 25 w 25"/>
                <a:gd name="T11" fmla="*/ 3 h 6"/>
                <a:gd name="T12" fmla="*/ 22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2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4"/>
                    <a:pt x="23" y="6"/>
                    <a:pt x="2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4" name="ísḻïḍé">
              <a:extLst>
                <a:ext uri="{FF2B5EF4-FFF2-40B4-BE49-F238E27FC236}">
                  <a16:creationId xmlns:a16="http://schemas.microsoft.com/office/drawing/2014/main" id="{161AF5D5-BECB-43CB-99B2-4F8EEE579346}"/>
                </a:ext>
              </a:extLst>
            </p:cNvPr>
            <p:cNvSpPr/>
            <p:nvPr/>
          </p:nvSpPr>
          <p:spPr bwMode="auto">
            <a:xfrm>
              <a:off x="6759576" y="1911350"/>
              <a:ext cx="438150" cy="438150"/>
            </a:xfrm>
            <a:custGeom>
              <a:avLst/>
              <a:gdLst>
                <a:gd name="T0" fmla="*/ 3 w 31"/>
                <a:gd name="T1" fmla="*/ 31 h 31"/>
                <a:gd name="T2" fmla="*/ 1 w 31"/>
                <a:gd name="T3" fmla="*/ 30 h 31"/>
                <a:gd name="T4" fmla="*/ 1 w 31"/>
                <a:gd name="T5" fmla="*/ 26 h 31"/>
                <a:gd name="T6" fmla="*/ 26 w 31"/>
                <a:gd name="T7" fmla="*/ 1 h 31"/>
                <a:gd name="T8" fmla="*/ 30 w 31"/>
                <a:gd name="T9" fmla="*/ 1 h 31"/>
                <a:gd name="T10" fmla="*/ 30 w 31"/>
                <a:gd name="T11" fmla="*/ 5 h 31"/>
                <a:gd name="T12" fmla="*/ 5 w 31"/>
                <a:gd name="T13" fmla="*/ 30 h 31"/>
                <a:gd name="T14" fmla="*/ 3 w 31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31">
                  <a:moveTo>
                    <a:pt x="3" y="31"/>
                  </a:moveTo>
                  <a:cubicBezTo>
                    <a:pt x="2" y="31"/>
                    <a:pt x="2" y="31"/>
                    <a:pt x="1" y="30"/>
                  </a:cubicBezTo>
                  <a:cubicBezTo>
                    <a:pt x="0" y="29"/>
                    <a:pt x="0" y="27"/>
                    <a:pt x="1" y="2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31" y="2"/>
                    <a:pt x="31" y="4"/>
                    <a:pt x="30" y="5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1"/>
                    <a:pt x="4" y="31"/>
                    <a:pt x="3" y="3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5" name="ïSḷíďê">
              <a:extLst>
                <a:ext uri="{FF2B5EF4-FFF2-40B4-BE49-F238E27FC236}">
                  <a16:creationId xmlns:a16="http://schemas.microsoft.com/office/drawing/2014/main" id="{EFF0C975-6012-4CBA-B641-848EB33B7EB5}"/>
                </a:ext>
              </a:extLst>
            </p:cNvPr>
            <p:cNvSpPr/>
            <p:nvPr/>
          </p:nvSpPr>
          <p:spPr bwMode="auto">
            <a:xfrm>
              <a:off x="6407151" y="2165350"/>
              <a:ext cx="182563" cy="184150"/>
            </a:xfrm>
            <a:custGeom>
              <a:avLst/>
              <a:gdLst>
                <a:gd name="T0" fmla="*/ 3 w 13"/>
                <a:gd name="T1" fmla="*/ 13 h 13"/>
                <a:gd name="T2" fmla="*/ 1 w 13"/>
                <a:gd name="T3" fmla="*/ 12 h 13"/>
                <a:gd name="T4" fmla="*/ 1 w 13"/>
                <a:gd name="T5" fmla="*/ 8 h 13"/>
                <a:gd name="T6" fmla="*/ 7 w 13"/>
                <a:gd name="T7" fmla="*/ 2 h 13"/>
                <a:gd name="T8" fmla="*/ 12 w 13"/>
                <a:gd name="T9" fmla="*/ 2 h 13"/>
                <a:gd name="T10" fmla="*/ 12 w 13"/>
                <a:gd name="T11" fmla="*/ 6 h 13"/>
                <a:gd name="T12" fmla="*/ 5 w 13"/>
                <a:gd name="T13" fmla="*/ 12 h 13"/>
                <a:gd name="T14" fmla="*/ 3 w 13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3">
                  <a:moveTo>
                    <a:pt x="3" y="13"/>
                  </a:moveTo>
                  <a:cubicBezTo>
                    <a:pt x="2" y="13"/>
                    <a:pt x="2" y="13"/>
                    <a:pt x="1" y="12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0"/>
                    <a:pt x="10" y="0"/>
                    <a:pt x="12" y="2"/>
                  </a:cubicBezTo>
                  <a:cubicBezTo>
                    <a:pt x="13" y="3"/>
                    <a:pt x="13" y="5"/>
                    <a:pt x="12" y="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4" y="13"/>
                    <a:pt x="3" y="1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6" name="ïşḷiḓè">
              <a:extLst>
                <a:ext uri="{FF2B5EF4-FFF2-40B4-BE49-F238E27FC236}">
                  <a16:creationId xmlns:a16="http://schemas.microsoft.com/office/drawing/2014/main" id="{9F02330B-82B7-4D52-A479-0C3EA43022C6}"/>
                </a:ext>
              </a:extLst>
            </p:cNvPr>
            <p:cNvSpPr/>
            <p:nvPr/>
          </p:nvSpPr>
          <p:spPr bwMode="auto">
            <a:xfrm>
              <a:off x="4117976" y="4989513"/>
              <a:ext cx="354013" cy="352425"/>
            </a:xfrm>
            <a:custGeom>
              <a:avLst/>
              <a:gdLst>
                <a:gd name="T0" fmla="*/ 12 w 25"/>
                <a:gd name="T1" fmla="*/ 25 h 25"/>
                <a:gd name="T2" fmla="*/ 0 w 25"/>
                <a:gd name="T3" fmla="*/ 13 h 25"/>
                <a:gd name="T4" fmla="*/ 12 w 25"/>
                <a:gd name="T5" fmla="*/ 0 h 25"/>
                <a:gd name="T6" fmla="*/ 25 w 25"/>
                <a:gd name="T7" fmla="*/ 13 h 25"/>
                <a:gd name="T8" fmla="*/ 12 w 25"/>
                <a:gd name="T9" fmla="*/ 25 h 25"/>
                <a:gd name="T10" fmla="*/ 12 w 25"/>
                <a:gd name="T11" fmla="*/ 7 h 25"/>
                <a:gd name="T12" fmla="*/ 6 w 25"/>
                <a:gd name="T13" fmla="*/ 13 h 25"/>
                <a:gd name="T14" fmla="*/ 12 w 25"/>
                <a:gd name="T15" fmla="*/ 19 h 25"/>
                <a:gd name="T16" fmla="*/ 18 w 25"/>
                <a:gd name="T17" fmla="*/ 13 h 25"/>
                <a:gd name="T18" fmla="*/ 12 w 25"/>
                <a:gd name="T1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5" y="6"/>
                    <a:pt x="25" y="13"/>
                  </a:cubicBezTo>
                  <a:cubicBezTo>
                    <a:pt x="25" y="20"/>
                    <a:pt x="19" y="25"/>
                    <a:pt x="12" y="25"/>
                  </a:cubicBezTo>
                  <a:close/>
                  <a:moveTo>
                    <a:pt x="12" y="7"/>
                  </a:moveTo>
                  <a:cubicBezTo>
                    <a:pt x="9" y="7"/>
                    <a:pt x="6" y="9"/>
                    <a:pt x="6" y="13"/>
                  </a:cubicBezTo>
                  <a:cubicBezTo>
                    <a:pt x="6" y="16"/>
                    <a:pt x="9" y="19"/>
                    <a:pt x="12" y="19"/>
                  </a:cubicBezTo>
                  <a:cubicBezTo>
                    <a:pt x="16" y="19"/>
                    <a:pt x="18" y="16"/>
                    <a:pt x="18" y="13"/>
                  </a:cubicBezTo>
                  <a:cubicBezTo>
                    <a:pt x="18" y="9"/>
                    <a:pt x="16" y="7"/>
                    <a:pt x="12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7" name="ïsľïḍe">
              <a:extLst>
                <a:ext uri="{FF2B5EF4-FFF2-40B4-BE49-F238E27FC236}">
                  <a16:creationId xmlns:a16="http://schemas.microsoft.com/office/drawing/2014/main" id="{A218DE97-DF39-48A8-B3B4-5E7676BE7397}"/>
                </a:ext>
              </a:extLst>
            </p:cNvPr>
            <p:cNvSpPr/>
            <p:nvPr/>
          </p:nvSpPr>
          <p:spPr bwMode="auto">
            <a:xfrm>
              <a:off x="7734301" y="2786063"/>
              <a:ext cx="354013" cy="354013"/>
            </a:xfrm>
            <a:custGeom>
              <a:avLst/>
              <a:gdLst>
                <a:gd name="T0" fmla="*/ 12 w 25"/>
                <a:gd name="T1" fmla="*/ 25 h 25"/>
                <a:gd name="T2" fmla="*/ 0 w 25"/>
                <a:gd name="T3" fmla="*/ 13 h 25"/>
                <a:gd name="T4" fmla="*/ 12 w 25"/>
                <a:gd name="T5" fmla="*/ 0 h 25"/>
                <a:gd name="T6" fmla="*/ 25 w 25"/>
                <a:gd name="T7" fmla="*/ 13 h 25"/>
                <a:gd name="T8" fmla="*/ 12 w 25"/>
                <a:gd name="T9" fmla="*/ 25 h 25"/>
                <a:gd name="T10" fmla="*/ 12 w 25"/>
                <a:gd name="T11" fmla="*/ 7 h 25"/>
                <a:gd name="T12" fmla="*/ 6 w 25"/>
                <a:gd name="T13" fmla="*/ 13 h 25"/>
                <a:gd name="T14" fmla="*/ 12 w 25"/>
                <a:gd name="T15" fmla="*/ 19 h 25"/>
                <a:gd name="T16" fmla="*/ 18 w 25"/>
                <a:gd name="T17" fmla="*/ 13 h 25"/>
                <a:gd name="T18" fmla="*/ 12 w 25"/>
                <a:gd name="T1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5" y="6"/>
                    <a:pt x="25" y="13"/>
                  </a:cubicBezTo>
                  <a:cubicBezTo>
                    <a:pt x="25" y="20"/>
                    <a:pt x="19" y="25"/>
                    <a:pt x="12" y="25"/>
                  </a:cubicBezTo>
                  <a:close/>
                  <a:moveTo>
                    <a:pt x="12" y="7"/>
                  </a:moveTo>
                  <a:cubicBezTo>
                    <a:pt x="9" y="7"/>
                    <a:pt x="6" y="9"/>
                    <a:pt x="6" y="13"/>
                  </a:cubicBezTo>
                  <a:cubicBezTo>
                    <a:pt x="6" y="16"/>
                    <a:pt x="9" y="19"/>
                    <a:pt x="12" y="19"/>
                  </a:cubicBezTo>
                  <a:cubicBezTo>
                    <a:pt x="16" y="19"/>
                    <a:pt x="18" y="16"/>
                    <a:pt x="18" y="13"/>
                  </a:cubicBezTo>
                  <a:cubicBezTo>
                    <a:pt x="18" y="9"/>
                    <a:pt x="16" y="7"/>
                    <a:pt x="12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087669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AEDB03-1A6B-41B9-87E3-4A28D5A48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cxnSp>
        <p:nvCxnSpPr>
          <p:cNvPr id="21" name="直接连接符 14">
            <a:extLst>
              <a:ext uri="{FF2B5EF4-FFF2-40B4-BE49-F238E27FC236}">
                <a16:creationId xmlns:a16="http://schemas.microsoft.com/office/drawing/2014/main" id="{5D467B14-ACAB-4DD0-8E2E-0F3C512A4792}"/>
              </a:ext>
            </a:extLst>
          </p:cNvPr>
          <p:cNvCxnSpPr>
            <a:cxnSpLocks/>
          </p:cNvCxnSpPr>
          <p:nvPr/>
        </p:nvCxnSpPr>
        <p:spPr>
          <a:xfrm>
            <a:off x="1302921" y="1028700"/>
            <a:ext cx="0" cy="601483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70D1821B-271F-44D5-BFD5-ADC6121C0B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407" y="2082468"/>
            <a:ext cx="2835380" cy="1346532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2C5B838-BE6C-4677-9988-5521B4780256}"/>
              </a:ext>
            </a:extLst>
          </p:cNvPr>
          <p:cNvSpPr/>
          <p:nvPr/>
        </p:nvSpPr>
        <p:spPr>
          <a:xfrm>
            <a:off x="8417741" y="3755103"/>
            <a:ext cx="2582713" cy="36933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/>
            <a:r>
              <a:rPr lang="en-US" dirty="0"/>
              <a:t>One model for reply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80C5BF1-0B31-4408-84F3-AA883C422EDC}"/>
              </a:ext>
            </a:extLst>
          </p:cNvPr>
          <p:cNvSpPr/>
          <p:nvPr/>
        </p:nvSpPr>
        <p:spPr>
          <a:xfrm>
            <a:off x="8417741" y="1490110"/>
            <a:ext cx="2582713" cy="369332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dirty="0"/>
              <a:t>One model for text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A29A4EA-AA90-40D8-BA6B-253DEDB6E1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407" y="4489520"/>
            <a:ext cx="2835380" cy="1346532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670457C-85B1-4A5C-9845-AFB327BC2401}"/>
              </a:ext>
            </a:extLst>
          </p:cNvPr>
          <p:cNvSpPr>
            <a:spLocks/>
          </p:cNvSpPr>
          <p:nvPr/>
        </p:nvSpPr>
        <p:spPr>
          <a:xfrm>
            <a:off x="745565" y="3280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4"/>
                </a:solidFill>
                <a:latin typeface="Bahnschrift SemiCondensed" panose="020B0502040204020203" pitchFamily="34" charset="0"/>
              </a:rPr>
              <a:t>Mod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7CBD227-9BCF-4B51-B0FC-D99A80C5F7A9}"/>
              </a:ext>
            </a:extLst>
          </p:cNvPr>
          <p:cNvSpPr/>
          <p:nvPr/>
        </p:nvSpPr>
        <p:spPr>
          <a:xfrm>
            <a:off x="745565" y="513703"/>
            <a:ext cx="49712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2400" b="1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ng short-term memory (LSTM)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58A9477-240C-45E6-92D4-FC5B90464C64}"/>
              </a:ext>
            </a:extLst>
          </p:cNvPr>
          <p:cNvGrpSpPr/>
          <p:nvPr/>
        </p:nvGrpSpPr>
        <p:grpSpPr>
          <a:xfrm>
            <a:off x="933543" y="1649020"/>
            <a:ext cx="6554352" cy="1035508"/>
            <a:chOff x="933543" y="1363254"/>
            <a:chExt cx="6554352" cy="1035508"/>
          </a:xfrm>
        </p:grpSpPr>
        <p:sp>
          <p:nvSpPr>
            <p:cNvPr id="22" name="îṩḻîde">
              <a:extLst>
                <a:ext uri="{FF2B5EF4-FFF2-40B4-BE49-F238E27FC236}">
                  <a16:creationId xmlns:a16="http://schemas.microsoft.com/office/drawing/2014/main" id="{EEC54111-23B3-4DB1-8712-297686EA8407}"/>
                </a:ext>
              </a:extLst>
            </p:cNvPr>
            <p:cNvSpPr/>
            <p:nvPr/>
          </p:nvSpPr>
          <p:spPr>
            <a:xfrm>
              <a:off x="933543" y="1363254"/>
              <a:ext cx="738756" cy="738756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000" b="1" dirty="0">
                  <a:solidFill>
                    <a:schemeClr val="bg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2000" b="1" dirty="0">
                  <a:solidFill>
                    <a:schemeClr val="bg1"/>
                  </a:solidFill>
                </a:rPr>
                <a:t>1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íṣḻïďe">
              <a:extLst>
                <a:ext uri="{FF2B5EF4-FFF2-40B4-BE49-F238E27FC236}">
                  <a16:creationId xmlns:a16="http://schemas.microsoft.com/office/drawing/2014/main" id="{08DBFE12-41CD-4EFC-B674-9B70793D06D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90611" y="1480524"/>
              <a:ext cx="4797284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sz="2400" b="1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Possibility of each category</a:t>
              </a:r>
            </a:p>
          </p:txBody>
        </p:sp>
        <p:sp>
          <p:nvSpPr>
            <p:cNvPr id="13" name="îSḷïḑê">
              <a:extLst>
                <a:ext uri="{FF2B5EF4-FFF2-40B4-BE49-F238E27FC236}">
                  <a16:creationId xmlns:a16="http://schemas.microsoft.com/office/drawing/2014/main" id="{421A7DC5-3FC5-41CC-AB32-749540DF3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611" y="1926157"/>
              <a:ext cx="4797284" cy="4726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2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5314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75214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98742, …, 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0.</a:t>
              </a: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42746</a:t>
              </a:r>
              <a:r>
                <a:rPr lang="zh-TW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 ]</a:t>
              </a:r>
              <a:endParaRPr lang="en-US" altLang="zh-TW" dirty="0">
                <a:solidFill>
                  <a:srgbClr val="000000"/>
                </a:solidFill>
                <a:latin typeface="Tw Cen MT" panose="020B0602020104020603" pitchFamily="34" charset="0"/>
                <a:cs typeface="Courier New" panose="02070309020205020404" pitchFamily="49" charset="0"/>
              </a:endParaRPr>
            </a:p>
          </p:txBody>
        </p:sp>
        <p:sp>
          <p:nvSpPr>
            <p:cNvPr id="31" name="iconfont-11790-5633983">
              <a:extLst>
                <a:ext uri="{FF2B5EF4-FFF2-40B4-BE49-F238E27FC236}">
                  <a16:creationId xmlns:a16="http://schemas.microsoft.com/office/drawing/2014/main" id="{6654CD9E-68DE-4BDD-89EB-885E8CB729E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38265" y="1429348"/>
              <a:ext cx="609685" cy="488741"/>
            </a:xfrm>
            <a:custGeom>
              <a:avLst/>
              <a:gdLst>
                <a:gd name="T0" fmla="*/ 14920 w 16120"/>
                <a:gd name="T1" fmla="*/ 4920 h 12920"/>
                <a:gd name="T2" fmla="*/ 11952 w 16120"/>
                <a:gd name="T3" fmla="*/ 4920 h 12920"/>
                <a:gd name="T4" fmla="*/ 11527 w 16120"/>
                <a:gd name="T5" fmla="*/ 7153 h 12920"/>
                <a:gd name="T6" fmla="*/ 8120 w 16120"/>
                <a:gd name="T7" fmla="*/ 10560 h 12920"/>
                <a:gd name="T8" fmla="*/ 8120 w 16120"/>
                <a:gd name="T9" fmla="*/ 11720 h 12920"/>
                <a:gd name="T10" fmla="*/ 9320 w 16120"/>
                <a:gd name="T11" fmla="*/ 12920 h 12920"/>
                <a:gd name="T12" fmla="*/ 14920 w 16120"/>
                <a:gd name="T13" fmla="*/ 12920 h 12920"/>
                <a:gd name="T14" fmla="*/ 16120 w 16120"/>
                <a:gd name="T15" fmla="*/ 11720 h 12920"/>
                <a:gd name="T16" fmla="*/ 16120 w 16120"/>
                <a:gd name="T17" fmla="*/ 6120 h 12920"/>
                <a:gd name="T18" fmla="*/ 14920 w 16120"/>
                <a:gd name="T19" fmla="*/ 4920 h 12920"/>
                <a:gd name="T20" fmla="*/ 12120 w 16120"/>
                <a:gd name="T21" fmla="*/ 9520 h 12920"/>
                <a:gd name="T22" fmla="*/ 11520 w 16120"/>
                <a:gd name="T23" fmla="*/ 8920 h 12920"/>
                <a:gd name="T24" fmla="*/ 12120 w 16120"/>
                <a:gd name="T25" fmla="*/ 8320 h 12920"/>
                <a:gd name="T26" fmla="*/ 12720 w 16120"/>
                <a:gd name="T27" fmla="*/ 8920 h 12920"/>
                <a:gd name="T28" fmla="*/ 12120 w 16120"/>
                <a:gd name="T29" fmla="*/ 9520 h 12920"/>
                <a:gd name="T30" fmla="*/ 10961 w 16120"/>
                <a:gd name="T31" fmla="*/ 4853 h 12920"/>
                <a:gd name="T32" fmla="*/ 6588 w 16120"/>
                <a:gd name="T33" fmla="*/ 479 h 12920"/>
                <a:gd name="T34" fmla="*/ 4853 w 16120"/>
                <a:gd name="T35" fmla="*/ 479 h 12920"/>
                <a:gd name="T36" fmla="*/ 479 w 16120"/>
                <a:gd name="T37" fmla="*/ 4853 h 12920"/>
                <a:gd name="T38" fmla="*/ 479 w 16120"/>
                <a:gd name="T39" fmla="*/ 6587 h 12920"/>
                <a:gd name="T40" fmla="*/ 4853 w 16120"/>
                <a:gd name="T41" fmla="*/ 10961 h 12920"/>
                <a:gd name="T42" fmla="*/ 6587 w 16120"/>
                <a:gd name="T43" fmla="*/ 10961 h 12920"/>
                <a:gd name="T44" fmla="*/ 10961 w 16120"/>
                <a:gd name="T45" fmla="*/ 6588 h 12920"/>
                <a:gd name="T46" fmla="*/ 10961 w 16120"/>
                <a:gd name="T47" fmla="*/ 4853 h 12920"/>
                <a:gd name="T48" fmla="*/ 2520 w 16120"/>
                <a:gd name="T49" fmla="*/ 6320 h 12920"/>
                <a:gd name="T50" fmla="*/ 1920 w 16120"/>
                <a:gd name="T51" fmla="*/ 5720 h 12920"/>
                <a:gd name="T52" fmla="*/ 2520 w 16120"/>
                <a:gd name="T53" fmla="*/ 5120 h 12920"/>
                <a:gd name="T54" fmla="*/ 3120 w 16120"/>
                <a:gd name="T55" fmla="*/ 5720 h 12920"/>
                <a:gd name="T56" fmla="*/ 2520 w 16120"/>
                <a:gd name="T57" fmla="*/ 6320 h 12920"/>
                <a:gd name="T58" fmla="*/ 5720 w 16120"/>
                <a:gd name="T59" fmla="*/ 9520 h 12920"/>
                <a:gd name="T60" fmla="*/ 5120 w 16120"/>
                <a:gd name="T61" fmla="*/ 8920 h 12920"/>
                <a:gd name="T62" fmla="*/ 5720 w 16120"/>
                <a:gd name="T63" fmla="*/ 8320 h 12920"/>
                <a:gd name="T64" fmla="*/ 6320 w 16120"/>
                <a:gd name="T65" fmla="*/ 8920 h 12920"/>
                <a:gd name="T66" fmla="*/ 5720 w 16120"/>
                <a:gd name="T67" fmla="*/ 9520 h 12920"/>
                <a:gd name="T68" fmla="*/ 5720 w 16120"/>
                <a:gd name="T69" fmla="*/ 6320 h 12920"/>
                <a:gd name="T70" fmla="*/ 5120 w 16120"/>
                <a:gd name="T71" fmla="*/ 5720 h 12920"/>
                <a:gd name="T72" fmla="*/ 5720 w 16120"/>
                <a:gd name="T73" fmla="*/ 5120 h 12920"/>
                <a:gd name="T74" fmla="*/ 6320 w 16120"/>
                <a:gd name="T75" fmla="*/ 5720 h 12920"/>
                <a:gd name="T76" fmla="*/ 5720 w 16120"/>
                <a:gd name="T77" fmla="*/ 6320 h 12920"/>
                <a:gd name="T78" fmla="*/ 5720 w 16120"/>
                <a:gd name="T79" fmla="*/ 3120 h 12920"/>
                <a:gd name="T80" fmla="*/ 5120 w 16120"/>
                <a:gd name="T81" fmla="*/ 2520 h 12920"/>
                <a:gd name="T82" fmla="*/ 5720 w 16120"/>
                <a:gd name="T83" fmla="*/ 1920 h 12920"/>
                <a:gd name="T84" fmla="*/ 6320 w 16120"/>
                <a:gd name="T85" fmla="*/ 2520 h 12920"/>
                <a:gd name="T86" fmla="*/ 5720 w 16120"/>
                <a:gd name="T87" fmla="*/ 3120 h 12920"/>
                <a:gd name="T88" fmla="*/ 8920 w 16120"/>
                <a:gd name="T89" fmla="*/ 6320 h 12920"/>
                <a:gd name="T90" fmla="*/ 8320 w 16120"/>
                <a:gd name="T91" fmla="*/ 5720 h 12920"/>
                <a:gd name="T92" fmla="*/ 8920 w 16120"/>
                <a:gd name="T93" fmla="*/ 5120 h 12920"/>
                <a:gd name="T94" fmla="*/ 9520 w 16120"/>
                <a:gd name="T95" fmla="*/ 5720 h 12920"/>
                <a:gd name="T96" fmla="*/ 8920 w 16120"/>
                <a:gd name="T97" fmla="*/ 6320 h 12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120" h="12920">
                  <a:moveTo>
                    <a:pt x="14920" y="4920"/>
                  </a:moveTo>
                  <a:lnTo>
                    <a:pt x="11952" y="4920"/>
                  </a:lnTo>
                  <a:cubicBezTo>
                    <a:pt x="12269" y="5660"/>
                    <a:pt x="12130" y="6550"/>
                    <a:pt x="11527" y="7153"/>
                  </a:cubicBezTo>
                  <a:lnTo>
                    <a:pt x="8120" y="10560"/>
                  </a:lnTo>
                  <a:lnTo>
                    <a:pt x="8120" y="11720"/>
                  </a:lnTo>
                  <a:cubicBezTo>
                    <a:pt x="8120" y="12383"/>
                    <a:pt x="8657" y="12920"/>
                    <a:pt x="9320" y="12920"/>
                  </a:cubicBezTo>
                  <a:lnTo>
                    <a:pt x="14920" y="12920"/>
                  </a:lnTo>
                  <a:cubicBezTo>
                    <a:pt x="15583" y="12920"/>
                    <a:pt x="16120" y="12383"/>
                    <a:pt x="16120" y="11720"/>
                  </a:cubicBezTo>
                  <a:lnTo>
                    <a:pt x="16120" y="6120"/>
                  </a:lnTo>
                  <a:cubicBezTo>
                    <a:pt x="16120" y="5457"/>
                    <a:pt x="15583" y="4920"/>
                    <a:pt x="14920" y="4920"/>
                  </a:cubicBezTo>
                  <a:close/>
                  <a:moveTo>
                    <a:pt x="12120" y="9520"/>
                  </a:moveTo>
                  <a:cubicBezTo>
                    <a:pt x="11789" y="9520"/>
                    <a:pt x="11520" y="9251"/>
                    <a:pt x="11520" y="8920"/>
                  </a:cubicBezTo>
                  <a:cubicBezTo>
                    <a:pt x="11520" y="8589"/>
                    <a:pt x="11789" y="8320"/>
                    <a:pt x="12120" y="8320"/>
                  </a:cubicBezTo>
                  <a:cubicBezTo>
                    <a:pt x="12451" y="8320"/>
                    <a:pt x="12720" y="8589"/>
                    <a:pt x="12720" y="8920"/>
                  </a:cubicBezTo>
                  <a:cubicBezTo>
                    <a:pt x="12720" y="9251"/>
                    <a:pt x="12451" y="9520"/>
                    <a:pt x="12120" y="9520"/>
                  </a:cubicBezTo>
                  <a:close/>
                  <a:moveTo>
                    <a:pt x="10961" y="4853"/>
                  </a:moveTo>
                  <a:lnTo>
                    <a:pt x="6588" y="479"/>
                  </a:lnTo>
                  <a:cubicBezTo>
                    <a:pt x="6109" y="0"/>
                    <a:pt x="5332" y="0"/>
                    <a:pt x="4853" y="479"/>
                  </a:cubicBezTo>
                  <a:lnTo>
                    <a:pt x="479" y="4853"/>
                  </a:lnTo>
                  <a:cubicBezTo>
                    <a:pt x="0" y="5332"/>
                    <a:pt x="0" y="6108"/>
                    <a:pt x="479" y="6587"/>
                  </a:cubicBezTo>
                  <a:lnTo>
                    <a:pt x="4853" y="10961"/>
                  </a:lnTo>
                  <a:cubicBezTo>
                    <a:pt x="5332" y="11440"/>
                    <a:pt x="6108" y="11440"/>
                    <a:pt x="6587" y="10961"/>
                  </a:cubicBezTo>
                  <a:lnTo>
                    <a:pt x="10961" y="6588"/>
                  </a:lnTo>
                  <a:cubicBezTo>
                    <a:pt x="11440" y="6108"/>
                    <a:pt x="11440" y="5331"/>
                    <a:pt x="10961" y="4853"/>
                  </a:cubicBezTo>
                  <a:close/>
                  <a:moveTo>
                    <a:pt x="2520" y="6320"/>
                  </a:moveTo>
                  <a:cubicBezTo>
                    <a:pt x="2189" y="6320"/>
                    <a:pt x="1920" y="6051"/>
                    <a:pt x="1920" y="5720"/>
                  </a:cubicBezTo>
                  <a:cubicBezTo>
                    <a:pt x="1920" y="5389"/>
                    <a:pt x="2189" y="5120"/>
                    <a:pt x="2520" y="5120"/>
                  </a:cubicBezTo>
                  <a:cubicBezTo>
                    <a:pt x="2851" y="5120"/>
                    <a:pt x="3120" y="5389"/>
                    <a:pt x="3120" y="5720"/>
                  </a:cubicBezTo>
                  <a:cubicBezTo>
                    <a:pt x="3120" y="6051"/>
                    <a:pt x="2851" y="6320"/>
                    <a:pt x="2520" y="6320"/>
                  </a:cubicBezTo>
                  <a:close/>
                  <a:moveTo>
                    <a:pt x="5720" y="9520"/>
                  </a:moveTo>
                  <a:cubicBezTo>
                    <a:pt x="5389" y="9520"/>
                    <a:pt x="5120" y="9251"/>
                    <a:pt x="5120" y="8920"/>
                  </a:cubicBezTo>
                  <a:cubicBezTo>
                    <a:pt x="5120" y="8589"/>
                    <a:pt x="5389" y="8320"/>
                    <a:pt x="5720" y="8320"/>
                  </a:cubicBezTo>
                  <a:cubicBezTo>
                    <a:pt x="6051" y="8320"/>
                    <a:pt x="6320" y="8589"/>
                    <a:pt x="6320" y="8920"/>
                  </a:cubicBezTo>
                  <a:cubicBezTo>
                    <a:pt x="6320" y="9251"/>
                    <a:pt x="6051" y="9520"/>
                    <a:pt x="5720" y="9520"/>
                  </a:cubicBezTo>
                  <a:close/>
                  <a:moveTo>
                    <a:pt x="5720" y="6320"/>
                  </a:moveTo>
                  <a:cubicBezTo>
                    <a:pt x="5389" y="6320"/>
                    <a:pt x="5120" y="6051"/>
                    <a:pt x="5120" y="5720"/>
                  </a:cubicBezTo>
                  <a:cubicBezTo>
                    <a:pt x="5120" y="5389"/>
                    <a:pt x="5389" y="5120"/>
                    <a:pt x="5720" y="5120"/>
                  </a:cubicBezTo>
                  <a:cubicBezTo>
                    <a:pt x="6051" y="5120"/>
                    <a:pt x="6320" y="5389"/>
                    <a:pt x="6320" y="5720"/>
                  </a:cubicBezTo>
                  <a:cubicBezTo>
                    <a:pt x="6320" y="6051"/>
                    <a:pt x="6051" y="6320"/>
                    <a:pt x="5720" y="6320"/>
                  </a:cubicBezTo>
                  <a:close/>
                  <a:moveTo>
                    <a:pt x="5720" y="3120"/>
                  </a:moveTo>
                  <a:cubicBezTo>
                    <a:pt x="5389" y="3120"/>
                    <a:pt x="5120" y="2851"/>
                    <a:pt x="5120" y="2520"/>
                  </a:cubicBezTo>
                  <a:cubicBezTo>
                    <a:pt x="5120" y="2189"/>
                    <a:pt x="5389" y="1920"/>
                    <a:pt x="5720" y="1920"/>
                  </a:cubicBezTo>
                  <a:cubicBezTo>
                    <a:pt x="6051" y="1920"/>
                    <a:pt x="6320" y="2189"/>
                    <a:pt x="6320" y="2520"/>
                  </a:cubicBezTo>
                  <a:cubicBezTo>
                    <a:pt x="6320" y="2851"/>
                    <a:pt x="6051" y="3120"/>
                    <a:pt x="5720" y="3120"/>
                  </a:cubicBezTo>
                  <a:close/>
                  <a:moveTo>
                    <a:pt x="8920" y="6320"/>
                  </a:moveTo>
                  <a:cubicBezTo>
                    <a:pt x="8589" y="6320"/>
                    <a:pt x="8320" y="6051"/>
                    <a:pt x="8320" y="5720"/>
                  </a:cubicBezTo>
                  <a:cubicBezTo>
                    <a:pt x="8320" y="5389"/>
                    <a:pt x="8589" y="5120"/>
                    <a:pt x="8920" y="5120"/>
                  </a:cubicBezTo>
                  <a:cubicBezTo>
                    <a:pt x="9251" y="5120"/>
                    <a:pt x="9520" y="5389"/>
                    <a:pt x="9520" y="5720"/>
                  </a:cubicBezTo>
                  <a:cubicBezTo>
                    <a:pt x="9520" y="6051"/>
                    <a:pt x="9251" y="6320"/>
                    <a:pt x="8920" y="632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grpSp>
        <p:nvGrpSpPr>
          <p:cNvPr id="38" name="îSľíḍé">
            <a:extLst>
              <a:ext uri="{FF2B5EF4-FFF2-40B4-BE49-F238E27FC236}">
                <a16:creationId xmlns:a16="http://schemas.microsoft.com/office/drawing/2014/main" id="{FB15AE30-A9E2-4177-83D3-31B2A919D320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39" name="ïṧlîḓe">
              <a:extLst>
                <a:ext uri="{FF2B5EF4-FFF2-40B4-BE49-F238E27FC236}">
                  <a16:creationId xmlns:a16="http://schemas.microsoft.com/office/drawing/2014/main" id="{D382854C-BC2C-4E29-BB13-A7E711B1F645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40" name="iṡliḓè">
              <a:extLst>
                <a:ext uri="{FF2B5EF4-FFF2-40B4-BE49-F238E27FC236}">
                  <a16:creationId xmlns:a16="http://schemas.microsoft.com/office/drawing/2014/main" id="{C979F902-B4A2-46B6-AA61-F533D403BA58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41" name="íšḻíḋè">
                <a:extLst>
                  <a:ext uri="{FF2B5EF4-FFF2-40B4-BE49-F238E27FC236}">
                    <a16:creationId xmlns:a16="http://schemas.microsoft.com/office/drawing/2014/main" id="{F98B911B-21BC-4C8C-A67E-884F6E891179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42" name="îS1iḓé">
                <a:extLst>
                  <a:ext uri="{FF2B5EF4-FFF2-40B4-BE49-F238E27FC236}">
                    <a16:creationId xmlns:a16="http://schemas.microsoft.com/office/drawing/2014/main" id="{A504AFF2-F080-410E-9AF6-04BBD56BDDF4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1873E77-77AF-4835-89C0-D68C15B7D7F1}"/>
              </a:ext>
            </a:extLst>
          </p:cNvPr>
          <p:cNvGrpSpPr/>
          <p:nvPr/>
        </p:nvGrpSpPr>
        <p:grpSpPr>
          <a:xfrm>
            <a:off x="933543" y="3231716"/>
            <a:ext cx="6554352" cy="918238"/>
            <a:chOff x="933543" y="3229769"/>
            <a:chExt cx="6554352" cy="918238"/>
          </a:xfrm>
        </p:grpSpPr>
        <p:sp>
          <p:nvSpPr>
            <p:cNvPr id="23" name="ïṧḷîdè">
              <a:extLst>
                <a:ext uri="{FF2B5EF4-FFF2-40B4-BE49-F238E27FC236}">
                  <a16:creationId xmlns:a16="http://schemas.microsoft.com/office/drawing/2014/main" id="{48CBF85C-7911-4BE7-A8DD-E9D9ACE2786D}"/>
                </a:ext>
              </a:extLst>
            </p:cNvPr>
            <p:cNvSpPr/>
            <p:nvPr/>
          </p:nvSpPr>
          <p:spPr>
            <a:xfrm>
              <a:off x="933543" y="3349551"/>
              <a:ext cx="738756" cy="738756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000" b="1" dirty="0">
                  <a:solidFill>
                    <a:schemeClr val="bg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2000" b="1" dirty="0">
                  <a:solidFill>
                    <a:schemeClr val="bg1"/>
                  </a:solidFill>
                </a:rPr>
                <a:t>2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iconfont-11253-5327531">
              <a:extLst>
                <a:ext uri="{FF2B5EF4-FFF2-40B4-BE49-F238E27FC236}">
                  <a16:creationId xmlns:a16="http://schemas.microsoft.com/office/drawing/2014/main" id="{D4F49714-CC84-4A95-BE6B-D6CFD88E326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38265" y="3483918"/>
              <a:ext cx="609685" cy="604389"/>
            </a:xfrm>
            <a:custGeom>
              <a:avLst/>
              <a:gdLst>
                <a:gd name="T0" fmla="*/ 9994 w 10075"/>
                <a:gd name="T1" fmla="*/ 278 h 9987"/>
                <a:gd name="T2" fmla="*/ 9894 w 10075"/>
                <a:gd name="T3" fmla="*/ 774 h 9987"/>
                <a:gd name="T4" fmla="*/ 6397 w 10075"/>
                <a:gd name="T5" fmla="*/ 4270 h 9987"/>
                <a:gd name="T6" fmla="*/ 6397 w 10075"/>
                <a:gd name="T7" fmla="*/ 9532 h 9987"/>
                <a:gd name="T8" fmla="*/ 6121 w 10075"/>
                <a:gd name="T9" fmla="*/ 9950 h 9987"/>
                <a:gd name="T10" fmla="*/ 5943 w 10075"/>
                <a:gd name="T11" fmla="*/ 9987 h 9987"/>
                <a:gd name="T12" fmla="*/ 5625 w 10075"/>
                <a:gd name="T13" fmla="*/ 9853 h 9987"/>
                <a:gd name="T14" fmla="*/ 3809 w 10075"/>
                <a:gd name="T15" fmla="*/ 8034 h 9987"/>
                <a:gd name="T16" fmla="*/ 3675 w 10075"/>
                <a:gd name="T17" fmla="*/ 7715 h 9987"/>
                <a:gd name="T18" fmla="*/ 3675 w 10075"/>
                <a:gd name="T19" fmla="*/ 4270 h 9987"/>
                <a:gd name="T20" fmla="*/ 179 w 10075"/>
                <a:gd name="T21" fmla="*/ 774 h 9987"/>
                <a:gd name="T22" fmla="*/ 79 w 10075"/>
                <a:gd name="T23" fmla="*/ 278 h 9987"/>
                <a:gd name="T24" fmla="*/ 497 w 10075"/>
                <a:gd name="T25" fmla="*/ 2 h 9987"/>
                <a:gd name="T26" fmla="*/ 9574 w 10075"/>
                <a:gd name="T27" fmla="*/ 2 h 9987"/>
                <a:gd name="T28" fmla="*/ 9994 w 10075"/>
                <a:gd name="T29" fmla="*/ 278 h 9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075" h="9987">
                  <a:moveTo>
                    <a:pt x="9994" y="278"/>
                  </a:moveTo>
                  <a:cubicBezTo>
                    <a:pt x="10075" y="471"/>
                    <a:pt x="10041" y="638"/>
                    <a:pt x="9894" y="774"/>
                  </a:cubicBezTo>
                  <a:lnTo>
                    <a:pt x="6397" y="4270"/>
                  </a:lnTo>
                  <a:lnTo>
                    <a:pt x="6397" y="9532"/>
                  </a:lnTo>
                  <a:cubicBezTo>
                    <a:pt x="6397" y="9729"/>
                    <a:pt x="6305" y="9870"/>
                    <a:pt x="6121" y="9950"/>
                  </a:cubicBezTo>
                  <a:cubicBezTo>
                    <a:pt x="6060" y="9975"/>
                    <a:pt x="6000" y="9987"/>
                    <a:pt x="5943" y="9987"/>
                  </a:cubicBezTo>
                  <a:cubicBezTo>
                    <a:pt x="5815" y="9987"/>
                    <a:pt x="5710" y="9942"/>
                    <a:pt x="5625" y="9853"/>
                  </a:cubicBezTo>
                  <a:lnTo>
                    <a:pt x="3809" y="8034"/>
                  </a:lnTo>
                  <a:cubicBezTo>
                    <a:pt x="3719" y="7944"/>
                    <a:pt x="3675" y="7838"/>
                    <a:pt x="3675" y="7715"/>
                  </a:cubicBezTo>
                  <a:lnTo>
                    <a:pt x="3675" y="4270"/>
                  </a:lnTo>
                  <a:lnTo>
                    <a:pt x="179" y="774"/>
                  </a:lnTo>
                  <a:cubicBezTo>
                    <a:pt x="32" y="637"/>
                    <a:pt x="0" y="472"/>
                    <a:pt x="79" y="278"/>
                  </a:cubicBezTo>
                  <a:cubicBezTo>
                    <a:pt x="160" y="93"/>
                    <a:pt x="297" y="2"/>
                    <a:pt x="497" y="2"/>
                  </a:cubicBezTo>
                  <a:lnTo>
                    <a:pt x="9574" y="2"/>
                  </a:lnTo>
                  <a:cubicBezTo>
                    <a:pt x="9774" y="0"/>
                    <a:pt x="9914" y="93"/>
                    <a:pt x="9994" y="27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44" name="íṣḻïďe">
              <a:extLst>
                <a:ext uri="{FF2B5EF4-FFF2-40B4-BE49-F238E27FC236}">
                  <a16:creationId xmlns:a16="http://schemas.microsoft.com/office/drawing/2014/main" id="{58E4905D-C489-45B3-AEF7-8CA546DE2E0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90611" y="3229769"/>
              <a:ext cx="4797284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sz="2400" b="1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Choose Top 6</a:t>
              </a:r>
            </a:p>
          </p:txBody>
        </p:sp>
        <p:sp>
          <p:nvSpPr>
            <p:cNvPr id="45" name="îSḷïḑê">
              <a:extLst>
                <a:ext uri="{FF2B5EF4-FFF2-40B4-BE49-F238E27FC236}">
                  <a16:creationId xmlns:a16="http://schemas.microsoft.com/office/drawing/2014/main" id="{C221B134-E894-4C6B-BBB0-4AABE62D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611" y="3675402"/>
              <a:ext cx="4797284" cy="4726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0, 1, 1, …, 0]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18B310A-DBFD-40B7-839A-A44B989279B8}"/>
              </a:ext>
            </a:extLst>
          </p:cNvPr>
          <p:cNvGrpSpPr/>
          <p:nvPr/>
        </p:nvGrpSpPr>
        <p:grpSpPr>
          <a:xfrm>
            <a:off x="933543" y="4697142"/>
            <a:ext cx="6554352" cy="918238"/>
            <a:chOff x="933543" y="5156366"/>
            <a:chExt cx="6554352" cy="918238"/>
          </a:xfrm>
        </p:grpSpPr>
        <p:sp>
          <p:nvSpPr>
            <p:cNvPr id="24" name="íSḷîḍê">
              <a:extLst>
                <a:ext uri="{FF2B5EF4-FFF2-40B4-BE49-F238E27FC236}">
                  <a16:creationId xmlns:a16="http://schemas.microsoft.com/office/drawing/2014/main" id="{E1A0F16F-F7E2-4557-94B8-45BC60E350BE}"/>
                </a:ext>
              </a:extLst>
            </p:cNvPr>
            <p:cNvSpPr/>
            <p:nvPr/>
          </p:nvSpPr>
          <p:spPr>
            <a:xfrm>
              <a:off x="933543" y="5335848"/>
              <a:ext cx="738756" cy="738756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0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000" b="1">
                  <a:solidFill>
                    <a:schemeClr val="bg1"/>
                  </a:solidFill>
                </a:rPr>
                <a:t>3</a:t>
              </a:r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binary-code_288855">
              <a:extLst>
                <a:ext uri="{FF2B5EF4-FFF2-40B4-BE49-F238E27FC236}">
                  <a16:creationId xmlns:a16="http://schemas.microsoft.com/office/drawing/2014/main" id="{09C319E2-0F8B-4788-A0D9-5579D2EF0AB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08207" y="5400383"/>
              <a:ext cx="457936" cy="609685"/>
            </a:xfrm>
            <a:custGeom>
              <a:avLst/>
              <a:gdLst>
                <a:gd name="connsiteX0" fmla="*/ 177190 w 455711"/>
                <a:gd name="connsiteY0" fmla="*/ 429814 h 606722"/>
                <a:gd name="connsiteX1" fmla="*/ 202594 w 455711"/>
                <a:gd name="connsiteY1" fmla="*/ 429814 h 606722"/>
                <a:gd name="connsiteX2" fmla="*/ 202594 w 455711"/>
                <a:gd name="connsiteY2" fmla="*/ 480268 h 606722"/>
                <a:gd name="connsiteX3" fmla="*/ 177190 w 455711"/>
                <a:gd name="connsiteY3" fmla="*/ 480268 h 606722"/>
                <a:gd name="connsiteX4" fmla="*/ 372224 w 455711"/>
                <a:gd name="connsiteY4" fmla="*/ 404452 h 606722"/>
                <a:gd name="connsiteX5" fmla="*/ 359496 w 455711"/>
                <a:gd name="connsiteY5" fmla="*/ 407029 h 606722"/>
                <a:gd name="connsiteX6" fmla="*/ 334218 w 455711"/>
                <a:gd name="connsiteY6" fmla="*/ 432268 h 606722"/>
                <a:gd name="connsiteX7" fmla="*/ 334218 w 455711"/>
                <a:gd name="connsiteY7" fmla="*/ 449954 h 606722"/>
                <a:gd name="connsiteX8" fmla="*/ 351930 w 455711"/>
                <a:gd name="connsiteY8" fmla="*/ 449954 h 606722"/>
                <a:gd name="connsiteX9" fmla="*/ 354511 w 455711"/>
                <a:gd name="connsiteY9" fmla="*/ 447465 h 606722"/>
                <a:gd name="connsiteX10" fmla="*/ 354511 w 455711"/>
                <a:gd name="connsiteY10" fmla="*/ 492967 h 606722"/>
                <a:gd name="connsiteX11" fmla="*/ 367150 w 455711"/>
                <a:gd name="connsiteY11" fmla="*/ 505587 h 606722"/>
                <a:gd name="connsiteX12" fmla="*/ 379789 w 455711"/>
                <a:gd name="connsiteY12" fmla="*/ 492967 h 606722"/>
                <a:gd name="connsiteX13" fmla="*/ 379789 w 455711"/>
                <a:gd name="connsiteY13" fmla="*/ 417071 h 606722"/>
                <a:gd name="connsiteX14" fmla="*/ 372224 w 455711"/>
                <a:gd name="connsiteY14" fmla="*/ 404452 h 606722"/>
                <a:gd name="connsiteX15" fmla="*/ 164572 w 455711"/>
                <a:gd name="connsiteY15" fmla="*/ 404452 h 606722"/>
                <a:gd name="connsiteX16" fmla="*/ 151934 w 455711"/>
                <a:gd name="connsiteY16" fmla="*/ 417071 h 606722"/>
                <a:gd name="connsiteX17" fmla="*/ 151934 w 455711"/>
                <a:gd name="connsiteY17" fmla="*/ 492967 h 606722"/>
                <a:gd name="connsiteX18" fmla="*/ 164572 w 455711"/>
                <a:gd name="connsiteY18" fmla="*/ 505587 h 606722"/>
                <a:gd name="connsiteX19" fmla="*/ 215217 w 455711"/>
                <a:gd name="connsiteY19" fmla="*/ 505587 h 606722"/>
                <a:gd name="connsiteX20" fmla="*/ 227856 w 455711"/>
                <a:gd name="connsiteY20" fmla="*/ 492967 h 606722"/>
                <a:gd name="connsiteX21" fmla="*/ 227856 w 455711"/>
                <a:gd name="connsiteY21" fmla="*/ 417071 h 606722"/>
                <a:gd name="connsiteX22" fmla="*/ 215217 w 455711"/>
                <a:gd name="connsiteY22" fmla="*/ 404452 h 606722"/>
                <a:gd name="connsiteX23" fmla="*/ 289926 w 455711"/>
                <a:gd name="connsiteY23" fmla="*/ 403841 h 606722"/>
                <a:gd name="connsiteX24" fmla="*/ 283574 w 455711"/>
                <a:gd name="connsiteY24" fmla="*/ 407029 h 606722"/>
                <a:gd name="connsiteX25" fmla="*/ 258296 w 455711"/>
                <a:gd name="connsiteY25" fmla="*/ 432268 h 606722"/>
                <a:gd name="connsiteX26" fmla="*/ 258296 w 455711"/>
                <a:gd name="connsiteY26" fmla="*/ 449954 h 606722"/>
                <a:gd name="connsiteX27" fmla="*/ 276008 w 455711"/>
                <a:gd name="connsiteY27" fmla="*/ 449954 h 606722"/>
                <a:gd name="connsiteX28" fmla="*/ 278500 w 455711"/>
                <a:gd name="connsiteY28" fmla="*/ 447465 h 606722"/>
                <a:gd name="connsiteX29" fmla="*/ 278500 w 455711"/>
                <a:gd name="connsiteY29" fmla="*/ 492967 h 606722"/>
                <a:gd name="connsiteX30" fmla="*/ 291139 w 455711"/>
                <a:gd name="connsiteY30" fmla="*/ 505587 h 606722"/>
                <a:gd name="connsiteX31" fmla="*/ 303867 w 455711"/>
                <a:gd name="connsiteY31" fmla="*/ 492967 h 606722"/>
                <a:gd name="connsiteX32" fmla="*/ 303867 w 455711"/>
                <a:gd name="connsiteY32" fmla="*/ 417071 h 606722"/>
                <a:gd name="connsiteX33" fmla="*/ 296212 w 455711"/>
                <a:gd name="connsiteY33" fmla="*/ 404452 h 606722"/>
                <a:gd name="connsiteX34" fmla="*/ 289926 w 455711"/>
                <a:gd name="connsiteY34" fmla="*/ 403841 h 606722"/>
                <a:gd name="connsiteX35" fmla="*/ 112682 w 455711"/>
                <a:gd name="connsiteY35" fmla="*/ 403841 h 606722"/>
                <a:gd name="connsiteX36" fmla="*/ 106362 w 455711"/>
                <a:gd name="connsiteY36" fmla="*/ 407029 h 606722"/>
                <a:gd name="connsiteX37" fmla="*/ 81084 w 455711"/>
                <a:gd name="connsiteY37" fmla="*/ 432268 h 606722"/>
                <a:gd name="connsiteX38" fmla="*/ 81084 w 455711"/>
                <a:gd name="connsiteY38" fmla="*/ 449954 h 606722"/>
                <a:gd name="connsiteX39" fmla="*/ 98796 w 455711"/>
                <a:gd name="connsiteY39" fmla="*/ 449954 h 606722"/>
                <a:gd name="connsiteX40" fmla="*/ 101289 w 455711"/>
                <a:gd name="connsiteY40" fmla="*/ 447465 h 606722"/>
                <a:gd name="connsiteX41" fmla="*/ 101289 w 455711"/>
                <a:gd name="connsiteY41" fmla="*/ 492967 h 606722"/>
                <a:gd name="connsiteX42" fmla="*/ 113928 w 455711"/>
                <a:gd name="connsiteY42" fmla="*/ 505587 h 606722"/>
                <a:gd name="connsiteX43" fmla="*/ 126656 w 455711"/>
                <a:gd name="connsiteY43" fmla="*/ 492967 h 606722"/>
                <a:gd name="connsiteX44" fmla="*/ 126656 w 455711"/>
                <a:gd name="connsiteY44" fmla="*/ 417071 h 606722"/>
                <a:gd name="connsiteX45" fmla="*/ 119001 w 455711"/>
                <a:gd name="connsiteY45" fmla="*/ 404452 h 606722"/>
                <a:gd name="connsiteX46" fmla="*/ 112682 w 455711"/>
                <a:gd name="connsiteY46" fmla="*/ 403841 h 606722"/>
                <a:gd name="connsiteX47" fmla="*/ 101261 w 455711"/>
                <a:gd name="connsiteY47" fmla="*/ 278099 h 606722"/>
                <a:gd name="connsiteX48" fmla="*/ 126665 w 455711"/>
                <a:gd name="connsiteY48" fmla="*/ 278099 h 606722"/>
                <a:gd name="connsiteX49" fmla="*/ 126665 w 455711"/>
                <a:gd name="connsiteY49" fmla="*/ 328624 h 606722"/>
                <a:gd name="connsiteX50" fmla="*/ 101261 w 455711"/>
                <a:gd name="connsiteY50" fmla="*/ 328624 h 606722"/>
                <a:gd name="connsiteX51" fmla="*/ 372224 w 455711"/>
                <a:gd name="connsiteY51" fmla="*/ 252749 h 606722"/>
                <a:gd name="connsiteX52" fmla="*/ 359496 w 455711"/>
                <a:gd name="connsiteY52" fmla="*/ 255326 h 606722"/>
                <a:gd name="connsiteX53" fmla="*/ 334218 w 455711"/>
                <a:gd name="connsiteY53" fmla="*/ 280566 h 606722"/>
                <a:gd name="connsiteX54" fmla="*/ 334218 w 455711"/>
                <a:gd name="connsiteY54" fmla="*/ 298251 h 606722"/>
                <a:gd name="connsiteX55" fmla="*/ 351930 w 455711"/>
                <a:gd name="connsiteY55" fmla="*/ 298251 h 606722"/>
                <a:gd name="connsiteX56" fmla="*/ 354511 w 455711"/>
                <a:gd name="connsiteY56" fmla="*/ 295763 h 606722"/>
                <a:gd name="connsiteX57" fmla="*/ 354511 w 455711"/>
                <a:gd name="connsiteY57" fmla="*/ 341264 h 606722"/>
                <a:gd name="connsiteX58" fmla="*/ 367150 w 455711"/>
                <a:gd name="connsiteY58" fmla="*/ 353884 h 606722"/>
                <a:gd name="connsiteX59" fmla="*/ 379789 w 455711"/>
                <a:gd name="connsiteY59" fmla="*/ 341264 h 606722"/>
                <a:gd name="connsiteX60" fmla="*/ 379789 w 455711"/>
                <a:gd name="connsiteY60" fmla="*/ 265458 h 606722"/>
                <a:gd name="connsiteX61" fmla="*/ 372224 w 455711"/>
                <a:gd name="connsiteY61" fmla="*/ 252749 h 606722"/>
                <a:gd name="connsiteX62" fmla="*/ 88650 w 455711"/>
                <a:gd name="connsiteY62" fmla="*/ 252749 h 606722"/>
                <a:gd name="connsiteX63" fmla="*/ 76011 w 455711"/>
                <a:gd name="connsiteY63" fmla="*/ 265458 h 606722"/>
                <a:gd name="connsiteX64" fmla="*/ 76011 w 455711"/>
                <a:gd name="connsiteY64" fmla="*/ 341264 h 606722"/>
                <a:gd name="connsiteX65" fmla="*/ 88650 w 455711"/>
                <a:gd name="connsiteY65" fmla="*/ 353884 h 606722"/>
                <a:gd name="connsiteX66" fmla="*/ 139295 w 455711"/>
                <a:gd name="connsiteY66" fmla="*/ 353884 h 606722"/>
                <a:gd name="connsiteX67" fmla="*/ 151934 w 455711"/>
                <a:gd name="connsiteY67" fmla="*/ 341264 h 606722"/>
                <a:gd name="connsiteX68" fmla="*/ 151934 w 455711"/>
                <a:gd name="connsiteY68" fmla="*/ 265458 h 606722"/>
                <a:gd name="connsiteX69" fmla="*/ 139295 w 455711"/>
                <a:gd name="connsiteY69" fmla="*/ 252749 h 606722"/>
                <a:gd name="connsiteX70" fmla="*/ 289926 w 455711"/>
                <a:gd name="connsiteY70" fmla="*/ 252138 h 606722"/>
                <a:gd name="connsiteX71" fmla="*/ 283574 w 455711"/>
                <a:gd name="connsiteY71" fmla="*/ 255326 h 606722"/>
                <a:gd name="connsiteX72" fmla="*/ 258296 w 455711"/>
                <a:gd name="connsiteY72" fmla="*/ 280566 h 606722"/>
                <a:gd name="connsiteX73" fmla="*/ 258296 w 455711"/>
                <a:gd name="connsiteY73" fmla="*/ 298251 h 606722"/>
                <a:gd name="connsiteX74" fmla="*/ 276008 w 455711"/>
                <a:gd name="connsiteY74" fmla="*/ 298251 h 606722"/>
                <a:gd name="connsiteX75" fmla="*/ 278500 w 455711"/>
                <a:gd name="connsiteY75" fmla="*/ 295763 h 606722"/>
                <a:gd name="connsiteX76" fmla="*/ 278500 w 455711"/>
                <a:gd name="connsiteY76" fmla="*/ 341264 h 606722"/>
                <a:gd name="connsiteX77" fmla="*/ 291139 w 455711"/>
                <a:gd name="connsiteY77" fmla="*/ 353884 h 606722"/>
                <a:gd name="connsiteX78" fmla="*/ 303867 w 455711"/>
                <a:gd name="connsiteY78" fmla="*/ 341264 h 606722"/>
                <a:gd name="connsiteX79" fmla="*/ 303867 w 455711"/>
                <a:gd name="connsiteY79" fmla="*/ 265458 h 606722"/>
                <a:gd name="connsiteX80" fmla="*/ 296212 w 455711"/>
                <a:gd name="connsiteY80" fmla="*/ 252749 h 606722"/>
                <a:gd name="connsiteX81" fmla="*/ 289926 w 455711"/>
                <a:gd name="connsiteY81" fmla="*/ 252138 h 606722"/>
                <a:gd name="connsiteX82" fmla="*/ 213971 w 455711"/>
                <a:gd name="connsiteY82" fmla="*/ 252138 h 606722"/>
                <a:gd name="connsiteX83" fmla="*/ 207651 w 455711"/>
                <a:gd name="connsiteY83" fmla="*/ 255326 h 606722"/>
                <a:gd name="connsiteX84" fmla="*/ 182285 w 455711"/>
                <a:gd name="connsiteY84" fmla="*/ 280566 h 606722"/>
                <a:gd name="connsiteX85" fmla="*/ 182285 w 455711"/>
                <a:gd name="connsiteY85" fmla="*/ 298251 h 606722"/>
                <a:gd name="connsiteX86" fmla="*/ 199997 w 455711"/>
                <a:gd name="connsiteY86" fmla="*/ 298251 h 606722"/>
                <a:gd name="connsiteX87" fmla="*/ 202578 w 455711"/>
                <a:gd name="connsiteY87" fmla="*/ 295763 h 606722"/>
                <a:gd name="connsiteX88" fmla="*/ 202578 w 455711"/>
                <a:gd name="connsiteY88" fmla="*/ 341264 h 606722"/>
                <a:gd name="connsiteX89" fmla="*/ 215217 w 455711"/>
                <a:gd name="connsiteY89" fmla="*/ 353884 h 606722"/>
                <a:gd name="connsiteX90" fmla="*/ 227856 w 455711"/>
                <a:gd name="connsiteY90" fmla="*/ 341264 h 606722"/>
                <a:gd name="connsiteX91" fmla="*/ 227856 w 455711"/>
                <a:gd name="connsiteY91" fmla="*/ 265458 h 606722"/>
                <a:gd name="connsiteX92" fmla="*/ 220290 w 455711"/>
                <a:gd name="connsiteY92" fmla="*/ 252749 h 606722"/>
                <a:gd name="connsiteX93" fmla="*/ 213971 w 455711"/>
                <a:gd name="connsiteY93" fmla="*/ 252138 h 606722"/>
                <a:gd name="connsiteX94" fmla="*/ 151934 w 455711"/>
                <a:gd name="connsiteY94" fmla="*/ 43014 h 606722"/>
                <a:gd name="connsiteX95" fmla="*/ 43079 w 455711"/>
                <a:gd name="connsiteY95" fmla="*/ 151703 h 606722"/>
                <a:gd name="connsiteX96" fmla="*/ 151934 w 455711"/>
                <a:gd name="connsiteY96" fmla="*/ 151703 h 606722"/>
                <a:gd name="connsiteX97" fmla="*/ 159499 w 455711"/>
                <a:gd name="connsiteY97" fmla="*/ 0 h 606722"/>
                <a:gd name="connsiteX98" fmla="*/ 162080 w 455711"/>
                <a:gd name="connsiteY98" fmla="*/ 0 h 606722"/>
                <a:gd name="connsiteX99" fmla="*/ 164572 w 455711"/>
                <a:gd name="connsiteY99" fmla="*/ 0 h 606722"/>
                <a:gd name="connsiteX100" fmla="*/ 443072 w 455711"/>
                <a:gd name="connsiteY100" fmla="*/ 0 h 606722"/>
                <a:gd name="connsiteX101" fmla="*/ 455711 w 455711"/>
                <a:gd name="connsiteY101" fmla="*/ 12620 h 606722"/>
                <a:gd name="connsiteX102" fmla="*/ 455711 w 455711"/>
                <a:gd name="connsiteY102" fmla="*/ 594013 h 606722"/>
                <a:gd name="connsiteX103" fmla="*/ 443072 w 455711"/>
                <a:gd name="connsiteY103" fmla="*/ 606722 h 606722"/>
                <a:gd name="connsiteX104" fmla="*/ 12728 w 455711"/>
                <a:gd name="connsiteY104" fmla="*/ 606722 h 606722"/>
                <a:gd name="connsiteX105" fmla="*/ 0 w 455711"/>
                <a:gd name="connsiteY105" fmla="*/ 594013 h 606722"/>
                <a:gd name="connsiteX106" fmla="*/ 0 w 455711"/>
                <a:gd name="connsiteY106" fmla="*/ 164322 h 606722"/>
                <a:gd name="connsiteX107" fmla="*/ 0 w 455711"/>
                <a:gd name="connsiteY107" fmla="*/ 161745 h 606722"/>
                <a:gd name="connsiteX108" fmla="*/ 0 w 455711"/>
                <a:gd name="connsiteY108" fmla="*/ 159257 h 606722"/>
                <a:gd name="connsiteX109" fmla="*/ 2581 w 455711"/>
                <a:gd name="connsiteY109" fmla="*/ 154191 h 606722"/>
                <a:gd name="connsiteX110" fmla="*/ 154426 w 455711"/>
                <a:gd name="connsiteY110" fmla="*/ 2488 h 606722"/>
                <a:gd name="connsiteX111" fmla="*/ 159499 w 455711"/>
                <a:gd name="connsiteY111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455711" h="606722">
                  <a:moveTo>
                    <a:pt x="177190" y="429814"/>
                  </a:moveTo>
                  <a:lnTo>
                    <a:pt x="202594" y="429814"/>
                  </a:lnTo>
                  <a:lnTo>
                    <a:pt x="202594" y="480268"/>
                  </a:lnTo>
                  <a:lnTo>
                    <a:pt x="177190" y="480268"/>
                  </a:lnTo>
                  <a:close/>
                  <a:moveTo>
                    <a:pt x="372224" y="404452"/>
                  </a:moveTo>
                  <a:cubicBezTo>
                    <a:pt x="369642" y="401963"/>
                    <a:pt x="362077" y="404452"/>
                    <a:pt x="359496" y="407029"/>
                  </a:cubicBezTo>
                  <a:lnTo>
                    <a:pt x="334218" y="432268"/>
                  </a:lnTo>
                  <a:cubicBezTo>
                    <a:pt x="329145" y="437334"/>
                    <a:pt x="329145" y="444888"/>
                    <a:pt x="334218" y="449954"/>
                  </a:cubicBezTo>
                  <a:cubicBezTo>
                    <a:pt x="339291" y="455019"/>
                    <a:pt x="346857" y="455019"/>
                    <a:pt x="351930" y="449954"/>
                  </a:cubicBezTo>
                  <a:lnTo>
                    <a:pt x="354511" y="447465"/>
                  </a:lnTo>
                  <a:lnTo>
                    <a:pt x="354511" y="492967"/>
                  </a:lnTo>
                  <a:cubicBezTo>
                    <a:pt x="354511" y="500521"/>
                    <a:pt x="359496" y="505587"/>
                    <a:pt x="367150" y="505587"/>
                  </a:cubicBezTo>
                  <a:cubicBezTo>
                    <a:pt x="374716" y="505587"/>
                    <a:pt x="379789" y="500521"/>
                    <a:pt x="379789" y="492967"/>
                  </a:cubicBezTo>
                  <a:lnTo>
                    <a:pt x="379789" y="417071"/>
                  </a:lnTo>
                  <a:cubicBezTo>
                    <a:pt x="379789" y="412006"/>
                    <a:pt x="377297" y="407029"/>
                    <a:pt x="372224" y="404452"/>
                  </a:cubicBezTo>
                  <a:close/>
                  <a:moveTo>
                    <a:pt x="164572" y="404452"/>
                  </a:moveTo>
                  <a:cubicBezTo>
                    <a:pt x="157007" y="404452"/>
                    <a:pt x="151934" y="409517"/>
                    <a:pt x="151934" y="417071"/>
                  </a:cubicBezTo>
                  <a:lnTo>
                    <a:pt x="151934" y="492967"/>
                  </a:lnTo>
                  <a:cubicBezTo>
                    <a:pt x="151934" y="500521"/>
                    <a:pt x="157007" y="505587"/>
                    <a:pt x="164572" y="505587"/>
                  </a:cubicBezTo>
                  <a:lnTo>
                    <a:pt x="215217" y="505587"/>
                  </a:lnTo>
                  <a:cubicBezTo>
                    <a:pt x="222782" y="505587"/>
                    <a:pt x="227856" y="500521"/>
                    <a:pt x="227856" y="492967"/>
                  </a:cubicBezTo>
                  <a:lnTo>
                    <a:pt x="227856" y="417071"/>
                  </a:lnTo>
                  <a:cubicBezTo>
                    <a:pt x="227856" y="409517"/>
                    <a:pt x="222782" y="404452"/>
                    <a:pt x="215217" y="404452"/>
                  </a:cubicBezTo>
                  <a:close/>
                  <a:moveTo>
                    <a:pt x="289926" y="403841"/>
                  </a:moveTo>
                  <a:cubicBezTo>
                    <a:pt x="287401" y="404474"/>
                    <a:pt x="284864" y="405740"/>
                    <a:pt x="283574" y="407029"/>
                  </a:cubicBezTo>
                  <a:lnTo>
                    <a:pt x="258296" y="432268"/>
                  </a:lnTo>
                  <a:cubicBezTo>
                    <a:pt x="253222" y="437334"/>
                    <a:pt x="253222" y="444888"/>
                    <a:pt x="258296" y="449954"/>
                  </a:cubicBezTo>
                  <a:cubicBezTo>
                    <a:pt x="263369" y="455019"/>
                    <a:pt x="270935" y="455019"/>
                    <a:pt x="276008" y="449954"/>
                  </a:cubicBezTo>
                  <a:lnTo>
                    <a:pt x="278500" y="447465"/>
                  </a:lnTo>
                  <a:lnTo>
                    <a:pt x="278500" y="492967"/>
                  </a:lnTo>
                  <a:cubicBezTo>
                    <a:pt x="278500" y="500521"/>
                    <a:pt x="283574" y="505587"/>
                    <a:pt x="291139" y="505587"/>
                  </a:cubicBezTo>
                  <a:cubicBezTo>
                    <a:pt x="298794" y="505587"/>
                    <a:pt x="303867" y="500521"/>
                    <a:pt x="303867" y="492967"/>
                  </a:cubicBezTo>
                  <a:lnTo>
                    <a:pt x="303867" y="417071"/>
                  </a:lnTo>
                  <a:cubicBezTo>
                    <a:pt x="303867" y="412006"/>
                    <a:pt x="301286" y="407029"/>
                    <a:pt x="296212" y="404452"/>
                  </a:cubicBezTo>
                  <a:cubicBezTo>
                    <a:pt x="294966" y="403207"/>
                    <a:pt x="292452" y="403207"/>
                    <a:pt x="289926" y="403841"/>
                  </a:cubicBezTo>
                  <a:close/>
                  <a:moveTo>
                    <a:pt x="112682" y="403841"/>
                  </a:moveTo>
                  <a:cubicBezTo>
                    <a:pt x="110145" y="404474"/>
                    <a:pt x="107609" y="405740"/>
                    <a:pt x="106362" y="407029"/>
                  </a:cubicBezTo>
                  <a:lnTo>
                    <a:pt x="81084" y="432268"/>
                  </a:lnTo>
                  <a:cubicBezTo>
                    <a:pt x="76011" y="437334"/>
                    <a:pt x="76011" y="444888"/>
                    <a:pt x="81084" y="449954"/>
                  </a:cubicBezTo>
                  <a:cubicBezTo>
                    <a:pt x="86069" y="455019"/>
                    <a:pt x="93723" y="455019"/>
                    <a:pt x="98796" y="449954"/>
                  </a:cubicBezTo>
                  <a:lnTo>
                    <a:pt x="101289" y="447465"/>
                  </a:lnTo>
                  <a:lnTo>
                    <a:pt x="101289" y="492967"/>
                  </a:lnTo>
                  <a:cubicBezTo>
                    <a:pt x="101289" y="500521"/>
                    <a:pt x="106362" y="505587"/>
                    <a:pt x="113928" y="505587"/>
                  </a:cubicBezTo>
                  <a:cubicBezTo>
                    <a:pt x="121583" y="505587"/>
                    <a:pt x="126656" y="500521"/>
                    <a:pt x="126656" y="492967"/>
                  </a:cubicBezTo>
                  <a:lnTo>
                    <a:pt x="126656" y="417071"/>
                  </a:lnTo>
                  <a:cubicBezTo>
                    <a:pt x="126656" y="412006"/>
                    <a:pt x="124075" y="407029"/>
                    <a:pt x="119001" y="404452"/>
                  </a:cubicBezTo>
                  <a:cubicBezTo>
                    <a:pt x="117755" y="403207"/>
                    <a:pt x="115219" y="403207"/>
                    <a:pt x="112682" y="403841"/>
                  </a:cubicBezTo>
                  <a:close/>
                  <a:moveTo>
                    <a:pt x="101261" y="278099"/>
                  </a:moveTo>
                  <a:lnTo>
                    <a:pt x="126665" y="278099"/>
                  </a:lnTo>
                  <a:lnTo>
                    <a:pt x="126665" y="328624"/>
                  </a:lnTo>
                  <a:lnTo>
                    <a:pt x="101261" y="328624"/>
                  </a:lnTo>
                  <a:close/>
                  <a:moveTo>
                    <a:pt x="372224" y="252749"/>
                  </a:moveTo>
                  <a:cubicBezTo>
                    <a:pt x="369642" y="250261"/>
                    <a:pt x="362077" y="252749"/>
                    <a:pt x="359496" y="255326"/>
                  </a:cubicBezTo>
                  <a:lnTo>
                    <a:pt x="334218" y="280566"/>
                  </a:lnTo>
                  <a:cubicBezTo>
                    <a:pt x="329145" y="285631"/>
                    <a:pt x="329145" y="293274"/>
                    <a:pt x="334218" y="298251"/>
                  </a:cubicBezTo>
                  <a:cubicBezTo>
                    <a:pt x="339291" y="303317"/>
                    <a:pt x="346857" y="303317"/>
                    <a:pt x="351930" y="298251"/>
                  </a:cubicBezTo>
                  <a:lnTo>
                    <a:pt x="354511" y="295763"/>
                  </a:lnTo>
                  <a:lnTo>
                    <a:pt x="354511" y="341264"/>
                  </a:lnTo>
                  <a:cubicBezTo>
                    <a:pt x="354511" y="348819"/>
                    <a:pt x="359496" y="353884"/>
                    <a:pt x="367150" y="353884"/>
                  </a:cubicBezTo>
                  <a:cubicBezTo>
                    <a:pt x="374716" y="353884"/>
                    <a:pt x="379789" y="348819"/>
                    <a:pt x="379789" y="341264"/>
                  </a:cubicBezTo>
                  <a:lnTo>
                    <a:pt x="379789" y="265458"/>
                  </a:lnTo>
                  <a:cubicBezTo>
                    <a:pt x="379789" y="260392"/>
                    <a:pt x="377297" y="255326"/>
                    <a:pt x="372224" y="252749"/>
                  </a:cubicBezTo>
                  <a:close/>
                  <a:moveTo>
                    <a:pt x="88650" y="252749"/>
                  </a:moveTo>
                  <a:cubicBezTo>
                    <a:pt x="81084" y="252749"/>
                    <a:pt x="76011" y="257815"/>
                    <a:pt x="76011" y="265458"/>
                  </a:cubicBezTo>
                  <a:lnTo>
                    <a:pt x="76011" y="341264"/>
                  </a:lnTo>
                  <a:cubicBezTo>
                    <a:pt x="76011" y="348819"/>
                    <a:pt x="81084" y="353884"/>
                    <a:pt x="88650" y="353884"/>
                  </a:cubicBezTo>
                  <a:lnTo>
                    <a:pt x="139295" y="353884"/>
                  </a:lnTo>
                  <a:cubicBezTo>
                    <a:pt x="146860" y="353884"/>
                    <a:pt x="151934" y="348819"/>
                    <a:pt x="151934" y="341264"/>
                  </a:cubicBezTo>
                  <a:lnTo>
                    <a:pt x="151934" y="265458"/>
                  </a:lnTo>
                  <a:cubicBezTo>
                    <a:pt x="151934" y="257815"/>
                    <a:pt x="146860" y="252749"/>
                    <a:pt x="139295" y="252749"/>
                  </a:cubicBezTo>
                  <a:close/>
                  <a:moveTo>
                    <a:pt x="289926" y="252138"/>
                  </a:moveTo>
                  <a:cubicBezTo>
                    <a:pt x="287401" y="252771"/>
                    <a:pt x="284864" y="254038"/>
                    <a:pt x="283574" y="255326"/>
                  </a:cubicBezTo>
                  <a:lnTo>
                    <a:pt x="258296" y="280566"/>
                  </a:lnTo>
                  <a:cubicBezTo>
                    <a:pt x="253222" y="285631"/>
                    <a:pt x="253222" y="293274"/>
                    <a:pt x="258296" y="298251"/>
                  </a:cubicBezTo>
                  <a:cubicBezTo>
                    <a:pt x="263369" y="303317"/>
                    <a:pt x="270935" y="303317"/>
                    <a:pt x="276008" y="298251"/>
                  </a:cubicBezTo>
                  <a:lnTo>
                    <a:pt x="278500" y="295763"/>
                  </a:lnTo>
                  <a:lnTo>
                    <a:pt x="278500" y="341264"/>
                  </a:lnTo>
                  <a:cubicBezTo>
                    <a:pt x="278500" y="348819"/>
                    <a:pt x="283574" y="353884"/>
                    <a:pt x="291139" y="353884"/>
                  </a:cubicBezTo>
                  <a:cubicBezTo>
                    <a:pt x="298794" y="353884"/>
                    <a:pt x="303867" y="348819"/>
                    <a:pt x="303867" y="341264"/>
                  </a:cubicBezTo>
                  <a:lnTo>
                    <a:pt x="303867" y="265458"/>
                  </a:lnTo>
                  <a:cubicBezTo>
                    <a:pt x="303867" y="260392"/>
                    <a:pt x="301286" y="255326"/>
                    <a:pt x="296212" y="252749"/>
                  </a:cubicBezTo>
                  <a:cubicBezTo>
                    <a:pt x="294966" y="251505"/>
                    <a:pt x="292452" y="251505"/>
                    <a:pt x="289926" y="252138"/>
                  </a:cubicBezTo>
                  <a:close/>
                  <a:moveTo>
                    <a:pt x="213971" y="252138"/>
                  </a:moveTo>
                  <a:cubicBezTo>
                    <a:pt x="211434" y="252771"/>
                    <a:pt x="208898" y="254038"/>
                    <a:pt x="207651" y="255326"/>
                  </a:cubicBezTo>
                  <a:lnTo>
                    <a:pt x="182285" y="280566"/>
                  </a:lnTo>
                  <a:cubicBezTo>
                    <a:pt x="177211" y="285631"/>
                    <a:pt x="177211" y="293274"/>
                    <a:pt x="182285" y="298251"/>
                  </a:cubicBezTo>
                  <a:cubicBezTo>
                    <a:pt x="187358" y="303317"/>
                    <a:pt x="195013" y="303317"/>
                    <a:pt x="199997" y="298251"/>
                  </a:cubicBezTo>
                  <a:lnTo>
                    <a:pt x="202578" y="295763"/>
                  </a:lnTo>
                  <a:lnTo>
                    <a:pt x="202578" y="341264"/>
                  </a:lnTo>
                  <a:cubicBezTo>
                    <a:pt x="202578" y="348819"/>
                    <a:pt x="207651" y="353884"/>
                    <a:pt x="215217" y="353884"/>
                  </a:cubicBezTo>
                  <a:cubicBezTo>
                    <a:pt x="222782" y="353884"/>
                    <a:pt x="227856" y="348819"/>
                    <a:pt x="227856" y="341264"/>
                  </a:cubicBezTo>
                  <a:lnTo>
                    <a:pt x="227856" y="265458"/>
                  </a:lnTo>
                  <a:cubicBezTo>
                    <a:pt x="227856" y="260392"/>
                    <a:pt x="225364" y="255326"/>
                    <a:pt x="220290" y="252749"/>
                  </a:cubicBezTo>
                  <a:cubicBezTo>
                    <a:pt x="219044" y="251505"/>
                    <a:pt x="216508" y="251505"/>
                    <a:pt x="213971" y="252138"/>
                  </a:cubicBezTo>
                  <a:close/>
                  <a:moveTo>
                    <a:pt x="151934" y="43014"/>
                  </a:moveTo>
                  <a:lnTo>
                    <a:pt x="43079" y="151703"/>
                  </a:lnTo>
                  <a:lnTo>
                    <a:pt x="151934" y="151703"/>
                  </a:lnTo>
                  <a:close/>
                  <a:moveTo>
                    <a:pt x="159499" y="0"/>
                  </a:moveTo>
                  <a:lnTo>
                    <a:pt x="162080" y="0"/>
                  </a:lnTo>
                  <a:lnTo>
                    <a:pt x="164572" y="0"/>
                  </a:lnTo>
                  <a:lnTo>
                    <a:pt x="443072" y="0"/>
                  </a:lnTo>
                  <a:cubicBezTo>
                    <a:pt x="450638" y="0"/>
                    <a:pt x="455711" y="5066"/>
                    <a:pt x="455711" y="12620"/>
                  </a:cubicBezTo>
                  <a:lnTo>
                    <a:pt x="455711" y="594013"/>
                  </a:lnTo>
                  <a:cubicBezTo>
                    <a:pt x="455711" y="601656"/>
                    <a:pt x="450638" y="606722"/>
                    <a:pt x="443072" y="606722"/>
                  </a:cubicBezTo>
                  <a:lnTo>
                    <a:pt x="12728" y="606722"/>
                  </a:lnTo>
                  <a:cubicBezTo>
                    <a:pt x="5073" y="606722"/>
                    <a:pt x="0" y="601656"/>
                    <a:pt x="0" y="594013"/>
                  </a:cubicBezTo>
                  <a:lnTo>
                    <a:pt x="0" y="164322"/>
                  </a:lnTo>
                  <a:lnTo>
                    <a:pt x="0" y="161745"/>
                  </a:lnTo>
                  <a:lnTo>
                    <a:pt x="0" y="159257"/>
                  </a:lnTo>
                  <a:cubicBezTo>
                    <a:pt x="0" y="156768"/>
                    <a:pt x="0" y="156768"/>
                    <a:pt x="2581" y="154191"/>
                  </a:cubicBezTo>
                  <a:lnTo>
                    <a:pt x="154426" y="2488"/>
                  </a:lnTo>
                  <a:cubicBezTo>
                    <a:pt x="154426" y="2488"/>
                    <a:pt x="157007" y="0"/>
                    <a:pt x="15949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</p:sp>
        <p:sp>
          <p:nvSpPr>
            <p:cNvPr id="47" name="íṣḻïďe">
              <a:extLst>
                <a:ext uri="{FF2B5EF4-FFF2-40B4-BE49-F238E27FC236}">
                  <a16:creationId xmlns:a16="http://schemas.microsoft.com/office/drawing/2014/main" id="{51F7EAB3-1322-4011-A1B9-80E9E35D3D6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90611" y="5156366"/>
              <a:ext cx="4797284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sz="2400" b="1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Decode</a:t>
              </a:r>
            </a:p>
          </p:txBody>
        </p:sp>
        <p:sp>
          <p:nvSpPr>
            <p:cNvPr id="48" name="îSḷïḑê">
              <a:extLst>
                <a:ext uri="{FF2B5EF4-FFF2-40B4-BE49-F238E27FC236}">
                  <a16:creationId xmlns:a16="http://schemas.microsoft.com/office/drawing/2014/main" id="{FE6F0210-B4FF-4551-ADFD-B78CC785D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611" y="5601999"/>
              <a:ext cx="4797284" cy="4726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dirty="0">
                  <a:solidFill>
                    <a:srgbClr val="000000"/>
                  </a:solidFill>
                  <a:latin typeface="Tw Cen MT" panose="020B0602020104020603" pitchFamily="34" charset="0"/>
                  <a:cs typeface="Courier New" panose="02070309020205020404" pitchFamily="49" charset="0"/>
                </a:rPr>
                <a:t>[“hug”, “applause”,…]</a:t>
              </a: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DF8848D8-DB4F-45B1-B268-8C2F81321086}"/>
              </a:ext>
            </a:extLst>
          </p:cNvPr>
          <p:cNvSpPr>
            <a:spLocks/>
          </p:cNvSpPr>
          <p:nvPr/>
        </p:nvSpPr>
        <p:spPr>
          <a:xfrm>
            <a:off x="669924" y="-693210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5"/>
                </a:solidFill>
                <a:latin typeface="Bahnschrift SemiCondensed" panose="020B0502040204020203" pitchFamily="34" charset="0"/>
              </a:rPr>
              <a:t>incomplete data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06B3E0A-0592-4A9A-8759-7A0E59DEAE65}"/>
              </a:ext>
            </a:extLst>
          </p:cNvPr>
          <p:cNvGrpSpPr/>
          <p:nvPr/>
        </p:nvGrpSpPr>
        <p:grpSpPr>
          <a:xfrm>
            <a:off x="913387" y="7239738"/>
            <a:ext cx="4121426" cy="4439478"/>
            <a:chOff x="913387" y="1437861"/>
            <a:chExt cx="4121426" cy="4439478"/>
          </a:xfrm>
        </p:grpSpPr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BC468E28-2EC6-4F62-BD11-5EB4E7657A33}"/>
                </a:ext>
              </a:extLst>
            </p:cNvPr>
            <p:cNvSpPr/>
            <p:nvPr/>
          </p:nvSpPr>
          <p:spPr>
            <a:xfrm>
              <a:off x="913387" y="1437861"/>
              <a:ext cx="4121426" cy="4439478"/>
            </a:xfrm>
            <a:prstGeom prst="roundRect">
              <a:avLst>
                <a:gd name="adj" fmla="val 10236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5" name="3eb5d789-58cd-4f85-9d8b-5d393670b18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3394044F-D003-4EFA-93CE-8E7050605E8E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1248319" y="3429000"/>
              <a:ext cx="3451563" cy="2124469"/>
              <a:chOff x="3320298" y="1720530"/>
              <a:chExt cx="5551404" cy="3416940"/>
            </a:xfrm>
          </p:grpSpPr>
          <p:sp>
            <p:nvSpPr>
              <p:cNvPr id="57" name="ïŝliḋê">
                <a:extLst>
                  <a:ext uri="{FF2B5EF4-FFF2-40B4-BE49-F238E27FC236}">
                    <a16:creationId xmlns:a16="http://schemas.microsoft.com/office/drawing/2014/main" id="{48379844-7544-4FFF-B24D-9B5745AC6960}"/>
                  </a:ext>
                </a:extLst>
              </p:cNvPr>
              <p:cNvSpPr/>
              <p:nvPr/>
            </p:nvSpPr>
            <p:spPr bwMode="auto">
              <a:xfrm>
                <a:off x="6329177" y="2346073"/>
                <a:ext cx="2542525" cy="2791397"/>
              </a:xfrm>
              <a:custGeom>
                <a:avLst/>
                <a:gdLst>
                  <a:gd name="T0" fmla="*/ 1134 w 1134"/>
                  <a:gd name="T1" fmla="*/ 0 h 1245"/>
                  <a:gd name="T2" fmla="*/ 1134 w 1134"/>
                  <a:gd name="T3" fmla="*/ 1018 h 1245"/>
                  <a:gd name="T4" fmla="*/ 0 w 1134"/>
                  <a:gd name="T5" fmla="*/ 1245 h 1245"/>
                  <a:gd name="T6" fmla="*/ 0 w 1134"/>
                  <a:gd name="T7" fmla="*/ 158 h 1245"/>
                  <a:gd name="T8" fmla="*/ 1134 w 1134"/>
                  <a:gd name="T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4" h="1245">
                    <a:moveTo>
                      <a:pt x="1134" y="0"/>
                    </a:moveTo>
                    <a:lnTo>
                      <a:pt x="1134" y="1018"/>
                    </a:lnTo>
                    <a:lnTo>
                      <a:pt x="0" y="1245"/>
                    </a:lnTo>
                    <a:lnTo>
                      <a:pt x="0" y="158"/>
                    </a:lnTo>
                    <a:lnTo>
                      <a:pt x="1134" y="0"/>
                    </a:lnTo>
                    <a:close/>
                  </a:path>
                </a:pathLst>
              </a:custGeom>
              <a:solidFill>
                <a:srgbClr val="FFD9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îŝļîḓe">
                <a:extLst>
                  <a:ext uri="{FF2B5EF4-FFF2-40B4-BE49-F238E27FC236}">
                    <a16:creationId xmlns:a16="http://schemas.microsoft.com/office/drawing/2014/main" id="{04A84E53-F6A7-4F23-A68A-3ABE54291822}"/>
                  </a:ext>
                </a:extLst>
              </p:cNvPr>
              <p:cNvSpPr/>
              <p:nvPr/>
            </p:nvSpPr>
            <p:spPr bwMode="auto">
              <a:xfrm>
                <a:off x="4584834" y="1839361"/>
                <a:ext cx="4286868" cy="860961"/>
              </a:xfrm>
              <a:custGeom>
                <a:avLst/>
                <a:gdLst>
                  <a:gd name="T0" fmla="*/ 973 w 973"/>
                  <a:gd name="T1" fmla="*/ 115 h 196"/>
                  <a:gd name="T2" fmla="*/ 534 w 973"/>
                  <a:gd name="T3" fmla="*/ 0 h 196"/>
                  <a:gd name="T4" fmla="*/ 0 w 973"/>
                  <a:gd name="T5" fmla="*/ 85 h 196"/>
                  <a:gd name="T6" fmla="*/ 396 w 973"/>
                  <a:gd name="T7" fmla="*/ 196 h 196"/>
                  <a:gd name="T8" fmla="*/ 973 w 973"/>
                  <a:gd name="T9" fmla="*/ 115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196">
                    <a:moveTo>
                      <a:pt x="973" y="115"/>
                    </a:moveTo>
                    <a:cubicBezTo>
                      <a:pt x="969" y="112"/>
                      <a:pt x="534" y="0"/>
                      <a:pt x="534" y="0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396" y="196"/>
                      <a:pt x="396" y="196"/>
                      <a:pt x="396" y="196"/>
                    </a:cubicBezTo>
                    <a:cubicBezTo>
                      <a:pt x="973" y="115"/>
                      <a:pt x="973" y="115"/>
                      <a:pt x="973" y="115"/>
                    </a:cubicBezTo>
                  </a:path>
                </a:pathLst>
              </a:custGeom>
              <a:solidFill>
                <a:srgbClr val="567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šḻiḍê">
                <a:extLst>
                  <a:ext uri="{FF2B5EF4-FFF2-40B4-BE49-F238E27FC236}">
                    <a16:creationId xmlns:a16="http://schemas.microsoft.com/office/drawing/2014/main" id="{8F06E067-7702-4548-B5A6-9B452FC130BD}"/>
                  </a:ext>
                </a:extLst>
              </p:cNvPr>
              <p:cNvSpPr/>
              <p:nvPr/>
            </p:nvSpPr>
            <p:spPr bwMode="auto">
              <a:xfrm>
                <a:off x="4672276" y="2213789"/>
                <a:ext cx="1656902" cy="2923680"/>
              </a:xfrm>
              <a:custGeom>
                <a:avLst/>
                <a:gdLst>
                  <a:gd name="T0" fmla="*/ 739 w 739"/>
                  <a:gd name="T1" fmla="*/ 1304 h 1304"/>
                  <a:gd name="T2" fmla="*/ 0 w 739"/>
                  <a:gd name="T3" fmla="*/ 988 h 1304"/>
                  <a:gd name="T4" fmla="*/ 0 w 739"/>
                  <a:gd name="T5" fmla="*/ 0 h 1304"/>
                  <a:gd name="T6" fmla="*/ 739 w 739"/>
                  <a:gd name="T7" fmla="*/ 217 h 1304"/>
                  <a:gd name="T8" fmla="*/ 739 w 739"/>
                  <a:gd name="T9" fmla="*/ 1304 h 1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9" h="1304">
                    <a:moveTo>
                      <a:pt x="739" y="1304"/>
                    </a:moveTo>
                    <a:lnTo>
                      <a:pt x="0" y="988"/>
                    </a:lnTo>
                    <a:lnTo>
                      <a:pt x="0" y="0"/>
                    </a:lnTo>
                    <a:lnTo>
                      <a:pt x="739" y="217"/>
                    </a:lnTo>
                    <a:lnTo>
                      <a:pt x="739" y="1304"/>
                    </a:lnTo>
                    <a:close/>
                  </a:path>
                </a:pathLst>
              </a:custGeom>
              <a:solidFill>
                <a:srgbClr val="D3A8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íṩ1íḋê">
                <a:extLst>
                  <a:ext uri="{FF2B5EF4-FFF2-40B4-BE49-F238E27FC236}">
                    <a16:creationId xmlns:a16="http://schemas.microsoft.com/office/drawing/2014/main" id="{490FB59A-8005-4947-9931-34505D58FC1A}"/>
                  </a:ext>
                </a:extLst>
              </p:cNvPr>
              <p:cNvSpPr/>
              <p:nvPr/>
            </p:nvSpPr>
            <p:spPr bwMode="auto">
              <a:xfrm>
                <a:off x="4672276" y="2213789"/>
                <a:ext cx="1656902" cy="2923680"/>
              </a:xfrm>
              <a:custGeom>
                <a:avLst/>
                <a:gdLst>
                  <a:gd name="T0" fmla="*/ 739 w 739"/>
                  <a:gd name="T1" fmla="*/ 1304 h 1304"/>
                  <a:gd name="T2" fmla="*/ 0 w 739"/>
                  <a:gd name="T3" fmla="*/ 988 h 1304"/>
                  <a:gd name="T4" fmla="*/ 0 w 739"/>
                  <a:gd name="T5" fmla="*/ 0 h 1304"/>
                  <a:gd name="T6" fmla="*/ 739 w 739"/>
                  <a:gd name="T7" fmla="*/ 217 h 1304"/>
                  <a:gd name="T8" fmla="*/ 739 w 739"/>
                  <a:gd name="T9" fmla="*/ 1304 h 1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9" h="1304">
                    <a:moveTo>
                      <a:pt x="739" y="1304"/>
                    </a:moveTo>
                    <a:lnTo>
                      <a:pt x="0" y="988"/>
                    </a:lnTo>
                    <a:lnTo>
                      <a:pt x="0" y="0"/>
                    </a:lnTo>
                    <a:lnTo>
                      <a:pt x="739" y="217"/>
                    </a:lnTo>
                    <a:lnTo>
                      <a:pt x="739" y="130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íṩ1ïḑê">
                <a:extLst>
                  <a:ext uri="{FF2B5EF4-FFF2-40B4-BE49-F238E27FC236}">
                    <a16:creationId xmlns:a16="http://schemas.microsoft.com/office/drawing/2014/main" id="{BD75B3CE-917B-4806-A7C3-D72CF2782EF5}"/>
                  </a:ext>
                </a:extLst>
              </p:cNvPr>
              <p:cNvSpPr/>
              <p:nvPr/>
            </p:nvSpPr>
            <p:spPr bwMode="auto">
              <a:xfrm>
                <a:off x="4584834" y="1839361"/>
                <a:ext cx="2351949" cy="860961"/>
              </a:xfrm>
              <a:custGeom>
                <a:avLst/>
                <a:gdLst>
                  <a:gd name="T0" fmla="*/ 1049 w 1049"/>
                  <a:gd name="T1" fmla="*/ 0 h 384"/>
                  <a:gd name="T2" fmla="*/ 1049 w 1049"/>
                  <a:gd name="T3" fmla="*/ 343 h 384"/>
                  <a:gd name="T4" fmla="*/ 778 w 1049"/>
                  <a:gd name="T5" fmla="*/ 384 h 384"/>
                  <a:gd name="T6" fmla="*/ 0 w 1049"/>
                  <a:gd name="T7" fmla="*/ 167 h 384"/>
                  <a:gd name="T8" fmla="*/ 1049 w 1049"/>
                  <a:gd name="T9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9" h="384">
                    <a:moveTo>
                      <a:pt x="1049" y="0"/>
                    </a:moveTo>
                    <a:lnTo>
                      <a:pt x="1049" y="343"/>
                    </a:lnTo>
                    <a:lnTo>
                      <a:pt x="778" y="384"/>
                    </a:lnTo>
                    <a:lnTo>
                      <a:pt x="0" y="167"/>
                    </a:lnTo>
                    <a:lnTo>
                      <a:pt x="1049" y="0"/>
                    </a:lnTo>
                    <a:close/>
                  </a:path>
                </a:pathLst>
              </a:custGeom>
              <a:solidFill>
                <a:srgbClr val="2B4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ïsľîḑè">
                <a:extLst>
                  <a:ext uri="{FF2B5EF4-FFF2-40B4-BE49-F238E27FC236}">
                    <a16:creationId xmlns:a16="http://schemas.microsoft.com/office/drawing/2014/main" id="{C4B66820-B8BD-4462-8505-FC5C4F44ED70}"/>
                  </a:ext>
                </a:extLst>
              </p:cNvPr>
              <p:cNvSpPr/>
              <p:nvPr/>
            </p:nvSpPr>
            <p:spPr bwMode="auto">
              <a:xfrm>
                <a:off x="4584834" y="1839361"/>
                <a:ext cx="2351949" cy="860961"/>
              </a:xfrm>
              <a:custGeom>
                <a:avLst/>
                <a:gdLst>
                  <a:gd name="T0" fmla="*/ 1049 w 1049"/>
                  <a:gd name="T1" fmla="*/ 0 h 384"/>
                  <a:gd name="T2" fmla="*/ 1049 w 1049"/>
                  <a:gd name="T3" fmla="*/ 343 h 384"/>
                  <a:gd name="T4" fmla="*/ 778 w 1049"/>
                  <a:gd name="T5" fmla="*/ 384 h 384"/>
                  <a:gd name="T6" fmla="*/ 0 w 1049"/>
                  <a:gd name="T7" fmla="*/ 167 h 384"/>
                  <a:gd name="T8" fmla="*/ 1049 w 1049"/>
                  <a:gd name="T9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9" h="384">
                    <a:moveTo>
                      <a:pt x="1049" y="0"/>
                    </a:moveTo>
                    <a:lnTo>
                      <a:pt x="1049" y="343"/>
                    </a:lnTo>
                    <a:lnTo>
                      <a:pt x="778" y="384"/>
                    </a:lnTo>
                    <a:lnTo>
                      <a:pt x="0" y="167"/>
                    </a:lnTo>
                    <a:lnTo>
                      <a:pt x="104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ïṩļîḓe">
                <a:extLst>
                  <a:ext uri="{FF2B5EF4-FFF2-40B4-BE49-F238E27FC236}">
                    <a16:creationId xmlns:a16="http://schemas.microsoft.com/office/drawing/2014/main" id="{D0844496-5FF4-49C8-B1C3-F94EF817BBC7}"/>
                  </a:ext>
                </a:extLst>
              </p:cNvPr>
              <p:cNvSpPr/>
              <p:nvPr/>
            </p:nvSpPr>
            <p:spPr bwMode="auto">
              <a:xfrm>
                <a:off x="7465915" y="2494050"/>
                <a:ext cx="358734" cy="2414727"/>
              </a:xfrm>
              <a:custGeom>
                <a:avLst/>
                <a:gdLst>
                  <a:gd name="T0" fmla="*/ 0 w 160"/>
                  <a:gd name="T1" fmla="*/ 22 h 1077"/>
                  <a:gd name="T2" fmla="*/ 0 w 160"/>
                  <a:gd name="T3" fmla="*/ 1077 h 1077"/>
                  <a:gd name="T4" fmla="*/ 160 w 160"/>
                  <a:gd name="T5" fmla="*/ 1046 h 1077"/>
                  <a:gd name="T6" fmla="*/ 160 w 160"/>
                  <a:gd name="T7" fmla="*/ 0 h 1077"/>
                  <a:gd name="T8" fmla="*/ 0 w 160"/>
                  <a:gd name="T9" fmla="*/ 22 h 1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1077">
                    <a:moveTo>
                      <a:pt x="0" y="22"/>
                    </a:moveTo>
                    <a:lnTo>
                      <a:pt x="0" y="1077"/>
                    </a:lnTo>
                    <a:lnTo>
                      <a:pt x="160" y="1046"/>
                    </a:lnTo>
                    <a:lnTo>
                      <a:pt x="160" y="0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7DA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íṩḷïde">
                <a:extLst>
                  <a:ext uri="{FF2B5EF4-FFF2-40B4-BE49-F238E27FC236}">
                    <a16:creationId xmlns:a16="http://schemas.microsoft.com/office/drawing/2014/main" id="{2F81D9F8-111D-4D67-93C0-88B7371E611C}"/>
                  </a:ext>
                </a:extLst>
              </p:cNvPr>
              <p:cNvSpPr/>
              <p:nvPr/>
            </p:nvSpPr>
            <p:spPr bwMode="auto">
              <a:xfrm>
                <a:off x="5320238" y="2346073"/>
                <a:ext cx="331829" cy="2502168"/>
              </a:xfrm>
              <a:custGeom>
                <a:avLst/>
                <a:gdLst>
                  <a:gd name="T0" fmla="*/ 0 w 148"/>
                  <a:gd name="T1" fmla="*/ 0 h 1116"/>
                  <a:gd name="T2" fmla="*/ 0 w 148"/>
                  <a:gd name="T3" fmla="*/ 1053 h 1116"/>
                  <a:gd name="T4" fmla="*/ 148 w 148"/>
                  <a:gd name="T5" fmla="*/ 1116 h 1116"/>
                  <a:gd name="T6" fmla="*/ 148 w 148"/>
                  <a:gd name="T7" fmla="*/ 70 h 1116"/>
                  <a:gd name="T8" fmla="*/ 0 w 148"/>
                  <a:gd name="T9" fmla="*/ 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1116">
                    <a:moveTo>
                      <a:pt x="0" y="0"/>
                    </a:moveTo>
                    <a:lnTo>
                      <a:pt x="0" y="1053"/>
                    </a:lnTo>
                    <a:lnTo>
                      <a:pt x="148" y="1116"/>
                    </a:lnTo>
                    <a:lnTo>
                      <a:pt x="14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363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íṩḷíḓe">
                <a:extLst>
                  <a:ext uri="{FF2B5EF4-FFF2-40B4-BE49-F238E27FC236}">
                    <a16:creationId xmlns:a16="http://schemas.microsoft.com/office/drawing/2014/main" id="{26A76929-6AA3-4C27-8DA1-0F4E385FEB43}"/>
                  </a:ext>
                </a:extLst>
              </p:cNvPr>
              <p:cNvSpPr/>
              <p:nvPr/>
            </p:nvSpPr>
            <p:spPr bwMode="auto">
              <a:xfrm>
                <a:off x="5320238" y="2346073"/>
                <a:ext cx="331829" cy="2502168"/>
              </a:xfrm>
              <a:custGeom>
                <a:avLst/>
                <a:gdLst>
                  <a:gd name="T0" fmla="*/ 0 w 148"/>
                  <a:gd name="T1" fmla="*/ 0 h 1116"/>
                  <a:gd name="T2" fmla="*/ 0 w 148"/>
                  <a:gd name="T3" fmla="*/ 1053 h 1116"/>
                  <a:gd name="T4" fmla="*/ 148 w 148"/>
                  <a:gd name="T5" fmla="*/ 1116 h 1116"/>
                  <a:gd name="T6" fmla="*/ 148 w 148"/>
                  <a:gd name="T7" fmla="*/ 70 h 1116"/>
                  <a:gd name="T8" fmla="*/ 0 w 148"/>
                  <a:gd name="T9" fmla="*/ 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1116">
                    <a:moveTo>
                      <a:pt x="0" y="0"/>
                    </a:moveTo>
                    <a:lnTo>
                      <a:pt x="0" y="1053"/>
                    </a:lnTo>
                    <a:lnTo>
                      <a:pt x="148" y="1116"/>
                    </a:lnTo>
                    <a:lnTo>
                      <a:pt x="148" y="7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ïṩļíḑé">
                <a:extLst>
                  <a:ext uri="{FF2B5EF4-FFF2-40B4-BE49-F238E27FC236}">
                    <a16:creationId xmlns:a16="http://schemas.microsoft.com/office/drawing/2014/main" id="{A5898F98-B78D-4E33-BCD9-E7B22ACDD707}"/>
                  </a:ext>
                </a:extLst>
              </p:cNvPr>
              <p:cNvSpPr/>
              <p:nvPr/>
            </p:nvSpPr>
            <p:spPr bwMode="auto">
              <a:xfrm>
                <a:off x="4461520" y="1994064"/>
                <a:ext cx="1569460" cy="3143404"/>
              </a:xfrm>
              <a:custGeom>
                <a:avLst/>
                <a:gdLst>
                  <a:gd name="T0" fmla="*/ 700 w 700"/>
                  <a:gd name="T1" fmla="*/ 90 h 1402"/>
                  <a:gd name="T2" fmla="*/ 536 w 700"/>
                  <a:gd name="T3" fmla="*/ 0 h 1402"/>
                  <a:gd name="T4" fmla="*/ 0 w 700"/>
                  <a:gd name="T5" fmla="*/ 1347 h 1402"/>
                  <a:gd name="T6" fmla="*/ 195 w 700"/>
                  <a:gd name="T7" fmla="*/ 1402 h 1402"/>
                  <a:gd name="T8" fmla="*/ 700 w 700"/>
                  <a:gd name="T9" fmla="*/ 90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0" h="1402">
                    <a:moveTo>
                      <a:pt x="700" y="90"/>
                    </a:moveTo>
                    <a:lnTo>
                      <a:pt x="536" y="0"/>
                    </a:lnTo>
                    <a:lnTo>
                      <a:pt x="0" y="1347"/>
                    </a:lnTo>
                    <a:lnTo>
                      <a:pt x="195" y="1402"/>
                    </a:lnTo>
                    <a:lnTo>
                      <a:pt x="700" y="90"/>
                    </a:lnTo>
                    <a:close/>
                  </a:path>
                </a:pathLst>
              </a:custGeom>
              <a:solidFill>
                <a:srgbClr val="EAC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îŝlïḑé">
                <a:extLst>
                  <a:ext uri="{FF2B5EF4-FFF2-40B4-BE49-F238E27FC236}">
                    <a16:creationId xmlns:a16="http://schemas.microsoft.com/office/drawing/2014/main" id="{2F97C1C3-0A66-4571-9CD1-6EECE1058F95}"/>
                  </a:ext>
                </a:extLst>
              </p:cNvPr>
              <p:cNvSpPr/>
              <p:nvPr/>
            </p:nvSpPr>
            <p:spPr bwMode="auto">
              <a:xfrm>
                <a:off x="4461520" y="1994064"/>
                <a:ext cx="1569460" cy="3143404"/>
              </a:xfrm>
              <a:custGeom>
                <a:avLst/>
                <a:gdLst>
                  <a:gd name="T0" fmla="*/ 700 w 700"/>
                  <a:gd name="T1" fmla="*/ 90 h 1402"/>
                  <a:gd name="T2" fmla="*/ 536 w 700"/>
                  <a:gd name="T3" fmla="*/ 0 h 1402"/>
                  <a:gd name="T4" fmla="*/ 0 w 700"/>
                  <a:gd name="T5" fmla="*/ 1347 h 1402"/>
                  <a:gd name="T6" fmla="*/ 195 w 700"/>
                  <a:gd name="T7" fmla="*/ 1402 h 1402"/>
                  <a:gd name="T8" fmla="*/ 700 w 700"/>
                  <a:gd name="T9" fmla="*/ 90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0" h="1402">
                    <a:moveTo>
                      <a:pt x="700" y="90"/>
                    </a:moveTo>
                    <a:lnTo>
                      <a:pt x="536" y="0"/>
                    </a:lnTo>
                    <a:lnTo>
                      <a:pt x="0" y="1347"/>
                    </a:lnTo>
                    <a:lnTo>
                      <a:pt x="195" y="1402"/>
                    </a:lnTo>
                    <a:lnTo>
                      <a:pt x="700" y="9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îşlîḋê">
                <a:extLst>
                  <a:ext uri="{FF2B5EF4-FFF2-40B4-BE49-F238E27FC236}">
                    <a16:creationId xmlns:a16="http://schemas.microsoft.com/office/drawing/2014/main" id="{43AA2EF4-F1B1-4337-AA8C-60D418174A7A}"/>
                  </a:ext>
                </a:extLst>
              </p:cNvPr>
              <p:cNvSpPr/>
              <p:nvPr/>
            </p:nvSpPr>
            <p:spPr bwMode="auto">
              <a:xfrm>
                <a:off x="3320298" y="1720530"/>
                <a:ext cx="2342980" cy="3293625"/>
              </a:xfrm>
              <a:custGeom>
                <a:avLst/>
                <a:gdLst>
                  <a:gd name="T0" fmla="*/ 1045 w 1045"/>
                  <a:gd name="T1" fmla="*/ 122 h 1469"/>
                  <a:gd name="T2" fmla="*/ 450 w 1045"/>
                  <a:gd name="T3" fmla="*/ 0 h 1469"/>
                  <a:gd name="T4" fmla="*/ 0 w 1045"/>
                  <a:gd name="T5" fmla="*/ 1171 h 1469"/>
                  <a:gd name="T6" fmla="*/ 509 w 1045"/>
                  <a:gd name="T7" fmla="*/ 1469 h 1469"/>
                  <a:gd name="T8" fmla="*/ 1045 w 1045"/>
                  <a:gd name="T9" fmla="*/ 122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5" h="1469">
                    <a:moveTo>
                      <a:pt x="1045" y="122"/>
                    </a:moveTo>
                    <a:lnTo>
                      <a:pt x="450" y="0"/>
                    </a:lnTo>
                    <a:lnTo>
                      <a:pt x="0" y="1171"/>
                    </a:lnTo>
                    <a:lnTo>
                      <a:pt x="509" y="1469"/>
                    </a:lnTo>
                    <a:lnTo>
                      <a:pt x="1045" y="122"/>
                    </a:lnTo>
                    <a:close/>
                  </a:path>
                </a:pathLst>
              </a:custGeom>
              <a:solidFill>
                <a:srgbClr val="FFD9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íŝḷidé">
                <a:extLst>
                  <a:ext uri="{FF2B5EF4-FFF2-40B4-BE49-F238E27FC236}">
                    <a16:creationId xmlns:a16="http://schemas.microsoft.com/office/drawing/2014/main" id="{AC855CDF-B6EF-420E-9081-7A02889798F0}"/>
                  </a:ext>
                </a:extLst>
              </p:cNvPr>
              <p:cNvSpPr/>
              <p:nvPr/>
            </p:nvSpPr>
            <p:spPr bwMode="auto">
              <a:xfrm>
                <a:off x="3320298" y="1720530"/>
                <a:ext cx="2342980" cy="3293625"/>
              </a:xfrm>
              <a:custGeom>
                <a:avLst/>
                <a:gdLst>
                  <a:gd name="T0" fmla="*/ 1045 w 1045"/>
                  <a:gd name="T1" fmla="*/ 122 h 1469"/>
                  <a:gd name="T2" fmla="*/ 450 w 1045"/>
                  <a:gd name="T3" fmla="*/ 0 h 1469"/>
                  <a:gd name="T4" fmla="*/ 0 w 1045"/>
                  <a:gd name="T5" fmla="*/ 1171 h 1469"/>
                  <a:gd name="T6" fmla="*/ 509 w 1045"/>
                  <a:gd name="T7" fmla="*/ 1469 h 1469"/>
                  <a:gd name="T8" fmla="*/ 1045 w 1045"/>
                  <a:gd name="T9" fmla="*/ 122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5" h="1469">
                    <a:moveTo>
                      <a:pt x="1045" y="122"/>
                    </a:moveTo>
                    <a:lnTo>
                      <a:pt x="450" y="0"/>
                    </a:lnTo>
                    <a:lnTo>
                      <a:pt x="0" y="1171"/>
                    </a:lnTo>
                    <a:lnTo>
                      <a:pt x="509" y="1469"/>
                    </a:lnTo>
                    <a:lnTo>
                      <a:pt x="1045" y="12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iṩľïḑe">
                <a:extLst>
                  <a:ext uri="{FF2B5EF4-FFF2-40B4-BE49-F238E27FC236}">
                    <a16:creationId xmlns:a16="http://schemas.microsoft.com/office/drawing/2014/main" id="{21D45E21-4692-4FE4-92FC-6E91E3BA24F9}"/>
                  </a:ext>
                </a:extLst>
              </p:cNvPr>
              <p:cNvSpPr/>
              <p:nvPr/>
            </p:nvSpPr>
            <p:spPr bwMode="auto">
              <a:xfrm>
                <a:off x="3753021" y="2881930"/>
                <a:ext cx="1782459" cy="993245"/>
              </a:xfrm>
              <a:custGeom>
                <a:avLst/>
                <a:gdLst>
                  <a:gd name="T0" fmla="*/ 0 w 795"/>
                  <a:gd name="T1" fmla="*/ 153 h 443"/>
                  <a:gd name="T2" fmla="*/ 727 w 795"/>
                  <a:gd name="T3" fmla="*/ 443 h 443"/>
                  <a:gd name="T4" fmla="*/ 795 w 795"/>
                  <a:gd name="T5" fmla="*/ 265 h 443"/>
                  <a:gd name="T6" fmla="*/ 58 w 795"/>
                  <a:gd name="T7" fmla="*/ 0 h 443"/>
                  <a:gd name="T8" fmla="*/ 0 w 795"/>
                  <a:gd name="T9" fmla="*/ 15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5" h="443">
                    <a:moveTo>
                      <a:pt x="0" y="153"/>
                    </a:moveTo>
                    <a:lnTo>
                      <a:pt x="727" y="443"/>
                    </a:lnTo>
                    <a:lnTo>
                      <a:pt x="795" y="265"/>
                    </a:lnTo>
                    <a:lnTo>
                      <a:pt x="58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7DA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iṥľiďe">
                <a:extLst>
                  <a:ext uri="{FF2B5EF4-FFF2-40B4-BE49-F238E27FC236}">
                    <a16:creationId xmlns:a16="http://schemas.microsoft.com/office/drawing/2014/main" id="{55E87241-1436-4FA2-81FF-5103326939DA}"/>
                  </a:ext>
                </a:extLst>
              </p:cNvPr>
              <p:cNvSpPr/>
              <p:nvPr/>
            </p:nvSpPr>
            <p:spPr bwMode="auto">
              <a:xfrm>
                <a:off x="3753021" y="2881930"/>
                <a:ext cx="1782459" cy="993245"/>
              </a:xfrm>
              <a:custGeom>
                <a:avLst/>
                <a:gdLst>
                  <a:gd name="T0" fmla="*/ 0 w 795"/>
                  <a:gd name="T1" fmla="*/ 153 h 443"/>
                  <a:gd name="T2" fmla="*/ 727 w 795"/>
                  <a:gd name="T3" fmla="*/ 443 h 443"/>
                  <a:gd name="T4" fmla="*/ 795 w 795"/>
                  <a:gd name="T5" fmla="*/ 265 h 443"/>
                  <a:gd name="T6" fmla="*/ 58 w 795"/>
                  <a:gd name="T7" fmla="*/ 0 h 443"/>
                  <a:gd name="T8" fmla="*/ 0 w 795"/>
                  <a:gd name="T9" fmla="*/ 15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5" h="443">
                    <a:moveTo>
                      <a:pt x="0" y="153"/>
                    </a:moveTo>
                    <a:lnTo>
                      <a:pt x="727" y="443"/>
                    </a:lnTo>
                    <a:lnTo>
                      <a:pt x="795" y="265"/>
                    </a:lnTo>
                    <a:lnTo>
                      <a:pt x="58" y="0"/>
                    </a:lnTo>
                    <a:lnTo>
                      <a:pt x="0" y="15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ïṥḻïďê">
                <a:extLst>
                  <a:ext uri="{FF2B5EF4-FFF2-40B4-BE49-F238E27FC236}">
                    <a16:creationId xmlns:a16="http://schemas.microsoft.com/office/drawing/2014/main" id="{3598C266-7540-411D-9F91-2AD69EA5E96D}"/>
                  </a:ext>
                </a:extLst>
              </p:cNvPr>
              <p:cNvSpPr/>
              <p:nvPr/>
            </p:nvSpPr>
            <p:spPr bwMode="auto">
              <a:xfrm>
                <a:off x="5131903" y="3330348"/>
                <a:ext cx="403575" cy="145736"/>
              </a:xfrm>
              <a:custGeom>
                <a:avLst/>
                <a:gdLst>
                  <a:gd name="T0" fmla="*/ 0 w 180"/>
                  <a:gd name="T1" fmla="*/ 0 h 65"/>
                  <a:gd name="T2" fmla="*/ 0 w 180"/>
                  <a:gd name="T3" fmla="*/ 0 h 65"/>
                  <a:gd name="T4" fmla="*/ 180 w 180"/>
                  <a:gd name="T5" fmla="*/ 65 h 65"/>
                  <a:gd name="T6" fmla="*/ 180 w 180"/>
                  <a:gd name="T7" fmla="*/ 65 h 65"/>
                  <a:gd name="T8" fmla="*/ 0 w 180"/>
                  <a:gd name="T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65">
                    <a:moveTo>
                      <a:pt x="0" y="0"/>
                    </a:moveTo>
                    <a:lnTo>
                      <a:pt x="0" y="0"/>
                    </a:lnTo>
                    <a:lnTo>
                      <a:pt x="180" y="65"/>
                    </a:lnTo>
                    <a:lnTo>
                      <a:pt x="180" y="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8E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ïṥḻiḋe">
                <a:extLst>
                  <a:ext uri="{FF2B5EF4-FFF2-40B4-BE49-F238E27FC236}">
                    <a16:creationId xmlns:a16="http://schemas.microsoft.com/office/drawing/2014/main" id="{463DDF74-4B58-47E2-9FD3-9759560741BD}"/>
                  </a:ext>
                </a:extLst>
              </p:cNvPr>
              <p:cNvSpPr/>
              <p:nvPr/>
            </p:nvSpPr>
            <p:spPr bwMode="auto">
              <a:xfrm>
                <a:off x="5131903" y="3330348"/>
                <a:ext cx="403575" cy="145736"/>
              </a:xfrm>
              <a:custGeom>
                <a:avLst/>
                <a:gdLst>
                  <a:gd name="T0" fmla="*/ 0 w 180"/>
                  <a:gd name="T1" fmla="*/ 0 h 65"/>
                  <a:gd name="T2" fmla="*/ 0 w 180"/>
                  <a:gd name="T3" fmla="*/ 0 h 65"/>
                  <a:gd name="T4" fmla="*/ 180 w 180"/>
                  <a:gd name="T5" fmla="*/ 65 h 65"/>
                  <a:gd name="T6" fmla="*/ 180 w 180"/>
                  <a:gd name="T7" fmla="*/ 65 h 65"/>
                  <a:gd name="T8" fmla="*/ 0 w 180"/>
                  <a:gd name="T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65">
                    <a:moveTo>
                      <a:pt x="0" y="0"/>
                    </a:moveTo>
                    <a:lnTo>
                      <a:pt x="0" y="0"/>
                    </a:lnTo>
                    <a:lnTo>
                      <a:pt x="180" y="65"/>
                    </a:lnTo>
                    <a:lnTo>
                      <a:pt x="180" y="6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ïşlïdê">
                <a:extLst>
                  <a:ext uri="{FF2B5EF4-FFF2-40B4-BE49-F238E27FC236}">
                    <a16:creationId xmlns:a16="http://schemas.microsoft.com/office/drawing/2014/main" id="{0A4B8C00-3F9E-43D0-A248-B9456755B237}"/>
                  </a:ext>
                </a:extLst>
              </p:cNvPr>
              <p:cNvSpPr/>
              <p:nvPr/>
            </p:nvSpPr>
            <p:spPr bwMode="auto">
              <a:xfrm>
                <a:off x="4981684" y="3713745"/>
                <a:ext cx="401334" cy="161430"/>
              </a:xfrm>
              <a:custGeom>
                <a:avLst/>
                <a:gdLst>
                  <a:gd name="T0" fmla="*/ 0 w 179"/>
                  <a:gd name="T1" fmla="*/ 0 h 72"/>
                  <a:gd name="T2" fmla="*/ 0 w 179"/>
                  <a:gd name="T3" fmla="*/ 0 h 72"/>
                  <a:gd name="T4" fmla="*/ 179 w 179"/>
                  <a:gd name="T5" fmla="*/ 72 h 72"/>
                  <a:gd name="T6" fmla="*/ 179 w 179"/>
                  <a:gd name="T7" fmla="*/ 72 h 72"/>
                  <a:gd name="T8" fmla="*/ 0 w 179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72">
                    <a:moveTo>
                      <a:pt x="0" y="0"/>
                    </a:moveTo>
                    <a:lnTo>
                      <a:pt x="0" y="0"/>
                    </a:lnTo>
                    <a:lnTo>
                      <a:pt x="179" y="72"/>
                    </a:lnTo>
                    <a:lnTo>
                      <a:pt x="179" y="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8E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íŝľïḍe">
                <a:extLst>
                  <a:ext uri="{FF2B5EF4-FFF2-40B4-BE49-F238E27FC236}">
                    <a16:creationId xmlns:a16="http://schemas.microsoft.com/office/drawing/2014/main" id="{06BEC9D5-25BC-4CF4-B410-8047BFB21B42}"/>
                  </a:ext>
                </a:extLst>
              </p:cNvPr>
              <p:cNvSpPr/>
              <p:nvPr/>
            </p:nvSpPr>
            <p:spPr bwMode="auto">
              <a:xfrm>
                <a:off x="4981684" y="3713745"/>
                <a:ext cx="401334" cy="161430"/>
              </a:xfrm>
              <a:custGeom>
                <a:avLst/>
                <a:gdLst>
                  <a:gd name="T0" fmla="*/ 0 w 179"/>
                  <a:gd name="T1" fmla="*/ 0 h 72"/>
                  <a:gd name="T2" fmla="*/ 0 w 179"/>
                  <a:gd name="T3" fmla="*/ 0 h 72"/>
                  <a:gd name="T4" fmla="*/ 179 w 179"/>
                  <a:gd name="T5" fmla="*/ 72 h 72"/>
                  <a:gd name="T6" fmla="*/ 179 w 179"/>
                  <a:gd name="T7" fmla="*/ 72 h 72"/>
                  <a:gd name="T8" fmla="*/ 0 w 179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72">
                    <a:moveTo>
                      <a:pt x="0" y="0"/>
                    </a:moveTo>
                    <a:lnTo>
                      <a:pt x="0" y="0"/>
                    </a:lnTo>
                    <a:lnTo>
                      <a:pt x="179" y="72"/>
                    </a:lnTo>
                    <a:lnTo>
                      <a:pt x="179" y="7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íṧliḓe">
                <a:extLst>
                  <a:ext uri="{FF2B5EF4-FFF2-40B4-BE49-F238E27FC236}">
                    <a16:creationId xmlns:a16="http://schemas.microsoft.com/office/drawing/2014/main" id="{F7B15D01-EDBF-4327-BE4D-A1E93577D641}"/>
                  </a:ext>
                </a:extLst>
              </p:cNvPr>
              <p:cNvSpPr/>
              <p:nvPr/>
            </p:nvSpPr>
            <p:spPr bwMode="auto">
              <a:xfrm>
                <a:off x="4981684" y="3330348"/>
                <a:ext cx="553796" cy="544828"/>
              </a:xfrm>
              <a:custGeom>
                <a:avLst/>
                <a:gdLst>
                  <a:gd name="T0" fmla="*/ 67 w 247"/>
                  <a:gd name="T1" fmla="*/ 0 h 243"/>
                  <a:gd name="T2" fmla="*/ 0 w 247"/>
                  <a:gd name="T3" fmla="*/ 171 h 243"/>
                  <a:gd name="T4" fmla="*/ 179 w 247"/>
                  <a:gd name="T5" fmla="*/ 243 h 243"/>
                  <a:gd name="T6" fmla="*/ 247 w 247"/>
                  <a:gd name="T7" fmla="*/ 65 h 243"/>
                  <a:gd name="T8" fmla="*/ 67 w 247"/>
                  <a:gd name="T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3">
                    <a:moveTo>
                      <a:pt x="67" y="0"/>
                    </a:moveTo>
                    <a:lnTo>
                      <a:pt x="0" y="171"/>
                    </a:lnTo>
                    <a:lnTo>
                      <a:pt x="179" y="243"/>
                    </a:lnTo>
                    <a:lnTo>
                      <a:pt x="247" y="65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637F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iṩ1iḓé">
                <a:extLst>
                  <a:ext uri="{FF2B5EF4-FFF2-40B4-BE49-F238E27FC236}">
                    <a16:creationId xmlns:a16="http://schemas.microsoft.com/office/drawing/2014/main" id="{A708C9FA-B0A6-439F-9DB9-A8A5F3C637BE}"/>
                  </a:ext>
                </a:extLst>
              </p:cNvPr>
              <p:cNvSpPr/>
              <p:nvPr/>
            </p:nvSpPr>
            <p:spPr bwMode="auto">
              <a:xfrm>
                <a:off x="4981684" y="3330348"/>
                <a:ext cx="553796" cy="544828"/>
              </a:xfrm>
              <a:custGeom>
                <a:avLst/>
                <a:gdLst>
                  <a:gd name="T0" fmla="*/ 67 w 247"/>
                  <a:gd name="T1" fmla="*/ 0 h 243"/>
                  <a:gd name="T2" fmla="*/ 0 w 247"/>
                  <a:gd name="T3" fmla="*/ 171 h 243"/>
                  <a:gd name="T4" fmla="*/ 179 w 247"/>
                  <a:gd name="T5" fmla="*/ 243 h 243"/>
                  <a:gd name="T6" fmla="*/ 247 w 247"/>
                  <a:gd name="T7" fmla="*/ 65 h 243"/>
                  <a:gd name="T8" fmla="*/ 67 w 247"/>
                  <a:gd name="T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3">
                    <a:moveTo>
                      <a:pt x="67" y="0"/>
                    </a:moveTo>
                    <a:lnTo>
                      <a:pt x="0" y="171"/>
                    </a:lnTo>
                    <a:lnTo>
                      <a:pt x="179" y="243"/>
                    </a:lnTo>
                    <a:lnTo>
                      <a:pt x="247" y="65"/>
                    </a:lnTo>
                    <a:lnTo>
                      <a:pt x="6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iṩḷîḋé">
                <a:extLst>
                  <a:ext uri="{FF2B5EF4-FFF2-40B4-BE49-F238E27FC236}">
                    <a16:creationId xmlns:a16="http://schemas.microsoft.com/office/drawing/2014/main" id="{F74508CB-8C67-4D61-870A-0ACCA72C1379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0 w 72"/>
                  <a:gd name="T1" fmla="*/ 165 h 167"/>
                  <a:gd name="T2" fmla="*/ 0 w 72"/>
                  <a:gd name="T3" fmla="*/ 165 h 167"/>
                  <a:gd name="T4" fmla="*/ 5 w 72"/>
                  <a:gd name="T5" fmla="*/ 167 h 167"/>
                  <a:gd name="T6" fmla="*/ 5 w 72"/>
                  <a:gd name="T7" fmla="*/ 167 h 167"/>
                  <a:gd name="T8" fmla="*/ 0 w 72"/>
                  <a:gd name="T9" fmla="*/ 165 h 167"/>
                  <a:gd name="T10" fmla="*/ 64 w 72"/>
                  <a:gd name="T11" fmla="*/ 0 h 167"/>
                  <a:gd name="T12" fmla="*/ 64 w 72"/>
                  <a:gd name="T13" fmla="*/ 0 h 167"/>
                  <a:gd name="T14" fmla="*/ 72 w 72"/>
                  <a:gd name="T15" fmla="*/ 2 h 167"/>
                  <a:gd name="T16" fmla="*/ 72 w 72"/>
                  <a:gd name="T17" fmla="*/ 2 h 167"/>
                  <a:gd name="T18" fmla="*/ 64 w 72"/>
                  <a:gd name="T1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167">
                    <a:moveTo>
                      <a:pt x="0" y="165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0" y="165"/>
                    </a:lnTo>
                    <a:close/>
                    <a:moveTo>
                      <a:pt x="64" y="0"/>
                    </a:moveTo>
                    <a:lnTo>
                      <a:pt x="64" y="0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E6C5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ïṧlíďé">
                <a:extLst>
                  <a:ext uri="{FF2B5EF4-FFF2-40B4-BE49-F238E27FC236}">
                    <a16:creationId xmlns:a16="http://schemas.microsoft.com/office/drawing/2014/main" id="{41ED5F75-686D-4E76-B612-69ED97DF0E90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0 w 72"/>
                  <a:gd name="T1" fmla="*/ 165 h 167"/>
                  <a:gd name="T2" fmla="*/ 0 w 72"/>
                  <a:gd name="T3" fmla="*/ 165 h 167"/>
                  <a:gd name="T4" fmla="*/ 5 w 72"/>
                  <a:gd name="T5" fmla="*/ 167 h 167"/>
                  <a:gd name="T6" fmla="*/ 5 w 72"/>
                  <a:gd name="T7" fmla="*/ 167 h 167"/>
                  <a:gd name="T8" fmla="*/ 0 w 72"/>
                  <a:gd name="T9" fmla="*/ 165 h 167"/>
                  <a:gd name="T10" fmla="*/ 64 w 72"/>
                  <a:gd name="T11" fmla="*/ 0 h 167"/>
                  <a:gd name="T12" fmla="*/ 64 w 72"/>
                  <a:gd name="T13" fmla="*/ 0 h 167"/>
                  <a:gd name="T14" fmla="*/ 72 w 72"/>
                  <a:gd name="T15" fmla="*/ 2 h 167"/>
                  <a:gd name="T16" fmla="*/ 72 w 72"/>
                  <a:gd name="T17" fmla="*/ 2 h 167"/>
                  <a:gd name="T18" fmla="*/ 64 w 72"/>
                  <a:gd name="T1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167">
                    <a:moveTo>
                      <a:pt x="0" y="165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0" y="165"/>
                    </a:lnTo>
                    <a:moveTo>
                      <a:pt x="64" y="0"/>
                    </a:moveTo>
                    <a:lnTo>
                      <a:pt x="64" y="0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ï$ľíḓe">
                <a:extLst>
                  <a:ext uri="{FF2B5EF4-FFF2-40B4-BE49-F238E27FC236}">
                    <a16:creationId xmlns:a16="http://schemas.microsoft.com/office/drawing/2014/main" id="{CF2B5E09-ABCD-4F56-84EC-18736D0BCBF6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64 w 72"/>
                  <a:gd name="T1" fmla="*/ 0 h 167"/>
                  <a:gd name="T2" fmla="*/ 0 w 72"/>
                  <a:gd name="T3" fmla="*/ 165 h 167"/>
                  <a:gd name="T4" fmla="*/ 5 w 72"/>
                  <a:gd name="T5" fmla="*/ 167 h 167"/>
                  <a:gd name="T6" fmla="*/ 72 w 72"/>
                  <a:gd name="T7" fmla="*/ 2 h 167"/>
                  <a:gd name="T8" fmla="*/ 64 w 72"/>
                  <a:gd name="T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7">
                    <a:moveTo>
                      <a:pt x="64" y="0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72" y="2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749A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îş1îḑe">
                <a:extLst>
                  <a:ext uri="{FF2B5EF4-FFF2-40B4-BE49-F238E27FC236}">
                    <a16:creationId xmlns:a16="http://schemas.microsoft.com/office/drawing/2014/main" id="{6F45797D-EDB7-4B31-9C25-66261CC3A6E0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64 w 72"/>
                  <a:gd name="T1" fmla="*/ 0 h 167"/>
                  <a:gd name="T2" fmla="*/ 0 w 72"/>
                  <a:gd name="T3" fmla="*/ 165 h 167"/>
                  <a:gd name="T4" fmla="*/ 5 w 72"/>
                  <a:gd name="T5" fmla="*/ 167 h 167"/>
                  <a:gd name="T6" fmla="*/ 72 w 72"/>
                  <a:gd name="T7" fmla="*/ 2 h 167"/>
                  <a:gd name="T8" fmla="*/ 64 w 72"/>
                  <a:gd name="T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7">
                    <a:moveTo>
                      <a:pt x="64" y="0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72" y="2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îṣḻïdê">
                <a:extLst>
                  <a:ext uri="{FF2B5EF4-FFF2-40B4-BE49-F238E27FC236}">
                    <a16:creationId xmlns:a16="http://schemas.microsoft.com/office/drawing/2014/main" id="{F2CD2F87-FAF1-4F07-BA23-78EF368ACBB9}"/>
                  </a:ext>
                </a:extLst>
              </p:cNvPr>
              <p:cNvSpPr/>
              <p:nvPr/>
            </p:nvSpPr>
            <p:spPr bwMode="auto">
              <a:xfrm>
                <a:off x="4223859" y="3047845"/>
                <a:ext cx="145736" cy="369945"/>
              </a:xfrm>
              <a:custGeom>
                <a:avLst/>
                <a:gdLst>
                  <a:gd name="T0" fmla="*/ 0 w 65"/>
                  <a:gd name="T1" fmla="*/ 163 h 165"/>
                  <a:gd name="T2" fmla="*/ 4 w 65"/>
                  <a:gd name="T3" fmla="*/ 165 h 165"/>
                  <a:gd name="T4" fmla="*/ 4 w 65"/>
                  <a:gd name="T5" fmla="*/ 165 h 165"/>
                  <a:gd name="T6" fmla="*/ 0 w 65"/>
                  <a:gd name="T7" fmla="*/ 163 h 165"/>
                  <a:gd name="T8" fmla="*/ 59 w 65"/>
                  <a:gd name="T9" fmla="*/ 0 h 165"/>
                  <a:gd name="T10" fmla="*/ 59 w 65"/>
                  <a:gd name="T11" fmla="*/ 0 h 165"/>
                  <a:gd name="T12" fmla="*/ 65 w 65"/>
                  <a:gd name="T13" fmla="*/ 4 h 165"/>
                  <a:gd name="T14" fmla="*/ 65 w 65"/>
                  <a:gd name="T15" fmla="*/ 4 h 165"/>
                  <a:gd name="T16" fmla="*/ 59 w 65"/>
                  <a:gd name="T1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165">
                    <a:moveTo>
                      <a:pt x="0" y="163"/>
                    </a:moveTo>
                    <a:lnTo>
                      <a:pt x="4" y="165"/>
                    </a:lnTo>
                    <a:lnTo>
                      <a:pt x="4" y="165"/>
                    </a:lnTo>
                    <a:lnTo>
                      <a:pt x="0" y="163"/>
                    </a:lnTo>
                    <a:close/>
                    <a:moveTo>
                      <a:pt x="59" y="0"/>
                    </a:moveTo>
                    <a:lnTo>
                      <a:pt x="59" y="0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59" y="0"/>
                    </a:lnTo>
                    <a:close/>
                  </a:path>
                </a:pathLst>
              </a:custGeom>
              <a:solidFill>
                <a:srgbClr val="E6C5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iŝlîďé">
                <a:extLst>
                  <a:ext uri="{FF2B5EF4-FFF2-40B4-BE49-F238E27FC236}">
                    <a16:creationId xmlns:a16="http://schemas.microsoft.com/office/drawing/2014/main" id="{AF0104EA-D79B-43AB-A484-13249F11046A}"/>
                  </a:ext>
                </a:extLst>
              </p:cNvPr>
              <p:cNvSpPr/>
              <p:nvPr/>
            </p:nvSpPr>
            <p:spPr bwMode="auto">
              <a:xfrm>
                <a:off x="4223859" y="3047845"/>
                <a:ext cx="145736" cy="369945"/>
              </a:xfrm>
              <a:custGeom>
                <a:avLst/>
                <a:gdLst>
                  <a:gd name="T0" fmla="*/ 0 w 65"/>
                  <a:gd name="T1" fmla="*/ 163 h 165"/>
                  <a:gd name="T2" fmla="*/ 4 w 65"/>
                  <a:gd name="T3" fmla="*/ 165 h 165"/>
                  <a:gd name="T4" fmla="*/ 4 w 65"/>
                  <a:gd name="T5" fmla="*/ 165 h 165"/>
                  <a:gd name="T6" fmla="*/ 0 w 65"/>
                  <a:gd name="T7" fmla="*/ 163 h 165"/>
                  <a:gd name="T8" fmla="*/ 59 w 65"/>
                  <a:gd name="T9" fmla="*/ 0 h 165"/>
                  <a:gd name="T10" fmla="*/ 59 w 65"/>
                  <a:gd name="T11" fmla="*/ 0 h 165"/>
                  <a:gd name="T12" fmla="*/ 65 w 65"/>
                  <a:gd name="T13" fmla="*/ 4 h 165"/>
                  <a:gd name="T14" fmla="*/ 65 w 65"/>
                  <a:gd name="T15" fmla="*/ 4 h 165"/>
                  <a:gd name="T16" fmla="*/ 59 w 65"/>
                  <a:gd name="T1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165">
                    <a:moveTo>
                      <a:pt x="0" y="163"/>
                    </a:moveTo>
                    <a:lnTo>
                      <a:pt x="4" y="165"/>
                    </a:lnTo>
                    <a:lnTo>
                      <a:pt x="4" y="165"/>
                    </a:lnTo>
                    <a:lnTo>
                      <a:pt x="0" y="163"/>
                    </a:lnTo>
                    <a:moveTo>
                      <a:pt x="59" y="0"/>
                    </a:moveTo>
                    <a:lnTo>
                      <a:pt x="59" y="0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iṧļïdé">
                <a:extLst>
                  <a:ext uri="{FF2B5EF4-FFF2-40B4-BE49-F238E27FC236}">
                    <a16:creationId xmlns:a16="http://schemas.microsoft.com/office/drawing/2014/main" id="{59FC205A-6EDC-4D88-B085-9B85AA40F1CA}"/>
                  </a:ext>
                </a:extLst>
              </p:cNvPr>
              <p:cNvSpPr/>
              <p:nvPr/>
            </p:nvSpPr>
            <p:spPr bwMode="auto">
              <a:xfrm>
                <a:off x="4219375" y="3047845"/>
                <a:ext cx="150220" cy="369945"/>
              </a:xfrm>
              <a:custGeom>
                <a:avLst/>
                <a:gdLst>
                  <a:gd name="T0" fmla="*/ 61 w 67"/>
                  <a:gd name="T1" fmla="*/ 0 h 165"/>
                  <a:gd name="T2" fmla="*/ 0 w 67"/>
                  <a:gd name="T3" fmla="*/ 161 h 165"/>
                  <a:gd name="T4" fmla="*/ 2 w 67"/>
                  <a:gd name="T5" fmla="*/ 163 h 165"/>
                  <a:gd name="T6" fmla="*/ 6 w 67"/>
                  <a:gd name="T7" fmla="*/ 165 h 165"/>
                  <a:gd name="T8" fmla="*/ 67 w 67"/>
                  <a:gd name="T9" fmla="*/ 4 h 165"/>
                  <a:gd name="T10" fmla="*/ 61 w 67"/>
                  <a:gd name="T1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165">
                    <a:moveTo>
                      <a:pt x="61" y="0"/>
                    </a:moveTo>
                    <a:lnTo>
                      <a:pt x="0" y="161"/>
                    </a:lnTo>
                    <a:lnTo>
                      <a:pt x="2" y="163"/>
                    </a:lnTo>
                    <a:lnTo>
                      <a:pt x="6" y="165"/>
                    </a:lnTo>
                    <a:lnTo>
                      <a:pt x="67" y="4"/>
                    </a:lnTo>
                    <a:lnTo>
                      <a:pt x="61" y="0"/>
                    </a:lnTo>
                    <a:close/>
                  </a:path>
                </a:pathLst>
              </a:custGeom>
              <a:solidFill>
                <a:srgbClr val="749A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ïşḷîḍé">
                <a:extLst>
                  <a:ext uri="{FF2B5EF4-FFF2-40B4-BE49-F238E27FC236}">
                    <a16:creationId xmlns:a16="http://schemas.microsoft.com/office/drawing/2014/main" id="{7C59F5A1-60FF-4161-8EEE-910F0DA59B13}"/>
                  </a:ext>
                </a:extLst>
              </p:cNvPr>
              <p:cNvSpPr/>
              <p:nvPr/>
            </p:nvSpPr>
            <p:spPr bwMode="auto">
              <a:xfrm>
                <a:off x="4219375" y="3047845"/>
                <a:ext cx="150220" cy="369945"/>
              </a:xfrm>
              <a:custGeom>
                <a:avLst/>
                <a:gdLst>
                  <a:gd name="T0" fmla="*/ 61 w 67"/>
                  <a:gd name="T1" fmla="*/ 0 h 165"/>
                  <a:gd name="T2" fmla="*/ 0 w 67"/>
                  <a:gd name="T3" fmla="*/ 161 h 165"/>
                  <a:gd name="T4" fmla="*/ 2 w 67"/>
                  <a:gd name="T5" fmla="*/ 163 h 165"/>
                  <a:gd name="T6" fmla="*/ 6 w 67"/>
                  <a:gd name="T7" fmla="*/ 165 h 165"/>
                  <a:gd name="T8" fmla="*/ 67 w 67"/>
                  <a:gd name="T9" fmla="*/ 4 h 165"/>
                  <a:gd name="T10" fmla="*/ 61 w 67"/>
                  <a:gd name="T1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165">
                    <a:moveTo>
                      <a:pt x="61" y="0"/>
                    </a:moveTo>
                    <a:lnTo>
                      <a:pt x="0" y="161"/>
                    </a:lnTo>
                    <a:lnTo>
                      <a:pt x="2" y="163"/>
                    </a:lnTo>
                    <a:lnTo>
                      <a:pt x="6" y="165"/>
                    </a:lnTo>
                    <a:lnTo>
                      <a:pt x="67" y="4"/>
                    </a:lnTo>
                    <a:lnTo>
                      <a:pt x="6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îŝḷïḍé">
                <a:extLst>
                  <a:ext uri="{FF2B5EF4-FFF2-40B4-BE49-F238E27FC236}">
                    <a16:creationId xmlns:a16="http://schemas.microsoft.com/office/drawing/2014/main" id="{94334ADC-871D-48F3-A1F5-928B37251501}"/>
                  </a:ext>
                </a:extLst>
              </p:cNvPr>
              <p:cNvSpPr/>
              <p:nvPr/>
            </p:nvSpPr>
            <p:spPr bwMode="auto">
              <a:xfrm>
                <a:off x="3768715" y="1825909"/>
                <a:ext cx="1385609" cy="2932648"/>
              </a:xfrm>
              <a:custGeom>
                <a:avLst/>
                <a:gdLst>
                  <a:gd name="T0" fmla="*/ 482 w 618"/>
                  <a:gd name="T1" fmla="*/ 0 h 1308"/>
                  <a:gd name="T2" fmla="*/ 0 w 618"/>
                  <a:gd name="T3" fmla="*/ 1242 h 1308"/>
                  <a:gd name="T4" fmla="*/ 112 w 618"/>
                  <a:gd name="T5" fmla="*/ 1308 h 1308"/>
                  <a:gd name="T6" fmla="*/ 618 w 618"/>
                  <a:gd name="T7" fmla="*/ 28 h 1308"/>
                  <a:gd name="T8" fmla="*/ 482 w 618"/>
                  <a:gd name="T9" fmla="*/ 0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8" h="1308">
                    <a:moveTo>
                      <a:pt x="482" y="0"/>
                    </a:moveTo>
                    <a:lnTo>
                      <a:pt x="0" y="1242"/>
                    </a:lnTo>
                    <a:lnTo>
                      <a:pt x="112" y="1308"/>
                    </a:lnTo>
                    <a:lnTo>
                      <a:pt x="618" y="28"/>
                    </a:lnTo>
                    <a:lnTo>
                      <a:pt x="482" y="0"/>
                    </a:lnTo>
                    <a:close/>
                  </a:path>
                </a:pathLst>
              </a:custGeom>
              <a:solidFill>
                <a:srgbClr val="7DA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96D8A54-2DA9-4562-B53C-0A629EEEE89B}"/>
                </a:ext>
              </a:extLst>
            </p:cNvPr>
            <p:cNvSpPr/>
            <p:nvPr/>
          </p:nvSpPr>
          <p:spPr>
            <a:xfrm>
              <a:off x="913387" y="1750796"/>
              <a:ext cx="4121426" cy="830997"/>
            </a:xfrm>
            <a:prstGeom prst="rect">
              <a:avLst/>
            </a:prstGeom>
          </p:spPr>
          <p:txBody>
            <a:bodyPr wrap="square" lIns="180000" tIns="45720" rIns="180000" bIns="45720">
              <a:spAutoFit/>
            </a:bodyPr>
            <a:lstStyle/>
            <a:p>
              <a:r>
                <a:rPr lang="en-US" altLang="zh-TW" sz="2400" dirty="0">
                  <a:latin typeface="Tw Cen MT" panose="020B0602020104020603" pitchFamily="34" charset="0"/>
                </a:rPr>
                <a:t>After our preprocessing, some text will become empty.</a:t>
              </a:r>
              <a:endParaRPr lang="en-US" sz="2400" dirty="0">
                <a:latin typeface="Tw Cen MT" panose="020B0602020104020603" pitchFamily="34" charset="0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843845F-9C23-4101-B220-6472553447E3}"/>
              </a:ext>
            </a:extLst>
          </p:cNvPr>
          <p:cNvGrpSpPr/>
          <p:nvPr/>
        </p:nvGrpSpPr>
        <p:grpSpPr>
          <a:xfrm>
            <a:off x="6210332" y="10322386"/>
            <a:ext cx="4616694" cy="4439478"/>
            <a:chOff x="6210332" y="1437861"/>
            <a:chExt cx="4616694" cy="4439478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BFBC2530-FA37-4B84-BF37-013F9A4C274D}"/>
                </a:ext>
              </a:extLst>
            </p:cNvPr>
            <p:cNvSpPr/>
            <p:nvPr/>
          </p:nvSpPr>
          <p:spPr>
            <a:xfrm>
              <a:off x="6210332" y="1437861"/>
              <a:ext cx="4616694" cy="4439478"/>
            </a:xfrm>
            <a:prstGeom prst="roundRect">
              <a:avLst>
                <a:gd name="adj" fmla="val 10236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45720" rIns="360000" bIns="45720" rtlCol="0" anchor="ctr"/>
            <a:lstStyle/>
            <a:p>
              <a:pPr algn="ctr"/>
              <a:endParaRPr lang="en-US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7F1C6A85-4B50-4C50-B70A-4AE420B3B0FC}"/>
                </a:ext>
              </a:extLst>
            </p:cNvPr>
            <p:cNvSpPr/>
            <p:nvPr/>
          </p:nvSpPr>
          <p:spPr>
            <a:xfrm>
              <a:off x="6210332" y="1750796"/>
              <a:ext cx="3258346" cy="830997"/>
            </a:xfrm>
            <a:prstGeom prst="rect">
              <a:avLst/>
            </a:prstGeom>
          </p:spPr>
          <p:txBody>
            <a:bodyPr wrap="square" lIns="360000" tIns="45720" rIns="360000" bIns="45720">
              <a:spAutoFit/>
            </a:bodyPr>
            <a:lstStyle/>
            <a:p>
              <a:r>
                <a:rPr lang="en-US" altLang="zh-TW" sz="2400" dirty="0">
                  <a:latin typeface="Tw Cen MT" panose="020B0602020104020603" pitchFamily="34" charset="0"/>
                </a:rPr>
                <a:t>Guess the 6 most common categories</a:t>
              </a:r>
            </a:p>
          </p:txBody>
        </p:sp>
        <p:pic>
          <p:nvPicPr>
            <p:cNvPr id="90" name="圖片 2">
              <a:extLst>
                <a:ext uri="{FF2B5EF4-FFF2-40B4-BE49-F238E27FC236}">
                  <a16:creationId xmlns:a16="http://schemas.microsoft.com/office/drawing/2014/main" id="{D4C4D3D8-88BC-4CA7-89AC-B2804501060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9411" y="1642882"/>
              <a:ext cx="1495226" cy="4022640"/>
            </a:xfrm>
            <a:prstGeom prst="rect">
              <a:avLst/>
            </a:prstGeom>
          </p:spPr>
        </p:pic>
        <p:grpSp>
          <p:nvGrpSpPr>
            <p:cNvPr id="91" name="b826854e-2acf-4900-a62e-ca82189cbf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501C3AF5-D986-4CD4-944F-C8215743CAA2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6823053" y="3076412"/>
              <a:ext cx="2032904" cy="1923540"/>
              <a:chOff x="3652055" y="1116531"/>
              <a:chExt cx="4887890" cy="4624938"/>
            </a:xfrm>
          </p:grpSpPr>
          <p:sp>
            <p:nvSpPr>
              <p:cNvPr id="92" name="îṡḻîďé">
                <a:extLst>
                  <a:ext uri="{FF2B5EF4-FFF2-40B4-BE49-F238E27FC236}">
                    <a16:creationId xmlns:a16="http://schemas.microsoft.com/office/drawing/2014/main" id="{B1D6B5AF-27B0-4695-8784-8EC9FB53D646}"/>
                  </a:ext>
                </a:extLst>
              </p:cNvPr>
              <p:cNvSpPr/>
              <p:nvPr/>
            </p:nvSpPr>
            <p:spPr bwMode="auto">
              <a:xfrm>
                <a:off x="5833928" y="1261639"/>
                <a:ext cx="466098" cy="465221"/>
              </a:xfrm>
              <a:prstGeom prst="ellipse">
                <a:avLst/>
              </a:pr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îSḷíḋè">
                <a:extLst>
                  <a:ext uri="{FF2B5EF4-FFF2-40B4-BE49-F238E27FC236}">
                    <a16:creationId xmlns:a16="http://schemas.microsoft.com/office/drawing/2014/main" id="{88E3E618-E3EA-47D0-BEB6-B5C6EB6DA285}"/>
                  </a:ext>
                </a:extLst>
              </p:cNvPr>
              <p:cNvSpPr/>
              <p:nvPr/>
            </p:nvSpPr>
            <p:spPr bwMode="auto">
              <a:xfrm>
                <a:off x="4786524" y="1276587"/>
                <a:ext cx="2545957" cy="3257418"/>
              </a:xfrm>
              <a:custGeom>
                <a:avLst/>
                <a:gdLst/>
                <a:ahLst/>
                <a:cxnLst>
                  <a:cxn ang="0">
                    <a:pos x="175" y="8"/>
                  </a:cxn>
                  <a:cxn ang="0">
                    <a:pos x="162" y="33"/>
                  </a:cxn>
                  <a:cxn ang="0">
                    <a:pos x="158" y="37"/>
                  </a:cxn>
                  <a:cxn ang="0">
                    <a:pos x="120" y="52"/>
                  </a:cxn>
                  <a:cxn ang="0">
                    <a:pos x="119" y="52"/>
                  </a:cxn>
                  <a:cxn ang="0">
                    <a:pos x="118" y="52"/>
                  </a:cxn>
                  <a:cxn ang="0">
                    <a:pos x="110" y="103"/>
                  </a:cxn>
                  <a:cxn ang="0">
                    <a:pos x="111" y="105"/>
                  </a:cxn>
                  <a:cxn ang="0">
                    <a:pos x="131" y="213"/>
                  </a:cxn>
                  <a:cxn ang="0">
                    <a:pos x="124" y="223"/>
                  </a:cxn>
                  <a:cxn ang="0">
                    <a:pos x="123" y="223"/>
                  </a:cxn>
                  <a:cxn ang="0">
                    <a:pos x="114" y="216"/>
                  </a:cxn>
                  <a:cxn ang="0">
                    <a:pos x="88" y="120"/>
                  </a:cxn>
                  <a:cxn ang="0">
                    <a:pos x="66" y="216"/>
                  </a:cxn>
                  <a:cxn ang="0">
                    <a:pos x="56" y="223"/>
                  </a:cxn>
                  <a:cxn ang="0">
                    <a:pos x="49" y="213"/>
                  </a:cxn>
                  <a:cxn ang="0">
                    <a:pos x="66" y="104"/>
                  </a:cxn>
                  <a:cxn ang="0">
                    <a:pos x="66" y="102"/>
                  </a:cxn>
                  <a:cxn ang="0">
                    <a:pos x="66" y="102"/>
                  </a:cxn>
                  <a:cxn ang="0">
                    <a:pos x="59" y="52"/>
                  </a:cxn>
                  <a:cxn ang="0">
                    <a:pos x="58" y="52"/>
                  </a:cxn>
                  <a:cxn ang="0">
                    <a:pos x="57" y="52"/>
                  </a:cxn>
                  <a:cxn ang="0">
                    <a:pos x="16" y="37"/>
                  </a:cxn>
                  <a:cxn ang="0">
                    <a:pos x="11" y="32"/>
                  </a:cxn>
                  <a:cxn ang="0">
                    <a:pos x="0" y="8"/>
                  </a:cxn>
                  <a:cxn ang="0">
                    <a:pos x="16" y="1"/>
                  </a:cxn>
                  <a:cxn ang="0">
                    <a:pos x="26" y="22"/>
                  </a:cxn>
                  <a:cxn ang="0">
                    <a:pos x="61" y="35"/>
                  </a:cxn>
                  <a:cxn ang="0">
                    <a:pos x="75" y="35"/>
                  </a:cxn>
                  <a:cxn ang="0">
                    <a:pos x="83" y="55"/>
                  </a:cxn>
                  <a:cxn ang="0">
                    <a:pos x="88" y="68"/>
                  </a:cxn>
                  <a:cxn ang="0">
                    <a:pos x="93" y="55"/>
                  </a:cxn>
                  <a:cxn ang="0">
                    <a:pos x="93" y="55"/>
                  </a:cxn>
                  <a:cxn ang="0">
                    <a:pos x="101" y="35"/>
                  </a:cxn>
                  <a:cxn ang="0">
                    <a:pos x="115" y="35"/>
                  </a:cxn>
                  <a:cxn ang="0">
                    <a:pos x="148" y="22"/>
                  </a:cxn>
                  <a:cxn ang="0">
                    <a:pos x="160" y="0"/>
                  </a:cxn>
                  <a:cxn ang="0">
                    <a:pos x="175" y="8"/>
                  </a:cxn>
                </a:cxnLst>
                <a:rect l="0" t="0" r="r" b="b"/>
                <a:pathLst>
                  <a:path w="175" h="224">
                    <a:moveTo>
                      <a:pt x="175" y="8"/>
                    </a:moveTo>
                    <a:cubicBezTo>
                      <a:pt x="162" y="33"/>
                      <a:pt x="162" y="33"/>
                      <a:pt x="162" y="33"/>
                    </a:cubicBezTo>
                    <a:cubicBezTo>
                      <a:pt x="161" y="35"/>
                      <a:pt x="159" y="36"/>
                      <a:pt x="158" y="37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19" y="52"/>
                      <a:pt x="119" y="52"/>
                      <a:pt x="119" y="52"/>
                    </a:cubicBezTo>
                    <a:cubicBezTo>
                      <a:pt x="118" y="52"/>
                      <a:pt x="118" y="52"/>
                      <a:pt x="118" y="52"/>
                    </a:cubicBezTo>
                    <a:cubicBezTo>
                      <a:pt x="110" y="103"/>
                      <a:pt x="110" y="103"/>
                      <a:pt x="110" y="103"/>
                    </a:cubicBezTo>
                    <a:cubicBezTo>
                      <a:pt x="111" y="105"/>
                      <a:pt x="111" y="105"/>
                      <a:pt x="111" y="105"/>
                    </a:cubicBezTo>
                    <a:cubicBezTo>
                      <a:pt x="131" y="213"/>
                      <a:pt x="131" y="213"/>
                      <a:pt x="131" y="213"/>
                    </a:cubicBezTo>
                    <a:cubicBezTo>
                      <a:pt x="132" y="217"/>
                      <a:pt x="129" y="222"/>
                      <a:pt x="124" y="223"/>
                    </a:cubicBezTo>
                    <a:cubicBezTo>
                      <a:pt x="124" y="223"/>
                      <a:pt x="123" y="223"/>
                      <a:pt x="123" y="223"/>
                    </a:cubicBezTo>
                    <a:cubicBezTo>
                      <a:pt x="118" y="223"/>
                      <a:pt x="115" y="220"/>
                      <a:pt x="114" y="216"/>
                    </a:cubicBezTo>
                    <a:cubicBezTo>
                      <a:pt x="88" y="120"/>
                      <a:pt x="88" y="120"/>
                      <a:pt x="88" y="120"/>
                    </a:cubicBezTo>
                    <a:cubicBezTo>
                      <a:pt x="66" y="216"/>
                      <a:pt x="66" y="216"/>
                      <a:pt x="66" y="216"/>
                    </a:cubicBezTo>
                    <a:cubicBezTo>
                      <a:pt x="65" y="220"/>
                      <a:pt x="61" y="224"/>
                      <a:pt x="56" y="223"/>
                    </a:cubicBezTo>
                    <a:cubicBezTo>
                      <a:pt x="51" y="222"/>
                      <a:pt x="48" y="218"/>
                      <a:pt x="49" y="213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58" y="52"/>
                      <a:pt x="57" y="52"/>
                      <a:pt x="57" y="52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4" y="36"/>
                      <a:pt x="12" y="34"/>
                      <a:pt x="11" y="3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75" y="35"/>
                      <a:pt x="75" y="35"/>
                      <a:pt x="75" y="35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15" y="35"/>
                      <a:pt x="115" y="35"/>
                      <a:pt x="115" y="35"/>
                    </a:cubicBezTo>
                    <a:cubicBezTo>
                      <a:pt x="148" y="22"/>
                      <a:pt x="148" y="22"/>
                      <a:pt x="148" y="22"/>
                    </a:cubicBezTo>
                    <a:cubicBezTo>
                      <a:pt x="160" y="0"/>
                      <a:pt x="160" y="0"/>
                      <a:pt x="160" y="0"/>
                    </a:cubicBezTo>
                    <a:lnTo>
                      <a:pt x="175" y="8"/>
                    </a:ln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í$ľïḋê">
                <a:extLst>
                  <a:ext uri="{FF2B5EF4-FFF2-40B4-BE49-F238E27FC236}">
                    <a16:creationId xmlns:a16="http://schemas.microsoft.com/office/drawing/2014/main" id="{D155AA85-81DF-4138-9CE6-DB39BAE981BB}"/>
                  </a:ext>
                </a:extLst>
              </p:cNvPr>
              <p:cNvSpPr/>
              <p:nvPr/>
            </p:nvSpPr>
            <p:spPr bwMode="auto">
              <a:xfrm>
                <a:off x="4728482" y="1116531"/>
                <a:ext cx="291093" cy="276141"/>
              </a:xfrm>
              <a:custGeom>
                <a:avLst/>
                <a:gdLst/>
                <a:ahLst/>
                <a:cxnLst>
                  <a:cxn ang="0">
                    <a:pos x="18" y="6"/>
                  </a:cxn>
                  <a:cxn ang="0">
                    <a:pos x="20" y="12"/>
                  </a:cxn>
                  <a:cxn ang="0">
                    <a:pos x="4" y="19"/>
                  </a:cxn>
                  <a:cxn ang="0">
                    <a:pos x="2" y="13"/>
                  </a:cxn>
                  <a:cxn ang="0">
                    <a:pos x="7" y="2"/>
                  </a:cxn>
                  <a:cxn ang="0">
                    <a:pos x="18" y="6"/>
                  </a:cxn>
                </a:cxnLst>
                <a:rect l="0" t="0" r="r" b="b"/>
                <a:pathLst>
                  <a:path w="20" h="19">
                    <a:moveTo>
                      <a:pt x="18" y="6"/>
                    </a:moveTo>
                    <a:cubicBezTo>
                      <a:pt x="20" y="12"/>
                      <a:pt x="20" y="12"/>
                      <a:pt x="20" y="12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0" y="9"/>
                      <a:pt x="2" y="4"/>
                      <a:pt x="7" y="2"/>
                    </a:cubicBezTo>
                    <a:cubicBezTo>
                      <a:pt x="11" y="0"/>
                      <a:pt x="16" y="2"/>
                      <a:pt x="18" y="6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îṧḻîḓé">
                <a:extLst>
                  <a:ext uri="{FF2B5EF4-FFF2-40B4-BE49-F238E27FC236}">
                    <a16:creationId xmlns:a16="http://schemas.microsoft.com/office/drawing/2014/main" id="{7F83E482-B48D-4065-94B1-DE3BDDC6C445}"/>
                  </a:ext>
                </a:extLst>
              </p:cNvPr>
              <p:cNvSpPr/>
              <p:nvPr/>
            </p:nvSpPr>
            <p:spPr bwMode="auto">
              <a:xfrm>
                <a:off x="5993984" y="1784902"/>
                <a:ext cx="145985" cy="480169"/>
              </a:xfrm>
              <a:custGeom>
                <a:avLst/>
                <a:gdLst/>
                <a:ahLst/>
                <a:cxnLst>
                  <a:cxn ang="0">
                    <a:pos x="166" y="331"/>
                  </a:cxn>
                  <a:cxn ang="0">
                    <a:pos x="166" y="331"/>
                  </a:cxn>
                  <a:cxn ang="0">
                    <a:pos x="83" y="546"/>
                  </a:cxn>
                  <a:cxn ang="0">
                    <a:pos x="0" y="331"/>
                  </a:cxn>
                  <a:cxn ang="0">
                    <a:pos x="33" y="83"/>
                  </a:cxn>
                  <a:cxn ang="0">
                    <a:pos x="0" y="0"/>
                  </a:cxn>
                  <a:cxn ang="0">
                    <a:pos x="166" y="0"/>
                  </a:cxn>
                  <a:cxn ang="0">
                    <a:pos x="132" y="83"/>
                  </a:cxn>
                  <a:cxn ang="0">
                    <a:pos x="166" y="331"/>
                  </a:cxn>
                </a:cxnLst>
                <a:rect l="0" t="0" r="r" b="b"/>
                <a:pathLst>
                  <a:path w="166" h="546">
                    <a:moveTo>
                      <a:pt x="166" y="331"/>
                    </a:moveTo>
                    <a:lnTo>
                      <a:pt x="166" y="331"/>
                    </a:lnTo>
                    <a:lnTo>
                      <a:pt x="83" y="546"/>
                    </a:lnTo>
                    <a:lnTo>
                      <a:pt x="0" y="331"/>
                    </a:lnTo>
                    <a:lnTo>
                      <a:pt x="33" y="83"/>
                    </a:lnTo>
                    <a:lnTo>
                      <a:pt x="0" y="0"/>
                    </a:lnTo>
                    <a:lnTo>
                      <a:pt x="166" y="0"/>
                    </a:lnTo>
                    <a:lnTo>
                      <a:pt x="132" y="83"/>
                    </a:lnTo>
                    <a:lnTo>
                      <a:pt x="166" y="331"/>
                    </a:lnTo>
                    <a:close/>
                  </a:path>
                </a:pathLst>
              </a:custGeom>
              <a:solidFill>
                <a:srgbClr val="BC2B28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íSlíḋè">
                <a:extLst>
                  <a:ext uri="{FF2B5EF4-FFF2-40B4-BE49-F238E27FC236}">
                    <a16:creationId xmlns:a16="http://schemas.microsoft.com/office/drawing/2014/main" id="{8BCB6481-619B-43D9-B037-73B8D075EE00}"/>
                  </a:ext>
                </a:extLst>
              </p:cNvPr>
              <p:cNvSpPr/>
              <p:nvPr/>
            </p:nvSpPr>
            <p:spPr bwMode="auto">
              <a:xfrm>
                <a:off x="5877899" y="1784902"/>
                <a:ext cx="145108" cy="291093"/>
              </a:xfrm>
              <a:custGeom>
                <a:avLst/>
                <a:gdLst/>
                <a:ahLst/>
                <a:cxnLst>
                  <a:cxn ang="0">
                    <a:pos x="165" y="83"/>
                  </a:cxn>
                  <a:cxn ang="0">
                    <a:pos x="132" y="331"/>
                  </a:cxn>
                  <a:cxn ang="0">
                    <a:pos x="0" y="0"/>
                  </a:cxn>
                  <a:cxn ang="0">
                    <a:pos x="132" y="0"/>
                  </a:cxn>
                  <a:cxn ang="0">
                    <a:pos x="165" y="83"/>
                  </a:cxn>
                </a:cxnLst>
                <a:rect l="0" t="0" r="r" b="b"/>
                <a:pathLst>
                  <a:path w="165" h="331">
                    <a:moveTo>
                      <a:pt x="165" y="83"/>
                    </a:moveTo>
                    <a:lnTo>
                      <a:pt x="132" y="331"/>
                    </a:lnTo>
                    <a:lnTo>
                      <a:pt x="0" y="0"/>
                    </a:lnTo>
                    <a:lnTo>
                      <a:pt x="132" y="0"/>
                    </a:lnTo>
                    <a:lnTo>
                      <a:pt x="165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i$lîdè">
                <a:extLst>
                  <a:ext uri="{FF2B5EF4-FFF2-40B4-BE49-F238E27FC236}">
                    <a16:creationId xmlns:a16="http://schemas.microsoft.com/office/drawing/2014/main" id="{DDBD0930-0728-487E-8D7D-9533809992E1}"/>
                  </a:ext>
                </a:extLst>
              </p:cNvPr>
              <p:cNvSpPr/>
              <p:nvPr/>
            </p:nvSpPr>
            <p:spPr bwMode="auto">
              <a:xfrm>
                <a:off x="6110069" y="1784902"/>
                <a:ext cx="145985" cy="291093"/>
              </a:xfrm>
              <a:custGeom>
                <a:avLst/>
                <a:gdLst/>
                <a:ahLst/>
                <a:cxnLst>
                  <a:cxn ang="0">
                    <a:pos x="166" y="0"/>
                  </a:cxn>
                  <a:cxn ang="0">
                    <a:pos x="34" y="331"/>
                  </a:cxn>
                  <a:cxn ang="0">
                    <a:pos x="0" y="83"/>
                  </a:cxn>
                  <a:cxn ang="0">
                    <a:pos x="34" y="0"/>
                  </a:cxn>
                  <a:cxn ang="0">
                    <a:pos x="166" y="0"/>
                  </a:cxn>
                </a:cxnLst>
                <a:rect l="0" t="0" r="r" b="b"/>
                <a:pathLst>
                  <a:path w="166" h="331">
                    <a:moveTo>
                      <a:pt x="166" y="0"/>
                    </a:moveTo>
                    <a:lnTo>
                      <a:pt x="34" y="331"/>
                    </a:lnTo>
                    <a:lnTo>
                      <a:pt x="0" y="83"/>
                    </a:lnTo>
                    <a:lnTo>
                      <a:pt x="34" y="0"/>
                    </a:lnTo>
                    <a:lnTo>
                      <a:pt x="16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ïṥḷïḋê">
                <a:extLst>
                  <a:ext uri="{FF2B5EF4-FFF2-40B4-BE49-F238E27FC236}">
                    <a16:creationId xmlns:a16="http://schemas.microsoft.com/office/drawing/2014/main" id="{ECEA0550-83C1-4ECE-AD17-D948BADB9BD4}"/>
                  </a:ext>
                </a:extLst>
              </p:cNvPr>
              <p:cNvSpPr/>
              <p:nvPr/>
            </p:nvSpPr>
            <p:spPr bwMode="auto">
              <a:xfrm>
                <a:off x="4263261" y="1625723"/>
                <a:ext cx="436198" cy="436197"/>
              </a:xfrm>
              <a:prstGeom prst="ellipse">
                <a:avLst/>
              </a:pr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ïṥḷîḍe">
                <a:extLst>
                  <a:ext uri="{FF2B5EF4-FFF2-40B4-BE49-F238E27FC236}">
                    <a16:creationId xmlns:a16="http://schemas.microsoft.com/office/drawing/2014/main" id="{869D6084-5CA4-40BE-87F2-44EB68D406BA}"/>
                  </a:ext>
                </a:extLst>
              </p:cNvPr>
              <p:cNvSpPr/>
              <p:nvPr/>
            </p:nvSpPr>
            <p:spPr bwMode="auto">
              <a:xfrm>
                <a:off x="3885106" y="3094376"/>
                <a:ext cx="262070" cy="247122"/>
              </a:xfrm>
              <a:custGeom>
                <a:avLst/>
                <a:gdLst/>
                <a:ahLst/>
                <a:cxnLst>
                  <a:cxn ang="0">
                    <a:pos x="18" y="8"/>
                  </a:cxn>
                  <a:cxn ang="0">
                    <a:pos x="13" y="16"/>
                  </a:cxn>
                  <a:cxn ang="0">
                    <a:pos x="10" y="17"/>
                  </a:cxn>
                  <a:cxn ang="0">
                    <a:pos x="2" y="11"/>
                  </a:cxn>
                  <a:cxn ang="0">
                    <a:pos x="0" y="6"/>
                  </a:cxn>
                  <a:cxn ang="0">
                    <a:pos x="15" y="0"/>
                  </a:cxn>
                  <a:cxn ang="0">
                    <a:pos x="17" y="5"/>
                  </a:cxn>
                  <a:cxn ang="0">
                    <a:pos x="18" y="8"/>
                  </a:cxn>
                </a:cxnLst>
                <a:rect l="0" t="0" r="r" b="b"/>
                <a:pathLst>
                  <a:path w="18" h="17">
                    <a:moveTo>
                      <a:pt x="18" y="8"/>
                    </a:moveTo>
                    <a:cubicBezTo>
                      <a:pt x="18" y="12"/>
                      <a:pt x="16" y="15"/>
                      <a:pt x="13" y="16"/>
                    </a:cubicBezTo>
                    <a:cubicBezTo>
                      <a:pt x="12" y="17"/>
                      <a:pt x="11" y="17"/>
                      <a:pt x="10" y="17"/>
                    </a:cubicBezTo>
                    <a:cubicBezTo>
                      <a:pt x="6" y="17"/>
                      <a:pt x="3" y="15"/>
                      <a:pt x="2" y="1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8" y="6"/>
                      <a:pt x="18" y="7"/>
                      <a:pt x="18" y="8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iŝľïdé">
                <a:extLst>
                  <a:ext uri="{FF2B5EF4-FFF2-40B4-BE49-F238E27FC236}">
                    <a16:creationId xmlns:a16="http://schemas.microsoft.com/office/drawing/2014/main" id="{120E9B2B-43BC-44F1-BB94-F710444AD046}"/>
                  </a:ext>
                </a:extLst>
              </p:cNvPr>
              <p:cNvSpPr/>
              <p:nvPr/>
            </p:nvSpPr>
            <p:spPr bwMode="auto">
              <a:xfrm>
                <a:off x="4830496" y="3109324"/>
                <a:ext cx="262070" cy="247122"/>
              </a:xfrm>
              <a:custGeom>
                <a:avLst/>
                <a:gdLst/>
                <a:ahLst/>
                <a:cxnLst>
                  <a:cxn ang="0">
                    <a:pos x="18" y="5"/>
                  </a:cxn>
                  <a:cxn ang="0">
                    <a:pos x="16" y="10"/>
                  </a:cxn>
                  <a:cxn ang="0">
                    <a:pos x="5" y="15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18" y="5"/>
                  </a:cxn>
                </a:cxnLst>
                <a:rect l="0" t="0" r="r" b="b"/>
                <a:pathLst>
                  <a:path w="18" h="17">
                    <a:moveTo>
                      <a:pt x="18" y="5"/>
                    </a:moveTo>
                    <a:cubicBezTo>
                      <a:pt x="16" y="10"/>
                      <a:pt x="16" y="10"/>
                      <a:pt x="16" y="10"/>
                    </a:cubicBezTo>
                    <a:cubicBezTo>
                      <a:pt x="15" y="14"/>
                      <a:pt x="10" y="17"/>
                      <a:pt x="5" y="15"/>
                    </a:cubicBezTo>
                    <a:cubicBezTo>
                      <a:pt x="2" y="14"/>
                      <a:pt x="0" y="11"/>
                      <a:pt x="0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18" y="5"/>
                    </a:ln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îşļíḋê">
                <a:extLst>
                  <a:ext uri="{FF2B5EF4-FFF2-40B4-BE49-F238E27FC236}">
                    <a16:creationId xmlns:a16="http://schemas.microsoft.com/office/drawing/2014/main" id="{6655F21B-C803-459E-9BF6-6E91E0EBB5F6}"/>
                  </a:ext>
                </a:extLst>
              </p:cNvPr>
              <p:cNvSpPr/>
              <p:nvPr/>
            </p:nvSpPr>
            <p:spPr bwMode="auto">
              <a:xfrm>
                <a:off x="3710097" y="2119963"/>
                <a:ext cx="1513506" cy="2647093"/>
              </a:xfrm>
              <a:custGeom>
                <a:avLst/>
                <a:gdLst/>
                <a:ahLst/>
                <a:cxnLst>
                  <a:cxn ang="0">
                    <a:pos x="104" y="45"/>
                  </a:cxn>
                  <a:cxn ang="0">
                    <a:pos x="95" y="73"/>
                  </a:cxn>
                  <a:cxn ang="0">
                    <a:pos x="79" y="68"/>
                  </a:cxn>
                  <a:cxn ang="0">
                    <a:pos x="87" y="43"/>
                  </a:cxn>
                  <a:cxn ang="0">
                    <a:pos x="80" y="29"/>
                  </a:cxn>
                  <a:cxn ang="0">
                    <a:pos x="74" y="68"/>
                  </a:cxn>
                  <a:cxn ang="0">
                    <a:pos x="76" y="75"/>
                  </a:cxn>
                  <a:cxn ang="0">
                    <a:pos x="94" y="171"/>
                  </a:cxn>
                  <a:cxn ang="0">
                    <a:pos x="88" y="181"/>
                  </a:cxn>
                  <a:cxn ang="0">
                    <a:pos x="86" y="181"/>
                  </a:cxn>
                  <a:cxn ang="0">
                    <a:pos x="78" y="174"/>
                  </a:cxn>
                  <a:cxn ang="0">
                    <a:pos x="77" y="173"/>
                  </a:cxn>
                  <a:cxn ang="0">
                    <a:pos x="53" y="85"/>
                  </a:cxn>
                  <a:cxn ang="0">
                    <a:pos x="32" y="173"/>
                  </a:cxn>
                  <a:cxn ang="0">
                    <a:pos x="31" y="174"/>
                  </a:cxn>
                  <a:cxn ang="0">
                    <a:pos x="22" y="181"/>
                  </a:cxn>
                  <a:cxn ang="0">
                    <a:pos x="15" y="172"/>
                  </a:cxn>
                  <a:cxn ang="0">
                    <a:pos x="30" y="75"/>
                  </a:cxn>
                  <a:cxn ang="0">
                    <a:pos x="32" y="66"/>
                  </a:cxn>
                  <a:cxn ang="0">
                    <a:pos x="26" y="27"/>
                  </a:cxn>
                  <a:cxn ang="0">
                    <a:pos x="18" y="42"/>
                  </a:cxn>
                  <a:cxn ang="0">
                    <a:pos x="27" y="67"/>
                  </a:cxn>
                  <a:cxn ang="0">
                    <a:pos x="12" y="73"/>
                  </a:cxn>
                  <a:cxn ang="0">
                    <a:pos x="1" y="45"/>
                  </a:cxn>
                  <a:cxn ang="0">
                    <a:pos x="1" y="38"/>
                  </a:cxn>
                  <a:cxn ang="0">
                    <a:pos x="18" y="5"/>
                  </a:cxn>
                  <a:cxn ang="0">
                    <a:pos x="26" y="0"/>
                  </a:cxn>
                  <a:cxn ang="0">
                    <a:pos x="80" y="0"/>
                  </a:cxn>
                  <a:cxn ang="0">
                    <a:pos x="88" y="5"/>
                  </a:cxn>
                  <a:cxn ang="0">
                    <a:pos x="103" y="38"/>
                  </a:cxn>
                  <a:cxn ang="0">
                    <a:pos x="104" y="45"/>
                  </a:cxn>
                </a:cxnLst>
                <a:rect l="0" t="0" r="r" b="b"/>
                <a:pathLst>
                  <a:path w="104" h="182">
                    <a:moveTo>
                      <a:pt x="104" y="45"/>
                    </a:moveTo>
                    <a:cubicBezTo>
                      <a:pt x="95" y="73"/>
                      <a:pt x="95" y="73"/>
                      <a:pt x="95" y="73"/>
                    </a:cubicBezTo>
                    <a:cubicBezTo>
                      <a:pt x="79" y="68"/>
                      <a:pt x="79" y="68"/>
                      <a:pt x="79" y="68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29"/>
                      <a:pt x="80" y="29"/>
                      <a:pt x="80" y="29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94" y="171"/>
                      <a:pt x="94" y="171"/>
                      <a:pt x="94" y="171"/>
                    </a:cubicBezTo>
                    <a:cubicBezTo>
                      <a:pt x="95" y="176"/>
                      <a:pt x="92" y="180"/>
                      <a:pt x="88" y="181"/>
                    </a:cubicBezTo>
                    <a:cubicBezTo>
                      <a:pt x="87" y="181"/>
                      <a:pt x="86" y="181"/>
                      <a:pt x="86" y="181"/>
                    </a:cubicBezTo>
                    <a:cubicBezTo>
                      <a:pt x="82" y="181"/>
                      <a:pt x="78" y="179"/>
                      <a:pt x="78" y="174"/>
                    </a:cubicBezTo>
                    <a:cubicBezTo>
                      <a:pt x="77" y="173"/>
                      <a:pt x="77" y="173"/>
                      <a:pt x="77" y="173"/>
                    </a:cubicBezTo>
                    <a:cubicBezTo>
                      <a:pt x="53" y="85"/>
                      <a:pt x="53" y="85"/>
                      <a:pt x="53" y="85"/>
                    </a:cubicBezTo>
                    <a:cubicBezTo>
                      <a:pt x="32" y="173"/>
                      <a:pt x="32" y="173"/>
                      <a:pt x="32" y="173"/>
                    </a:cubicBezTo>
                    <a:cubicBezTo>
                      <a:pt x="31" y="174"/>
                      <a:pt x="31" y="174"/>
                      <a:pt x="31" y="174"/>
                    </a:cubicBezTo>
                    <a:cubicBezTo>
                      <a:pt x="31" y="179"/>
                      <a:pt x="26" y="182"/>
                      <a:pt x="22" y="181"/>
                    </a:cubicBezTo>
                    <a:cubicBezTo>
                      <a:pt x="17" y="180"/>
                      <a:pt x="14" y="176"/>
                      <a:pt x="15" y="172"/>
                    </a:cubicBezTo>
                    <a:cubicBezTo>
                      <a:pt x="30" y="75"/>
                      <a:pt x="30" y="75"/>
                      <a:pt x="30" y="75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12" y="73"/>
                      <a:pt x="12" y="73"/>
                      <a:pt x="12" y="73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43"/>
                      <a:pt x="0" y="40"/>
                      <a:pt x="1" y="38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9" y="2"/>
                      <a:pt x="22" y="0"/>
                      <a:pt x="26" y="0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4" y="0"/>
                      <a:pt x="87" y="2"/>
                      <a:pt x="88" y="5"/>
                    </a:cubicBezTo>
                    <a:cubicBezTo>
                      <a:pt x="103" y="38"/>
                      <a:pt x="103" y="38"/>
                      <a:pt x="103" y="38"/>
                    </a:cubicBezTo>
                    <a:cubicBezTo>
                      <a:pt x="104" y="40"/>
                      <a:pt x="104" y="43"/>
                      <a:pt x="104" y="45"/>
                    </a:cubicBez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íśḷíḋe">
                <a:extLst>
                  <a:ext uri="{FF2B5EF4-FFF2-40B4-BE49-F238E27FC236}">
                    <a16:creationId xmlns:a16="http://schemas.microsoft.com/office/drawing/2014/main" id="{8697DC8E-A9C9-4945-B0CB-694675C6A299}"/>
                  </a:ext>
                </a:extLst>
              </p:cNvPr>
              <p:cNvSpPr/>
              <p:nvPr/>
            </p:nvSpPr>
            <p:spPr bwMode="auto">
              <a:xfrm>
                <a:off x="4423317" y="2119963"/>
                <a:ext cx="131037" cy="407178"/>
              </a:xfrm>
              <a:custGeom>
                <a:avLst/>
                <a:gdLst/>
                <a:ahLst/>
                <a:cxnLst>
                  <a:cxn ang="0">
                    <a:pos x="149" y="281"/>
                  </a:cxn>
                  <a:cxn ang="0">
                    <a:pos x="149" y="281"/>
                  </a:cxn>
                  <a:cxn ang="0">
                    <a:pos x="66" y="463"/>
                  </a:cxn>
                  <a:cxn ang="0">
                    <a:pos x="0" y="281"/>
                  </a:cxn>
                  <a:cxn ang="0">
                    <a:pos x="33" y="66"/>
                  </a:cxn>
                  <a:cxn ang="0">
                    <a:pos x="0" y="0"/>
                  </a:cxn>
                  <a:cxn ang="0">
                    <a:pos x="132" y="0"/>
                  </a:cxn>
                  <a:cxn ang="0">
                    <a:pos x="116" y="66"/>
                  </a:cxn>
                  <a:cxn ang="0">
                    <a:pos x="149" y="281"/>
                  </a:cxn>
                </a:cxnLst>
                <a:rect l="0" t="0" r="r" b="b"/>
                <a:pathLst>
                  <a:path w="149" h="463">
                    <a:moveTo>
                      <a:pt x="149" y="281"/>
                    </a:moveTo>
                    <a:lnTo>
                      <a:pt x="149" y="281"/>
                    </a:lnTo>
                    <a:lnTo>
                      <a:pt x="66" y="463"/>
                    </a:lnTo>
                    <a:lnTo>
                      <a:pt x="0" y="281"/>
                    </a:lnTo>
                    <a:lnTo>
                      <a:pt x="33" y="66"/>
                    </a:lnTo>
                    <a:lnTo>
                      <a:pt x="0" y="0"/>
                    </a:lnTo>
                    <a:lnTo>
                      <a:pt x="132" y="0"/>
                    </a:lnTo>
                    <a:lnTo>
                      <a:pt x="116" y="66"/>
                    </a:lnTo>
                    <a:lnTo>
                      <a:pt x="149" y="281"/>
                    </a:lnTo>
                    <a:close/>
                  </a:path>
                </a:pathLst>
              </a:custGeom>
              <a:solidFill>
                <a:srgbClr val="00A0C6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iŝ1ïdê">
                <a:extLst>
                  <a:ext uri="{FF2B5EF4-FFF2-40B4-BE49-F238E27FC236}">
                    <a16:creationId xmlns:a16="http://schemas.microsoft.com/office/drawing/2014/main" id="{5DB98B5D-1461-46F6-8F81-A8659A73FFE7}"/>
                  </a:ext>
                </a:extLst>
              </p:cNvPr>
              <p:cNvSpPr/>
              <p:nvPr/>
            </p:nvSpPr>
            <p:spPr bwMode="auto">
              <a:xfrm>
                <a:off x="4321304" y="2119963"/>
                <a:ext cx="131037" cy="247122"/>
              </a:xfrm>
              <a:custGeom>
                <a:avLst/>
                <a:gdLst/>
                <a:ahLst/>
                <a:cxnLst>
                  <a:cxn ang="0">
                    <a:pos x="149" y="66"/>
                  </a:cxn>
                  <a:cxn ang="0">
                    <a:pos x="116" y="281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49" y="66"/>
                  </a:cxn>
                </a:cxnLst>
                <a:rect l="0" t="0" r="r" b="b"/>
                <a:pathLst>
                  <a:path w="149" h="281">
                    <a:moveTo>
                      <a:pt x="149" y="66"/>
                    </a:moveTo>
                    <a:lnTo>
                      <a:pt x="116" y="281"/>
                    </a:lnTo>
                    <a:lnTo>
                      <a:pt x="0" y="0"/>
                    </a:lnTo>
                    <a:lnTo>
                      <a:pt x="116" y="0"/>
                    </a:lnTo>
                    <a:lnTo>
                      <a:pt x="149" y="6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iṧļiḓe">
                <a:extLst>
                  <a:ext uri="{FF2B5EF4-FFF2-40B4-BE49-F238E27FC236}">
                    <a16:creationId xmlns:a16="http://schemas.microsoft.com/office/drawing/2014/main" id="{C6FCB8C5-2FA1-4ADD-8CF3-DE95885A00DE}"/>
                  </a:ext>
                </a:extLst>
              </p:cNvPr>
              <p:cNvSpPr/>
              <p:nvPr/>
            </p:nvSpPr>
            <p:spPr bwMode="auto">
              <a:xfrm>
                <a:off x="4525331" y="2119963"/>
                <a:ext cx="116085" cy="247122"/>
              </a:xfrm>
              <a:custGeom>
                <a:avLst/>
                <a:gdLst/>
                <a:ahLst/>
                <a:cxnLst>
                  <a:cxn ang="0">
                    <a:pos x="132" y="0"/>
                  </a:cxn>
                  <a:cxn ang="0">
                    <a:pos x="33" y="281"/>
                  </a:cxn>
                  <a:cxn ang="0">
                    <a:pos x="0" y="66"/>
                  </a:cxn>
                  <a:cxn ang="0">
                    <a:pos x="16" y="0"/>
                  </a:cxn>
                  <a:cxn ang="0">
                    <a:pos x="132" y="0"/>
                  </a:cxn>
                </a:cxnLst>
                <a:rect l="0" t="0" r="r" b="b"/>
                <a:pathLst>
                  <a:path w="132" h="281">
                    <a:moveTo>
                      <a:pt x="132" y="0"/>
                    </a:moveTo>
                    <a:lnTo>
                      <a:pt x="33" y="281"/>
                    </a:lnTo>
                    <a:lnTo>
                      <a:pt x="0" y="66"/>
                    </a:lnTo>
                    <a:lnTo>
                      <a:pt x="16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ïṧļïdè">
                <a:extLst>
                  <a:ext uri="{FF2B5EF4-FFF2-40B4-BE49-F238E27FC236}">
                    <a16:creationId xmlns:a16="http://schemas.microsoft.com/office/drawing/2014/main" id="{883F31F9-D400-40D4-8A0A-94E19D7A42AE}"/>
                  </a:ext>
                </a:extLst>
              </p:cNvPr>
              <p:cNvSpPr/>
              <p:nvPr/>
            </p:nvSpPr>
            <p:spPr bwMode="auto">
              <a:xfrm>
                <a:off x="7492538" y="1959907"/>
                <a:ext cx="422127" cy="436197"/>
              </a:xfrm>
              <a:prstGeom prst="ellipse">
                <a:avLst/>
              </a:pr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ïś1îďe">
                <a:extLst>
                  <a:ext uri="{FF2B5EF4-FFF2-40B4-BE49-F238E27FC236}">
                    <a16:creationId xmlns:a16="http://schemas.microsoft.com/office/drawing/2014/main" id="{01D3E182-422B-482C-BA03-B8BB0594BD4B}"/>
                  </a:ext>
                </a:extLst>
              </p:cNvPr>
              <p:cNvSpPr/>
              <p:nvPr/>
            </p:nvSpPr>
            <p:spPr bwMode="auto">
              <a:xfrm>
                <a:off x="7128453" y="3385469"/>
                <a:ext cx="247999" cy="232170"/>
              </a:xfrm>
              <a:custGeom>
                <a:avLst/>
                <a:gdLst/>
                <a:ahLst/>
                <a:cxnLst>
                  <a:cxn ang="0">
                    <a:pos x="17" y="8"/>
                  </a:cxn>
                  <a:cxn ang="0">
                    <a:pos x="12" y="15"/>
                  </a:cxn>
                  <a:cxn ang="0">
                    <a:pos x="9" y="16"/>
                  </a:cxn>
                  <a:cxn ang="0">
                    <a:pos x="2" y="11"/>
                  </a:cxn>
                  <a:cxn ang="0">
                    <a:pos x="0" y="6"/>
                  </a:cxn>
                  <a:cxn ang="0">
                    <a:pos x="15" y="0"/>
                  </a:cxn>
                  <a:cxn ang="0">
                    <a:pos x="17" y="5"/>
                  </a:cxn>
                  <a:cxn ang="0">
                    <a:pos x="17" y="8"/>
                  </a:cxn>
                </a:cxnLst>
                <a:rect l="0" t="0" r="r" b="b"/>
                <a:pathLst>
                  <a:path w="17" h="16">
                    <a:moveTo>
                      <a:pt x="17" y="8"/>
                    </a:moveTo>
                    <a:cubicBezTo>
                      <a:pt x="17" y="11"/>
                      <a:pt x="15" y="14"/>
                      <a:pt x="12" y="15"/>
                    </a:cubicBezTo>
                    <a:cubicBezTo>
                      <a:pt x="11" y="16"/>
                      <a:pt x="10" y="16"/>
                      <a:pt x="9" y="16"/>
                    </a:cubicBezTo>
                    <a:cubicBezTo>
                      <a:pt x="6" y="16"/>
                      <a:pt x="3" y="14"/>
                      <a:pt x="2" y="1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6"/>
                      <a:pt x="17" y="7"/>
                      <a:pt x="17" y="8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ïṩlïḑê">
                <a:extLst>
                  <a:ext uri="{FF2B5EF4-FFF2-40B4-BE49-F238E27FC236}">
                    <a16:creationId xmlns:a16="http://schemas.microsoft.com/office/drawing/2014/main" id="{C0E9AA56-24A7-40FF-A7EA-64A45B21B72C}"/>
                  </a:ext>
                </a:extLst>
              </p:cNvPr>
              <p:cNvSpPr/>
              <p:nvPr/>
            </p:nvSpPr>
            <p:spPr bwMode="auto">
              <a:xfrm>
                <a:off x="8030749" y="3399540"/>
                <a:ext cx="247122" cy="233051"/>
              </a:xfrm>
              <a:custGeom>
                <a:avLst/>
                <a:gdLst/>
                <a:ahLst/>
                <a:cxnLst>
                  <a:cxn ang="0">
                    <a:pos x="17" y="5"/>
                  </a:cxn>
                  <a:cxn ang="0">
                    <a:pos x="16" y="9"/>
                  </a:cxn>
                  <a:cxn ang="0">
                    <a:pos x="6" y="15"/>
                  </a:cxn>
                  <a:cxn ang="0">
                    <a:pos x="0" y="7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17" y="5"/>
                  </a:cxn>
                </a:cxnLst>
                <a:rect l="0" t="0" r="r" b="b"/>
                <a:pathLst>
                  <a:path w="17" h="16">
                    <a:moveTo>
                      <a:pt x="17" y="5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4" y="14"/>
                      <a:pt x="10" y="16"/>
                      <a:pt x="6" y="15"/>
                    </a:cubicBezTo>
                    <a:cubicBezTo>
                      <a:pt x="2" y="13"/>
                      <a:pt x="0" y="10"/>
                      <a:pt x="0" y="7"/>
                    </a:cubicBezTo>
                    <a:cubicBezTo>
                      <a:pt x="0" y="6"/>
                      <a:pt x="0" y="5"/>
                      <a:pt x="0" y="4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17" y="5"/>
                    </a:ln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iṥlîḍé">
                <a:extLst>
                  <a:ext uri="{FF2B5EF4-FFF2-40B4-BE49-F238E27FC236}">
                    <a16:creationId xmlns:a16="http://schemas.microsoft.com/office/drawing/2014/main" id="{251EE81C-506C-4AC7-B70F-E7692B413045}"/>
                  </a:ext>
                </a:extLst>
              </p:cNvPr>
              <p:cNvSpPr/>
              <p:nvPr/>
            </p:nvSpPr>
            <p:spPr bwMode="auto">
              <a:xfrm>
                <a:off x="6968397" y="2454150"/>
                <a:ext cx="1454582" cy="2531008"/>
              </a:xfrm>
              <a:custGeom>
                <a:avLst/>
                <a:gdLst/>
                <a:ahLst/>
                <a:cxnLst>
                  <a:cxn ang="0">
                    <a:pos x="99" y="42"/>
                  </a:cxn>
                  <a:cxn ang="0">
                    <a:pos x="90" y="70"/>
                  </a:cxn>
                  <a:cxn ang="0">
                    <a:pos x="75" y="65"/>
                  </a:cxn>
                  <a:cxn ang="0">
                    <a:pos x="83" y="40"/>
                  </a:cxn>
                  <a:cxn ang="0">
                    <a:pos x="77" y="27"/>
                  </a:cxn>
                  <a:cxn ang="0">
                    <a:pos x="71" y="64"/>
                  </a:cxn>
                  <a:cxn ang="0">
                    <a:pos x="72" y="72"/>
                  </a:cxn>
                  <a:cxn ang="0">
                    <a:pos x="90" y="164"/>
                  </a:cxn>
                  <a:cxn ang="0">
                    <a:pos x="84" y="173"/>
                  </a:cxn>
                  <a:cxn ang="0">
                    <a:pos x="82" y="174"/>
                  </a:cxn>
                  <a:cxn ang="0">
                    <a:pos x="74" y="167"/>
                  </a:cxn>
                  <a:cxn ang="0">
                    <a:pos x="74" y="165"/>
                  </a:cxn>
                  <a:cxn ang="0">
                    <a:pos x="50" y="81"/>
                  </a:cxn>
                  <a:cxn ang="0">
                    <a:pos x="30" y="165"/>
                  </a:cxn>
                  <a:cxn ang="0">
                    <a:pos x="30" y="167"/>
                  </a:cxn>
                  <a:cxn ang="0">
                    <a:pos x="20" y="173"/>
                  </a:cxn>
                  <a:cxn ang="0">
                    <a:pos x="14" y="164"/>
                  </a:cxn>
                  <a:cxn ang="0">
                    <a:pos x="28" y="72"/>
                  </a:cxn>
                  <a:cxn ang="0">
                    <a:pos x="30" y="63"/>
                  </a:cxn>
                  <a:cxn ang="0">
                    <a:pos x="24" y="25"/>
                  </a:cxn>
                  <a:cxn ang="0">
                    <a:pos x="17" y="40"/>
                  </a:cxn>
                  <a:cxn ang="0">
                    <a:pos x="26" y="64"/>
                  </a:cxn>
                  <a:cxn ang="0">
                    <a:pos x="11" y="70"/>
                  </a:cxn>
                  <a:cxn ang="0">
                    <a:pos x="0" y="42"/>
                  </a:cxn>
                  <a:cxn ang="0">
                    <a:pos x="1" y="36"/>
                  </a:cxn>
                  <a:cxn ang="0">
                    <a:pos x="17" y="4"/>
                  </a:cxn>
                  <a:cxn ang="0">
                    <a:pos x="24" y="0"/>
                  </a:cxn>
                  <a:cxn ang="0">
                    <a:pos x="77" y="0"/>
                  </a:cxn>
                  <a:cxn ang="0">
                    <a:pos x="84" y="4"/>
                  </a:cxn>
                  <a:cxn ang="0">
                    <a:pos x="99" y="36"/>
                  </a:cxn>
                  <a:cxn ang="0">
                    <a:pos x="99" y="42"/>
                  </a:cxn>
                </a:cxnLst>
                <a:rect l="0" t="0" r="r" b="b"/>
                <a:pathLst>
                  <a:path w="100" h="174">
                    <a:moveTo>
                      <a:pt x="99" y="42"/>
                    </a:moveTo>
                    <a:cubicBezTo>
                      <a:pt x="90" y="70"/>
                      <a:pt x="90" y="70"/>
                      <a:pt x="90" y="70"/>
                    </a:cubicBezTo>
                    <a:cubicBezTo>
                      <a:pt x="75" y="65"/>
                      <a:pt x="75" y="65"/>
                      <a:pt x="75" y="65"/>
                    </a:cubicBezTo>
                    <a:cubicBezTo>
                      <a:pt x="83" y="40"/>
                      <a:pt x="83" y="40"/>
                      <a:pt x="83" y="40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1" y="64"/>
                      <a:pt x="71" y="64"/>
                      <a:pt x="71" y="64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90" y="164"/>
                      <a:pt x="90" y="164"/>
                      <a:pt x="90" y="164"/>
                    </a:cubicBezTo>
                    <a:cubicBezTo>
                      <a:pt x="91" y="168"/>
                      <a:pt x="88" y="173"/>
                      <a:pt x="84" y="173"/>
                    </a:cubicBezTo>
                    <a:cubicBezTo>
                      <a:pt x="83" y="173"/>
                      <a:pt x="82" y="174"/>
                      <a:pt x="82" y="174"/>
                    </a:cubicBezTo>
                    <a:cubicBezTo>
                      <a:pt x="78" y="174"/>
                      <a:pt x="75" y="171"/>
                      <a:pt x="74" y="167"/>
                    </a:cubicBezTo>
                    <a:cubicBezTo>
                      <a:pt x="74" y="165"/>
                      <a:pt x="74" y="165"/>
                      <a:pt x="74" y="165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30" y="165"/>
                      <a:pt x="30" y="165"/>
                      <a:pt x="30" y="165"/>
                    </a:cubicBezTo>
                    <a:cubicBezTo>
                      <a:pt x="30" y="167"/>
                      <a:pt x="30" y="167"/>
                      <a:pt x="30" y="167"/>
                    </a:cubicBezTo>
                    <a:cubicBezTo>
                      <a:pt x="29" y="171"/>
                      <a:pt x="25" y="174"/>
                      <a:pt x="20" y="173"/>
                    </a:cubicBezTo>
                    <a:cubicBezTo>
                      <a:pt x="16" y="173"/>
                      <a:pt x="13" y="169"/>
                      <a:pt x="14" y="164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30" y="63"/>
                      <a:pt x="30" y="63"/>
                      <a:pt x="30" y="63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11" y="70"/>
                      <a:pt x="11" y="70"/>
                      <a:pt x="11" y="7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0"/>
                      <a:pt x="0" y="38"/>
                      <a:pt x="1" y="36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1"/>
                      <a:pt x="21" y="0"/>
                      <a:pt x="24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80" y="0"/>
                      <a:pt x="83" y="1"/>
                      <a:pt x="84" y="4"/>
                    </a:cubicBezTo>
                    <a:cubicBezTo>
                      <a:pt x="99" y="36"/>
                      <a:pt x="99" y="36"/>
                      <a:pt x="99" y="36"/>
                    </a:cubicBezTo>
                    <a:cubicBezTo>
                      <a:pt x="100" y="38"/>
                      <a:pt x="100" y="40"/>
                      <a:pt x="99" y="42"/>
                    </a:cubicBezTo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iṡļîḑè">
                <a:extLst>
                  <a:ext uri="{FF2B5EF4-FFF2-40B4-BE49-F238E27FC236}">
                    <a16:creationId xmlns:a16="http://schemas.microsoft.com/office/drawing/2014/main" id="{0C74C652-C378-4B28-A5C9-4E074BDD1F14}"/>
                  </a:ext>
                </a:extLst>
              </p:cNvPr>
              <p:cNvSpPr/>
              <p:nvPr/>
            </p:nvSpPr>
            <p:spPr bwMode="auto">
              <a:xfrm>
                <a:off x="7637645" y="2454150"/>
                <a:ext cx="131037" cy="393107"/>
              </a:xfrm>
              <a:custGeom>
                <a:avLst/>
                <a:gdLst/>
                <a:ahLst/>
                <a:cxnLst>
                  <a:cxn ang="0">
                    <a:pos x="149" y="265"/>
                  </a:cxn>
                  <a:cxn ang="0">
                    <a:pos x="149" y="265"/>
                  </a:cxn>
                  <a:cxn ang="0">
                    <a:pos x="83" y="447"/>
                  </a:cxn>
                  <a:cxn ang="0">
                    <a:pos x="0" y="265"/>
                  </a:cxn>
                  <a:cxn ang="0">
                    <a:pos x="33" y="50"/>
                  </a:cxn>
                  <a:cxn ang="0">
                    <a:pos x="17" y="0"/>
                  </a:cxn>
                  <a:cxn ang="0">
                    <a:pos x="149" y="0"/>
                  </a:cxn>
                  <a:cxn ang="0">
                    <a:pos x="116" y="50"/>
                  </a:cxn>
                  <a:cxn ang="0">
                    <a:pos x="149" y="265"/>
                  </a:cxn>
                </a:cxnLst>
                <a:rect l="0" t="0" r="r" b="b"/>
                <a:pathLst>
                  <a:path w="149" h="447">
                    <a:moveTo>
                      <a:pt x="149" y="265"/>
                    </a:moveTo>
                    <a:lnTo>
                      <a:pt x="149" y="265"/>
                    </a:lnTo>
                    <a:lnTo>
                      <a:pt x="83" y="447"/>
                    </a:lnTo>
                    <a:lnTo>
                      <a:pt x="0" y="265"/>
                    </a:lnTo>
                    <a:lnTo>
                      <a:pt x="33" y="50"/>
                    </a:lnTo>
                    <a:lnTo>
                      <a:pt x="17" y="0"/>
                    </a:lnTo>
                    <a:lnTo>
                      <a:pt x="149" y="0"/>
                    </a:lnTo>
                    <a:lnTo>
                      <a:pt x="116" y="50"/>
                    </a:lnTo>
                    <a:lnTo>
                      <a:pt x="149" y="265"/>
                    </a:lnTo>
                    <a:close/>
                  </a:path>
                </a:pathLst>
              </a:custGeom>
              <a:solidFill>
                <a:srgbClr val="40A629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iŝlíḍè">
                <a:extLst>
                  <a:ext uri="{FF2B5EF4-FFF2-40B4-BE49-F238E27FC236}">
                    <a16:creationId xmlns:a16="http://schemas.microsoft.com/office/drawing/2014/main" id="{2B84B92C-0032-4117-A274-82718B9AE9E9}"/>
                  </a:ext>
                </a:extLst>
              </p:cNvPr>
              <p:cNvSpPr/>
              <p:nvPr/>
            </p:nvSpPr>
            <p:spPr bwMode="auto">
              <a:xfrm>
                <a:off x="7550580" y="2454150"/>
                <a:ext cx="116085" cy="233051"/>
              </a:xfrm>
              <a:custGeom>
                <a:avLst/>
                <a:gdLst/>
                <a:ahLst/>
                <a:cxnLst>
                  <a:cxn ang="0">
                    <a:pos x="132" y="50"/>
                  </a:cxn>
                  <a:cxn ang="0">
                    <a:pos x="99" y="265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32" y="50"/>
                  </a:cxn>
                </a:cxnLst>
                <a:rect l="0" t="0" r="r" b="b"/>
                <a:pathLst>
                  <a:path w="132" h="265">
                    <a:moveTo>
                      <a:pt x="132" y="50"/>
                    </a:moveTo>
                    <a:lnTo>
                      <a:pt x="99" y="265"/>
                    </a:lnTo>
                    <a:lnTo>
                      <a:pt x="0" y="0"/>
                    </a:lnTo>
                    <a:lnTo>
                      <a:pt x="116" y="0"/>
                    </a:lnTo>
                    <a:lnTo>
                      <a:pt x="132" y="5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íṡlíḋê">
                <a:extLst>
                  <a:ext uri="{FF2B5EF4-FFF2-40B4-BE49-F238E27FC236}">
                    <a16:creationId xmlns:a16="http://schemas.microsoft.com/office/drawing/2014/main" id="{CED55C1F-B713-4FC2-A69D-C60F5DCC6C12}"/>
                  </a:ext>
                </a:extLst>
              </p:cNvPr>
              <p:cNvSpPr/>
              <p:nvPr/>
            </p:nvSpPr>
            <p:spPr bwMode="auto">
              <a:xfrm>
                <a:off x="7739659" y="2454150"/>
                <a:ext cx="116085" cy="233051"/>
              </a:xfrm>
              <a:custGeom>
                <a:avLst/>
                <a:gdLst/>
                <a:ahLst/>
                <a:cxnLst>
                  <a:cxn ang="0">
                    <a:pos x="132" y="0"/>
                  </a:cxn>
                  <a:cxn ang="0">
                    <a:pos x="33" y="265"/>
                  </a:cxn>
                  <a:cxn ang="0">
                    <a:pos x="0" y="50"/>
                  </a:cxn>
                  <a:cxn ang="0">
                    <a:pos x="33" y="0"/>
                  </a:cxn>
                  <a:cxn ang="0">
                    <a:pos x="132" y="0"/>
                  </a:cxn>
                </a:cxnLst>
                <a:rect l="0" t="0" r="r" b="b"/>
                <a:pathLst>
                  <a:path w="132" h="265">
                    <a:moveTo>
                      <a:pt x="132" y="0"/>
                    </a:moveTo>
                    <a:lnTo>
                      <a:pt x="33" y="265"/>
                    </a:lnTo>
                    <a:lnTo>
                      <a:pt x="0" y="50"/>
                    </a:lnTo>
                    <a:lnTo>
                      <a:pt x="33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ïṥḷiďé">
                <a:extLst>
                  <a:ext uri="{FF2B5EF4-FFF2-40B4-BE49-F238E27FC236}">
                    <a16:creationId xmlns:a16="http://schemas.microsoft.com/office/drawing/2014/main" id="{71CA8E2B-E11A-4A55-A53E-5AB240F6B32C}"/>
                  </a:ext>
                </a:extLst>
              </p:cNvPr>
              <p:cNvSpPr/>
              <p:nvPr/>
            </p:nvSpPr>
            <p:spPr bwMode="auto">
              <a:xfrm>
                <a:off x="7114382" y="1116531"/>
                <a:ext cx="291093" cy="276141"/>
              </a:xfrm>
              <a:custGeom>
                <a:avLst/>
                <a:gdLst/>
                <a:ahLst/>
                <a:cxnLst>
                  <a:cxn ang="0">
                    <a:pos x="18" y="14"/>
                  </a:cxn>
                  <a:cxn ang="0">
                    <a:pos x="15" y="19"/>
                  </a:cxn>
                  <a:cxn ang="0">
                    <a:pos x="0" y="11"/>
                  </a:cxn>
                  <a:cxn ang="0">
                    <a:pos x="3" y="6"/>
                  </a:cxn>
                  <a:cxn ang="0">
                    <a:pos x="14" y="2"/>
                  </a:cxn>
                  <a:cxn ang="0">
                    <a:pos x="18" y="14"/>
                  </a:cxn>
                </a:cxnLst>
                <a:rect l="0" t="0" r="r" b="b"/>
                <a:pathLst>
                  <a:path w="20" h="19">
                    <a:moveTo>
                      <a:pt x="18" y="14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2"/>
                      <a:pt x="10" y="0"/>
                      <a:pt x="14" y="2"/>
                    </a:cubicBezTo>
                    <a:cubicBezTo>
                      <a:pt x="19" y="5"/>
                      <a:pt x="20" y="10"/>
                      <a:pt x="18" y="14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îślîďe">
                <a:extLst>
                  <a:ext uri="{FF2B5EF4-FFF2-40B4-BE49-F238E27FC236}">
                    <a16:creationId xmlns:a16="http://schemas.microsoft.com/office/drawing/2014/main" id="{63BB3047-B10F-4A27-BF81-2B07CD11FC8A}"/>
                  </a:ext>
                </a:extLst>
              </p:cNvPr>
              <p:cNvSpPr/>
              <p:nvPr/>
            </p:nvSpPr>
            <p:spPr bwMode="auto">
              <a:xfrm>
                <a:off x="5281645" y="4475963"/>
                <a:ext cx="1628709" cy="1265502"/>
              </a:xfrm>
              <a:prstGeom prst="rect">
                <a:avLst/>
              </a:prstGeom>
              <a:solidFill>
                <a:srgbClr val="FEA6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ï$ľïďê">
                <a:extLst>
                  <a:ext uri="{FF2B5EF4-FFF2-40B4-BE49-F238E27FC236}">
                    <a16:creationId xmlns:a16="http://schemas.microsoft.com/office/drawing/2014/main" id="{AFED5651-E2C8-4138-A361-506F01D521D4}"/>
                  </a:ext>
                </a:extLst>
              </p:cNvPr>
              <p:cNvSpPr/>
              <p:nvPr/>
            </p:nvSpPr>
            <p:spPr bwMode="auto">
              <a:xfrm>
                <a:off x="5281645" y="4475963"/>
                <a:ext cx="1628709" cy="12655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" name="ïṡḷïḍe">
                <a:extLst>
                  <a:ext uri="{FF2B5EF4-FFF2-40B4-BE49-F238E27FC236}">
                    <a16:creationId xmlns:a16="http://schemas.microsoft.com/office/drawing/2014/main" id="{0FA1784B-9899-4BB3-99E3-7DE6E7FE545D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1629590" cy="800286"/>
              </a:xfrm>
              <a:prstGeom prst="rect">
                <a:avLst/>
              </a:prstGeom>
              <a:solidFill>
                <a:srgbClr val="FEA6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" name="ïṥ1îḑe">
                <a:extLst>
                  <a:ext uri="{FF2B5EF4-FFF2-40B4-BE49-F238E27FC236}">
                    <a16:creationId xmlns:a16="http://schemas.microsoft.com/office/drawing/2014/main" id="{EA29102A-BE36-4F68-AE99-46CBCB6A7EC9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1629590" cy="800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" name="îṧlíḓê">
                <a:extLst>
                  <a:ext uri="{FF2B5EF4-FFF2-40B4-BE49-F238E27FC236}">
                    <a16:creationId xmlns:a16="http://schemas.microsoft.com/office/drawing/2014/main" id="{14D32454-F414-4E32-9E0F-4D7F9F1966F8}"/>
                  </a:ext>
                </a:extLst>
              </p:cNvPr>
              <p:cNvSpPr/>
              <p:nvPr/>
            </p:nvSpPr>
            <p:spPr bwMode="auto">
              <a:xfrm>
                <a:off x="3652055" y="4723085"/>
                <a:ext cx="1629590" cy="1018384"/>
              </a:xfrm>
              <a:prstGeom prst="rect">
                <a:avLst/>
              </a:prstGeom>
              <a:solidFill>
                <a:srgbClr val="FEA6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" name="ïSľidè">
                <a:extLst>
                  <a:ext uri="{FF2B5EF4-FFF2-40B4-BE49-F238E27FC236}">
                    <a16:creationId xmlns:a16="http://schemas.microsoft.com/office/drawing/2014/main" id="{0ABD51C0-9A68-4224-B4E3-1AFAB52A535F}"/>
                  </a:ext>
                </a:extLst>
              </p:cNvPr>
              <p:cNvSpPr/>
              <p:nvPr/>
            </p:nvSpPr>
            <p:spPr bwMode="auto">
              <a:xfrm>
                <a:off x="3652055" y="4723085"/>
                <a:ext cx="1629590" cy="10183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" name="iṥḷïḍe">
                <a:extLst>
                  <a:ext uri="{FF2B5EF4-FFF2-40B4-BE49-F238E27FC236}">
                    <a16:creationId xmlns:a16="http://schemas.microsoft.com/office/drawing/2014/main" id="{28658EFA-257A-49B3-985D-1B9B3E9048EE}"/>
                  </a:ext>
                </a:extLst>
              </p:cNvPr>
              <p:cNvSpPr/>
              <p:nvPr/>
            </p:nvSpPr>
            <p:spPr bwMode="auto">
              <a:xfrm>
                <a:off x="5979913" y="4825099"/>
                <a:ext cx="160056" cy="582183"/>
              </a:xfrm>
              <a:custGeom>
                <a:avLst/>
                <a:gdLst/>
                <a:ahLst/>
                <a:cxnLst>
                  <a:cxn ang="0">
                    <a:pos x="5" y="40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0" y="5"/>
                  </a:cxn>
                  <a:cxn ang="0">
                    <a:pos x="4" y="3"/>
                  </a:cxn>
                  <a:cxn ang="0">
                    <a:pos x="7" y="0"/>
                  </a:cxn>
                  <a:cxn ang="0">
                    <a:pos x="11" y="0"/>
                  </a:cxn>
                  <a:cxn ang="0">
                    <a:pos x="11" y="40"/>
                  </a:cxn>
                  <a:cxn ang="0">
                    <a:pos x="5" y="40"/>
                  </a:cxn>
                </a:cxnLst>
                <a:rect l="0" t="0" r="r" b="b"/>
                <a:pathLst>
                  <a:path w="11" h="40">
                    <a:moveTo>
                      <a:pt x="5" y="4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5"/>
                      <a:pt x="3" y="4"/>
                      <a:pt x="4" y="3"/>
                    </a:cubicBezTo>
                    <a:cubicBezTo>
                      <a:pt x="6" y="2"/>
                      <a:pt x="7" y="1"/>
                      <a:pt x="7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40"/>
                      <a:pt x="11" y="40"/>
                      <a:pt x="11" y="40"/>
                    </a:cubicBezTo>
                    <a:lnTo>
                      <a:pt x="5" y="40"/>
                    </a:lnTo>
                    <a:close/>
                  </a:path>
                </a:pathLst>
              </a:custGeom>
              <a:solidFill>
                <a:srgbClr val="FFE61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" name="iṩľíḑê">
                <a:extLst>
                  <a:ext uri="{FF2B5EF4-FFF2-40B4-BE49-F238E27FC236}">
                    <a16:creationId xmlns:a16="http://schemas.microsoft.com/office/drawing/2014/main" id="{B51607B6-7813-44A4-B31C-FB18815A7676}"/>
                  </a:ext>
                </a:extLst>
              </p:cNvPr>
              <p:cNvSpPr/>
              <p:nvPr/>
            </p:nvSpPr>
            <p:spPr bwMode="auto">
              <a:xfrm>
                <a:off x="4321304" y="4941183"/>
                <a:ext cx="291093" cy="582183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2"/>
                  </a:cxn>
                  <a:cxn ang="0">
                    <a:pos x="10" y="0"/>
                  </a:cxn>
                  <a:cxn ang="0">
                    <a:pos x="17" y="3"/>
                  </a:cxn>
                  <a:cxn ang="0">
                    <a:pos x="20" y="10"/>
                  </a:cxn>
                  <a:cxn ang="0">
                    <a:pos x="18" y="18"/>
                  </a:cxn>
                  <a:cxn ang="0">
                    <a:pos x="14" y="25"/>
                  </a:cxn>
                  <a:cxn ang="0">
                    <a:pos x="11" y="30"/>
                  </a:cxn>
                  <a:cxn ang="0">
                    <a:pos x="10" y="31"/>
                  </a:cxn>
                  <a:cxn ang="0">
                    <a:pos x="8" y="34"/>
                  </a:cxn>
                  <a:cxn ang="0">
                    <a:pos x="8" y="34"/>
                  </a:cxn>
                  <a:cxn ang="0">
                    <a:pos x="20" y="34"/>
                  </a:cxn>
                  <a:cxn ang="0">
                    <a:pos x="20" y="40"/>
                  </a:cxn>
                  <a:cxn ang="0">
                    <a:pos x="0" y="40"/>
                  </a:cxn>
                  <a:cxn ang="0">
                    <a:pos x="0" y="35"/>
                  </a:cxn>
                  <a:cxn ang="0">
                    <a:pos x="2" y="33"/>
                  </a:cxn>
                  <a:cxn ang="0">
                    <a:pos x="3" y="30"/>
                  </a:cxn>
                  <a:cxn ang="0">
                    <a:pos x="5" y="28"/>
                  </a:cxn>
                  <a:cxn ang="0">
                    <a:pos x="9" y="22"/>
                  </a:cxn>
                  <a:cxn ang="0">
                    <a:pos x="13" y="15"/>
                  </a:cxn>
                  <a:cxn ang="0">
                    <a:pos x="14" y="10"/>
                  </a:cxn>
                  <a:cxn ang="0">
                    <a:pos x="13" y="7"/>
                  </a:cxn>
                  <a:cxn ang="0">
                    <a:pos x="10" y="5"/>
                  </a:cxn>
                  <a:cxn ang="0">
                    <a:pos x="7" y="8"/>
                  </a:cxn>
                  <a:cxn ang="0">
                    <a:pos x="6" y="11"/>
                  </a:cxn>
                  <a:cxn ang="0">
                    <a:pos x="6" y="12"/>
                  </a:cxn>
                  <a:cxn ang="0">
                    <a:pos x="0" y="12"/>
                  </a:cxn>
                  <a:cxn ang="0">
                    <a:pos x="0" y="11"/>
                  </a:cxn>
                </a:cxnLst>
                <a:rect l="0" t="0" r="r" b="b"/>
                <a:pathLst>
                  <a:path w="20" h="40">
                    <a:moveTo>
                      <a:pt x="0" y="11"/>
                    </a:moveTo>
                    <a:cubicBezTo>
                      <a:pt x="0" y="7"/>
                      <a:pt x="1" y="4"/>
                      <a:pt x="3" y="2"/>
                    </a:cubicBezTo>
                    <a:cubicBezTo>
                      <a:pt x="5" y="1"/>
                      <a:pt x="8" y="0"/>
                      <a:pt x="10" y="0"/>
                    </a:cubicBezTo>
                    <a:cubicBezTo>
                      <a:pt x="13" y="0"/>
                      <a:pt x="15" y="1"/>
                      <a:pt x="17" y="3"/>
                    </a:cubicBezTo>
                    <a:cubicBezTo>
                      <a:pt x="19" y="5"/>
                      <a:pt x="20" y="7"/>
                      <a:pt x="20" y="10"/>
                    </a:cubicBezTo>
                    <a:cubicBezTo>
                      <a:pt x="20" y="13"/>
                      <a:pt x="20" y="15"/>
                      <a:pt x="18" y="18"/>
                    </a:cubicBezTo>
                    <a:cubicBezTo>
                      <a:pt x="18" y="19"/>
                      <a:pt x="16" y="22"/>
                      <a:pt x="14" y="25"/>
                    </a:cubicBezTo>
                    <a:cubicBezTo>
                      <a:pt x="13" y="26"/>
                      <a:pt x="12" y="28"/>
                      <a:pt x="11" y="30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9" y="32"/>
                      <a:pt x="8" y="33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1" y="34"/>
                      <a:pt x="2" y="33"/>
                    </a:cubicBezTo>
                    <a:cubicBezTo>
                      <a:pt x="2" y="32"/>
                      <a:pt x="2" y="31"/>
                      <a:pt x="3" y="30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7"/>
                      <a:pt x="7" y="25"/>
                      <a:pt x="9" y="22"/>
                    </a:cubicBezTo>
                    <a:cubicBezTo>
                      <a:pt x="11" y="19"/>
                      <a:pt x="12" y="17"/>
                      <a:pt x="13" y="15"/>
                    </a:cubicBezTo>
                    <a:cubicBezTo>
                      <a:pt x="14" y="13"/>
                      <a:pt x="14" y="11"/>
                      <a:pt x="14" y="10"/>
                    </a:cubicBezTo>
                    <a:cubicBezTo>
                      <a:pt x="14" y="9"/>
                      <a:pt x="14" y="8"/>
                      <a:pt x="13" y="7"/>
                    </a:cubicBezTo>
                    <a:cubicBezTo>
                      <a:pt x="12" y="6"/>
                      <a:pt x="12" y="5"/>
                      <a:pt x="10" y="5"/>
                    </a:cubicBezTo>
                    <a:cubicBezTo>
                      <a:pt x="9" y="5"/>
                      <a:pt x="7" y="6"/>
                      <a:pt x="7" y="8"/>
                    </a:cubicBezTo>
                    <a:cubicBezTo>
                      <a:pt x="6" y="9"/>
                      <a:pt x="6" y="10"/>
                      <a:pt x="6" y="11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E61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" name="islîdè">
                <a:extLst>
                  <a:ext uri="{FF2B5EF4-FFF2-40B4-BE49-F238E27FC236}">
                    <a16:creationId xmlns:a16="http://schemas.microsoft.com/office/drawing/2014/main" id="{40EDB50B-6C9C-4EAA-A4AF-CA67FC58ADBD}"/>
                  </a:ext>
                </a:extLst>
              </p:cNvPr>
              <p:cNvSpPr/>
              <p:nvPr/>
            </p:nvSpPr>
            <p:spPr bwMode="auto">
              <a:xfrm>
                <a:off x="7550580" y="5043197"/>
                <a:ext cx="276141" cy="596254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13" y="31"/>
                  </a:cxn>
                  <a:cxn ang="0">
                    <a:pos x="13" y="29"/>
                  </a:cxn>
                  <a:cxn ang="0">
                    <a:pos x="7" y="23"/>
                  </a:cxn>
                  <a:cxn ang="0">
                    <a:pos x="7" y="17"/>
                  </a:cxn>
                  <a:cxn ang="0">
                    <a:pos x="12" y="16"/>
                  </a:cxn>
                  <a:cxn ang="0">
                    <a:pos x="14" y="11"/>
                  </a:cxn>
                  <a:cxn ang="0">
                    <a:pos x="14" y="10"/>
                  </a:cxn>
                  <a:cxn ang="0">
                    <a:pos x="10" y="6"/>
                  </a:cxn>
                  <a:cxn ang="0">
                    <a:pos x="7" y="7"/>
                  </a:cxn>
                  <a:cxn ang="0">
                    <a:pos x="7" y="10"/>
                  </a:cxn>
                  <a:cxn ang="0">
                    <a:pos x="7" y="11"/>
                  </a:cxn>
                  <a:cxn ang="0">
                    <a:pos x="1" y="11"/>
                  </a:cxn>
                  <a:cxn ang="0">
                    <a:pos x="1" y="10"/>
                  </a:cxn>
                  <a:cxn ang="0">
                    <a:pos x="3" y="3"/>
                  </a:cxn>
                  <a:cxn ang="0">
                    <a:pos x="10" y="0"/>
                  </a:cxn>
                  <a:cxn ang="0">
                    <a:pos x="17" y="3"/>
                  </a:cxn>
                  <a:cxn ang="0">
                    <a:pos x="19" y="10"/>
                  </a:cxn>
                  <a:cxn ang="0">
                    <a:pos x="19" y="11"/>
                  </a:cxn>
                  <a:cxn ang="0">
                    <a:pos x="17" y="18"/>
                  </a:cxn>
                  <a:cxn ang="0">
                    <a:pos x="14" y="20"/>
                  </a:cxn>
                  <a:cxn ang="0">
                    <a:pos x="19" y="24"/>
                  </a:cxn>
                  <a:cxn ang="0">
                    <a:pos x="19" y="28"/>
                  </a:cxn>
                  <a:cxn ang="0">
                    <a:pos x="19" y="31"/>
                  </a:cxn>
                  <a:cxn ang="0">
                    <a:pos x="16" y="38"/>
                  </a:cxn>
                  <a:cxn ang="0">
                    <a:pos x="9" y="41"/>
                  </a:cxn>
                  <a:cxn ang="0">
                    <a:pos x="3" y="38"/>
                  </a:cxn>
                  <a:cxn ang="0">
                    <a:pos x="0" y="32"/>
                  </a:cxn>
                  <a:cxn ang="0">
                    <a:pos x="0" y="31"/>
                  </a:cxn>
                  <a:cxn ang="0">
                    <a:pos x="6" y="30"/>
                  </a:cxn>
                  <a:cxn ang="0">
                    <a:pos x="6" y="32"/>
                  </a:cxn>
                  <a:cxn ang="0">
                    <a:pos x="7" y="34"/>
                  </a:cxn>
                  <a:cxn ang="0">
                    <a:pos x="9" y="35"/>
                  </a:cxn>
                </a:cxnLst>
                <a:rect l="0" t="0" r="r" b="b"/>
                <a:pathLst>
                  <a:path w="19" h="41">
                    <a:moveTo>
                      <a:pt x="9" y="35"/>
                    </a:moveTo>
                    <a:cubicBezTo>
                      <a:pt x="12" y="35"/>
                      <a:pt x="13" y="34"/>
                      <a:pt x="13" y="31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3" y="25"/>
                      <a:pt x="11" y="23"/>
                      <a:pt x="7" y="23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9" y="17"/>
                      <a:pt x="11" y="17"/>
                      <a:pt x="12" y="16"/>
                    </a:cubicBezTo>
                    <a:cubicBezTo>
                      <a:pt x="13" y="14"/>
                      <a:pt x="14" y="13"/>
                      <a:pt x="14" y="11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7"/>
                      <a:pt x="12" y="6"/>
                      <a:pt x="10" y="6"/>
                    </a:cubicBezTo>
                    <a:cubicBezTo>
                      <a:pt x="9" y="6"/>
                      <a:pt x="8" y="6"/>
                      <a:pt x="7" y="7"/>
                    </a:cubicBezTo>
                    <a:cubicBezTo>
                      <a:pt x="7" y="8"/>
                      <a:pt x="7" y="9"/>
                      <a:pt x="7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7"/>
                      <a:pt x="1" y="5"/>
                      <a:pt x="3" y="3"/>
                    </a:cubicBezTo>
                    <a:cubicBezTo>
                      <a:pt x="5" y="1"/>
                      <a:pt x="7" y="0"/>
                      <a:pt x="10" y="0"/>
                    </a:cubicBezTo>
                    <a:cubicBezTo>
                      <a:pt x="13" y="0"/>
                      <a:pt x="15" y="1"/>
                      <a:pt x="17" y="3"/>
                    </a:cubicBezTo>
                    <a:cubicBezTo>
                      <a:pt x="18" y="5"/>
                      <a:pt x="19" y="7"/>
                      <a:pt x="19" y="10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4"/>
                      <a:pt x="18" y="16"/>
                      <a:pt x="17" y="18"/>
                    </a:cubicBezTo>
                    <a:cubicBezTo>
                      <a:pt x="16" y="18"/>
                      <a:pt x="15" y="19"/>
                      <a:pt x="14" y="20"/>
                    </a:cubicBezTo>
                    <a:cubicBezTo>
                      <a:pt x="16" y="21"/>
                      <a:pt x="18" y="22"/>
                      <a:pt x="19" y="24"/>
                    </a:cubicBezTo>
                    <a:cubicBezTo>
                      <a:pt x="19" y="25"/>
                      <a:pt x="19" y="26"/>
                      <a:pt x="19" y="28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9" y="34"/>
                      <a:pt x="18" y="37"/>
                      <a:pt x="16" y="38"/>
                    </a:cubicBezTo>
                    <a:cubicBezTo>
                      <a:pt x="14" y="40"/>
                      <a:pt x="12" y="41"/>
                      <a:pt x="9" y="41"/>
                    </a:cubicBezTo>
                    <a:cubicBezTo>
                      <a:pt x="7" y="41"/>
                      <a:pt x="4" y="40"/>
                      <a:pt x="3" y="38"/>
                    </a:cubicBezTo>
                    <a:cubicBezTo>
                      <a:pt x="1" y="36"/>
                      <a:pt x="0" y="34"/>
                      <a:pt x="0" y="3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3"/>
                      <a:pt x="6" y="33"/>
                      <a:pt x="7" y="34"/>
                    </a:cubicBezTo>
                    <a:cubicBezTo>
                      <a:pt x="7" y="35"/>
                      <a:pt x="8" y="35"/>
                      <a:pt x="9" y="35"/>
                    </a:cubicBezTo>
                    <a:close/>
                  </a:path>
                </a:pathLst>
              </a:custGeom>
              <a:solidFill>
                <a:srgbClr val="FFE61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" name="îṧḷiďe">
                <a:extLst>
                  <a:ext uri="{FF2B5EF4-FFF2-40B4-BE49-F238E27FC236}">
                    <a16:creationId xmlns:a16="http://schemas.microsoft.com/office/drawing/2014/main" id="{7C2E046F-2889-40B1-9CEE-68A52F19145F}"/>
                  </a:ext>
                </a:extLst>
              </p:cNvPr>
              <p:cNvSpPr/>
              <p:nvPr/>
            </p:nvSpPr>
            <p:spPr bwMode="auto">
              <a:xfrm>
                <a:off x="5077614" y="4723085"/>
                <a:ext cx="204028" cy="1018384"/>
              </a:xfrm>
              <a:custGeom>
                <a:avLst/>
                <a:gdLst/>
                <a:ahLst/>
                <a:cxnLst>
                  <a:cxn ang="0">
                    <a:pos x="232" y="0"/>
                  </a:cxn>
                  <a:cxn ang="0">
                    <a:pos x="232" y="0"/>
                  </a:cxn>
                  <a:cxn ang="0">
                    <a:pos x="0" y="0"/>
                  </a:cxn>
                  <a:cxn ang="0">
                    <a:pos x="0" y="1158"/>
                  </a:cxn>
                  <a:cxn ang="0">
                    <a:pos x="232" y="1158"/>
                  </a:cxn>
                  <a:cxn ang="0">
                    <a:pos x="232" y="0"/>
                  </a:cxn>
                </a:cxnLst>
                <a:rect l="0" t="0" r="r" b="b"/>
                <a:pathLst>
                  <a:path w="232" h="1158">
                    <a:moveTo>
                      <a:pt x="232" y="0"/>
                    </a:moveTo>
                    <a:lnTo>
                      <a:pt x="232" y="0"/>
                    </a:lnTo>
                    <a:lnTo>
                      <a:pt x="0" y="0"/>
                    </a:lnTo>
                    <a:lnTo>
                      <a:pt x="0" y="1158"/>
                    </a:lnTo>
                    <a:lnTo>
                      <a:pt x="232" y="1158"/>
                    </a:lnTo>
                    <a:lnTo>
                      <a:pt x="232" y="0"/>
                    </a:lnTo>
                    <a:close/>
                  </a:path>
                </a:pathLst>
              </a:custGeom>
              <a:solidFill>
                <a:srgbClr val="CB851A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" name="iṣļíďê">
                <a:extLst>
                  <a:ext uri="{FF2B5EF4-FFF2-40B4-BE49-F238E27FC236}">
                    <a16:creationId xmlns:a16="http://schemas.microsoft.com/office/drawing/2014/main" id="{A9594595-C52C-4E26-A949-28D2645F722B}"/>
                  </a:ext>
                </a:extLst>
              </p:cNvPr>
              <p:cNvSpPr/>
              <p:nvPr/>
            </p:nvSpPr>
            <p:spPr bwMode="auto">
              <a:xfrm>
                <a:off x="5077614" y="4723085"/>
                <a:ext cx="204028" cy="1018384"/>
              </a:xfrm>
              <a:custGeom>
                <a:avLst/>
                <a:gdLst/>
                <a:ahLst/>
                <a:cxnLst>
                  <a:cxn ang="0">
                    <a:pos x="232" y="0"/>
                  </a:cxn>
                  <a:cxn ang="0">
                    <a:pos x="232" y="0"/>
                  </a:cxn>
                  <a:cxn ang="0">
                    <a:pos x="0" y="0"/>
                  </a:cxn>
                  <a:cxn ang="0">
                    <a:pos x="0" y="1158"/>
                  </a:cxn>
                  <a:cxn ang="0">
                    <a:pos x="232" y="1158"/>
                  </a:cxn>
                  <a:cxn ang="0">
                    <a:pos x="232" y="0"/>
                  </a:cxn>
                </a:cxnLst>
                <a:rect l="0" t="0" r="r" b="b"/>
                <a:pathLst>
                  <a:path w="232" h="1158">
                    <a:moveTo>
                      <a:pt x="232" y="0"/>
                    </a:moveTo>
                    <a:lnTo>
                      <a:pt x="232" y="0"/>
                    </a:lnTo>
                    <a:lnTo>
                      <a:pt x="0" y="0"/>
                    </a:lnTo>
                    <a:lnTo>
                      <a:pt x="0" y="1158"/>
                    </a:lnTo>
                    <a:lnTo>
                      <a:pt x="232" y="1158"/>
                    </a:lnTo>
                    <a:lnTo>
                      <a:pt x="23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" name="íṧlíḓê">
                <a:extLst>
                  <a:ext uri="{FF2B5EF4-FFF2-40B4-BE49-F238E27FC236}">
                    <a16:creationId xmlns:a16="http://schemas.microsoft.com/office/drawing/2014/main" id="{1478C2F6-D796-4ADE-8902-36AAFA35D3AA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320113" cy="800286"/>
              </a:xfrm>
              <a:prstGeom prst="rect">
                <a:avLst/>
              </a:prstGeom>
              <a:solidFill>
                <a:srgbClr val="E0931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" name="íş1ïḑe">
                <a:extLst>
                  <a:ext uri="{FF2B5EF4-FFF2-40B4-BE49-F238E27FC236}">
                    <a16:creationId xmlns:a16="http://schemas.microsoft.com/office/drawing/2014/main" id="{7A11A552-DE21-4DCE-B3A7-9679A68144CF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320113" cy="800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grpSp>
        <p:nvGrpSpPr>
          <p:cNvPr id="126" name="0ce396b1-13d0-41fe-bb34-ddfd460a4f6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C283C0B-2902-4A18-8C80-45ACEA8E2B7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3034798" y="4245451"/>
            <a:ext cx="5080474" cy="2736373"/>
            <a:chOff x="2426337" y="1452498"/>
            <a:chExt cx="7339327" cy="3953005"/>
          </a:xfrm>
        </p:grpSpPr>
        <p:sp>
          <p:nvSpPr>
            <p:cNvPr id="127" name="iṡḷíďe">
              <a:extLst>
                <a:ext uri="{FF2B5EF4-FFF2-40B4-BE49-F238E27FC236}">
                  <a16:creationId xmlns:a16="http://schemas.microsoft.com/office/drawing/2014/main" id="{C40AC33C-A8AD-4043-800A-9AD770C6B366}"/>
                </a:ext>
              </a:extLst>
            </p:cNvPr>
            <p:cNvSpPr/>
            <p:nvPr/>
          </p:nvSpPr>
          <p:spPr bwMode="auto">
            <a:xfrm>
              <a:off x="2426337" y="1452498"/>
              <a:ext cx="7339327" cy="3953005"/>
            </a:xfrm>
            <a:custGeom>
              <a:avLst/>
              <a:gdLst>
                <a:gd name="T0" fmla="*/ 4576 w 4577"/>
                <a:gd name="T1" fmla="*/ 1585 h 2468"/>
                <a:gd name="T2" fmla="*/ 4549 w 4577"/>
                <a:gd name="T3" fmla="*/ 1783 h 2468"/>
                <a:gd name="T4" fmla="*/ 4472 w 4577"/>
                <a:gd name="T5" fmla="*/ 1960 h 2468"/>
                <a:gd name="T6" fmla="*/ 4140 w 4577"/>
                <a:gd name="T7" fmla="*/ 2416 h 2468"/>
                <a:gd name="T8" fmla="*/ 3881 w 4577"/>
                <a:gd name="T9" fmla="*/ 2467 h 2468"/>
                <a:gd name="T10" fmla="*/ 869 w 4577"/>
                <a:gd name="T11" fmla="*/ 2467 h 2468"/>
                <a:gd name="T12" fmla="*/ 436 w 4577"/>
                <a:gd name="T13" fmla="*/ 2350 h 2468"/>
                <a:gd name="T14" fmla="*/ 337 w 4577"/>
                <a:gd name="T15" fmla="*/ 2278 h 2468"/>
                <a:gd name="T16" fmla="*/ 117 w 4577"/>
                <a:gd name="T17" fmla="*/ 1821 h 2468"/>
                <a:gd name="T18" fmla="*/ 0 w 4577"/>
                <a:gd name="T19" fmla="*/ 1427 h 2468"/>
                <a:gd name="T20" fmla="*/ 422 w 4577"/>
                <a:gd name="T21" fmla="*/ 769 h 2468"/>
                <a:gd name="T22" fmla="*/ 524 w 4577"/>
                <a:gd name="T23" fmla="*/ 733 h 2468"/>
                <a:gd name="T24" fmla="*/ 562 w 4577"/>
                <a:gd name="T25" fmla="*/ 724 h 2468"/>
                <a:gd name="T26" fmla="*/ 664 w 4577"/>
                <a:gd name="T27" fmla="*/ 710 h 2468"/>
                <a:gd name="T28" fmla="*/ 701 w 4577"/>
                <a:gd name="T29" fmla="*/ 709 h 2468"/>
                <a:gd name="T30" fmla="*/ 708 w 4577"/>
                <a:gd name="T31" fmla="*/ 709 h 2468"/>
                <a:gd name="T32" fmla="*/ 749 w 4577"/>
                <a:gd name="T33" fmla="*/ 710 h 2468"/>
                <a:gd name="T34" fmla="*/ 754 w 4577"/>
                <a:gd name="T35" fmla="*/ 702 h 2468"/>
                <a:gd name="T36" fmla="*/ 771 w 4577"/>
                <a:gd name="T37" fmla="*/ 675 h 2468"/>
                <a:gd name="T38" fmla="*/ 804 w 4577"/>
                <a:gd name="T39" fmla="*/ 627 h 2468"/>
                <a:gd name="T40" fmla="*/ 841 w 4577"/>
                <a:gd name="T41" fmla="*/ 577 h 2468"/>
                <a:gd name="T42" fmla="*/ 844 w 4577"/>
                <a:gd name="T43" fmla="*/ 573 h 2468"/>
                <a:gd name="T44" fmla="*/ 867 w 4577"/>
                <a:gd name="T45" fmla="*/ 546 h 2468"/>
                <a:gd name="T46" fmla="*/ 943 w 4577"/>
                <a:gd name="T47" fmla="*/ 465 h 2468"/>
                <a:gd name="T48" fmla="*/ 2191 w 4577"/>
                <a:gd name="T49" fmla="*/ 0 h 2468"/>
                <a:gd name="T50" fmla="*/ 3224 w 4577"/>
                <a:gd name="T51" fmla="*/ 292 h 2468"/>
                <a:gd name="T52" fmla="*/ 3568 w 4577"/>
                <a:gd name="T53" fmla="*/ 202 h 2468"/>
                <a:gd name="T54" fmla="*/ 4276 w 4577"/>
                <a:gd name="T55" fmla="*/ 920 h 2468"/>
                <a:gd name="T56" fmla="*/ 4272 w 4577"/>
                <a:gd name="T57" fmla="*/ 995 h 2468"/>
                <a:gd name="T58" fmla="*/ 4576 w 4577"/>
                <a:gd name="T59" fmla="*/ 1585 h 2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77" h="2468">
                  <a:moveTo>
                    <a:pt x="4576" y="1585"/>
                  </a:moveTo>
                  <a:cubicBezTo>
                    <a:pt x="4576" y="1652"/>
                    <a:pt x="4567" y="1718"/>
                    <a:pt x="4549" y="1783"/>
                  </a:cubicBezTo>
                  <a:cubicBezTo>
                    <a:pt x="4531" y="1845"/>
                    <a:pt x="4505" y="1905"/>
                    <a:pt x="4472" y="1960"/>
                  </a:cubicBezTo>
                  <a:cubicBezTo>
                    <a:pt x="4472" y="2160"/>
                    <a:pt x="4336" y="2334"/>
                    <a:pt x="4140" y="2416"/>
                  </a:cubicBezTo>
                  <a:cubicBezTo>
                    <a:pt x="4058" y="2450"/>
                    <a:pt x="3970" y="2468"/>
                    <a:pt x="3881" y="2467"/>
                  </a:cubicBezTo>
                  <a:cubicBezTo>
                    <a:pt x="869" y="2467"/>
                    <a:pt x="869" y="2467"/>
                    <a:pt x="869" y="2467"/>
                  </a:cubicBezTo>
                  <a:cubicBezTo>
                    <a:pt x="708" y="2467"/>
                    <a:pt x="559" y="2424"/>
                    <a:pt x="436" y="2350"/>
                  </a:cubicBezTo>
                  <a:cubicBezTo>
                    <a:pt x="401" y="2329"/>
                    <a:pt x="368" y="2305"/>
                    <a:pt x="337" y="2278"/>
                  </a:cubicBezTo>
                  <a:cubicBezTo>
                    <a:pt x="201" y="2161"/>
                    <a:pt x="117" y="2000"/>
                    <a:pt x="117" y="1821"/>
                  </a:cubicBezTo>
                  <a:cubicBezTo>
                    <a:pt x="40" y="1704"/>
                    <a:pt x="0" y="1567"/>
                    <a:pt x="0" y="1427"/>
                  </a:cubicBezTo>
                  <a:cubicBezTo>
                    <a:pt x="0" y="1133"/>
                    <a:pt x="174" y="881"/>
                    <a:pt x="422" y="769"/>
                  </a:cubicBezTo>
                  <a:cubicBezTo>
                    <a:pt x="455" y="755"/>
                    <a:pt x="490" y="742"/>
                    <a:pt x="524" y="733"/>
                  </a:cubicBezTo>
                  <a:cubicBezTo>
                    <a:pt x="537" y="730"/>
                    <a:pt x="549" y="727"/>
                    <a:pt x="562" y="724"/>
                  </a:cubicBezTo>
                  <a:cubicBezTo>
                    <a:pt x="596" y="717"/>
                    <a:pt x="630" y="712"/>
                    <a:pt x="664" y="710"/>
                  </a:cubicBezTo>
                  <a:cubicBezTo>
                    <a:pt x="676" y="709"/>
                    <a:pt x="689" y="709"/>
                    <a:pt x="701" y="709"/>
                  </a:cubicBezTo>
                  <a:cubicBezTo>
                    <a:pt x="708" y="709"/>
                    <a:pt x="708" y="709"/>
                    <a:pt x="708" y="709"/>
                  </a:cubicBezTo>
                  <a:cubicBezTo>
                    <a:pt x="722" y="709"/>
                    <a:pt x="736" y="709"/>
                    <a:pt x="749" y="710"/>
                  </a:cubicBezTo>
                  <a:cubicBezTo>
                    <a:pt x="754" y="702"/>
                    <a:pt x="754" y="702"/>
                    <a:pt x="754" y="702"/>
                  </a:cubicBezTo>
                  <a:cubicBezTo>
                    <a:pt x="759" y="693"/>
                    <a:pt x="765" y="684"/>
                    <a:pt x="771" y="675"/>
                  </a:cubicBezTo>
                  <a:cubicBezTo>
                    <a:pt x="781" y="659"/>
                    <a:pt x="792" y="643"/>
                    <a:pt x="804" y="627"/>
                  </a:cubicBezTo>
                  <a:cubicBezTo>
                    <a:pt x="815" y="610"/>
                    <a:pt x="828" y="593"/>
                    <a:pt x="841" y="577"/>
                  </a:cubicBezTo>
                  <a:cubicBezTo>
                    <a:pt x="844" y="573"/>
                    <a:pt x="844" y="573"/>
                    <a:pt x="844" y="573"/>
                  </a:cubicBezTo>
                  <a:cubicBezTo>
                    <a:pt x="852" y="564"/>
                    <a:pt x="859" y="555"/>
                    <a:pt x="867" y="546"/>
                  </a:cubicBezTo>
                  <a:cubicBezTo>
                    <a:pt x="891" y="518"/>
                    <a:pt x="916" y="491"/>
                    <a:pt x="943" y="465"/>
                  </a:cubicBezTo>
                  <a:cubicBezTo>
                    <a:pt x="1231" y="182"/>
                    <a:pt x="1683" y="0"/>
                    <a:pt x="2191" y="0"/>
                  </a:cubicBezTo>
                  <a:cubicBezTo>
                    <a:pt x="2586" y="0"/>
                    <a:pt x="2948" y="110"/>
                    <a:pt x="3224" y="292"/>
                  </a:cubicBezTo>
                  <a:cubicBezTo>
                    <a:pt x="3329" y="233"/>
                    <a:pt x="3448" y="202"/>
                    <a:pt x="3568" y="202"/>
                  </a:cubicBezTo>
                  <a:cubicBezTo>
                    <a:pt x="3959" y="202"/>
                    <a:pt x="4276" y="523"/>
                    <a:pt x="4276" y="920"/>
                  </a:cubicBezTo>
                  <a:cubicBezTo>
                    <a:pt x="4276" y="945"/>
                    <a:pt x="4275" y="970"/>
                    <a:pt x="4272" y="995"/>
                  </a:cubicBezTo>
                  <a:cubicBezTo>
                    <a:pt x="4463" y="1130"/>
                    <a:pt x="4577" y="1350"/>
                    <a:pt x="4576" y="1585"/>
                  </a:cubicBezTo>
                  <a:close/>
                </a:path>
              </a:pathLst>
            </a:custGeom>
            <a:solidFill>
              <a:srgbClr val="4285F4">
                <a:alpha val="8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ïŝľïdê">
              <a:extLst>
                <a:ext uri="{FF2B5EF4-FFF2-40B4-BE49-F238E27FC236}">
                  <a16:creationId xmlns:a16="http://schemas.microsoft.com/office/drawing/2014/main" id="{6EB0C68E-EE6F-40C2-9163-36D5DEA5ADAD}"/>
                </a:ext>
              </a:extLst>
            </p:cNvPr>
            <p:cNvSpPr/>
            <p:nvPr/>
          </p:nvSpPr>
          <p:spPr bwMode="auto">
            <a:xfrm>
              <a:off x="3804115" y="2242311"/>
              <a:ext cx="119443" cy="129279"/>
            </a:xfrm>
            <a:custGeom>
              <a:avLst/>
              <a:gdLst>
                <a:gd name="T0" fmla="*/ 76 w 76"/>
                <a:gd name="T1" fmla="*/ 0 h 82"/>
                <a:gd name="T2" fmla="*/ 0 w 76"/>
                <a:gd name="T3" fmla="*/ 82 h 82"/>
                <a:gd name="T4" fmla="*/ 76 w 76"/>
                <a:gd name="T5" fmla="*/ 82 h 82"/>
                <a:gd name="T6" fmla="*/ 76 w 76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82">
                  <a:moveTo>
                    <a:pt x="76" y="0"/>
                  </a:moveTo>
                  <a:cubicBezTo>
                    <a:pt x="49" y="27"/>
                    <a:pt x="23" y="54"/>
                    <a:pt x="0" y="82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ṧḷîde">
              <a:extLst>
                <a:ext uri="{FF2B5EF4-FFF2-40B4-BE49-F238E27FC236}">
                  <a16:creationId xmlns:a16="http://schemas.microsoft.com/office/drawing/2014/main" id="{42A85CD5-B90C-4A64-84A1-AF2B0E30735C}"/>
                </a:ext>
              </a:extLst>
            </p:cNvPr>
            <p:cNvSpPr/>
            <p:nvPr/>
          </p:nvSpPr>
          <p:spPr bwMode="auto">
            <a:xfrm>
              <a:off x="3981171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îSľïďè">
              <a:extLst>
                <a:ext uri="{FF2B5EF4-FFF2-40B4-BE49-F238E27FC236}">
                  <a16:creationId xmlns:a16="http://schemas.microsoft.com/office/drawing/2014/main" id="{529B5194-6909-4387-8ECD-022C012745B5}"/>
                </a:ext>
              </a:extLst>
            </p:cNvPr>
            <p:cNvSpPr/>
            <p:nvPr/>
          </p:nvSpPr>
          <p:spPr bwMode="auto">
            <a:xfrm>
              <a:off x="3981171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iṩ1îḋè">
              <a:extLst>
                <a:ext uri="{FF2B5EF4-FFF2-40B4-BE49-F238E27FC236}">
                  <a16:creationId xmlns:a16="http://schemas.microsoft.com/office/drawing/2014/main" id="{E4130BBD-4C54-46AF-8C7E-EE2F3689DBD8}"/>
                </a:ext>
              </a:extLst>
            </p:cNvPr>
            <p:cNvSpPr/>
            <p:nvPr/>
          </p:nvSpPr>
          <p:spPr bwMode="auto">
            <a:xfrm>
              <a:off x="4201787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ṥḷïďê">
              <a:extLst>
                <a:ext uri="{FF2B5EF4-FFF2-40B4-BE49-F238E27FC236}">
                  <a16:creationId xmlns:a16="http://schemas.microsoft.com/office/drawing/2014/main" id="{5F760BB0-9640-4411-BAF1-364E32AF740A}"/>
                </a:ext>
              </a:extLst>
            </p:cNvPr>
            <p:cNvSpPr/>
            <p:nvPr/>
          </p:nvSpPr>
          <p:spPr bwMode="auto">
            <a:xfrm>
              <a:off x="4201787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ṩlîḋe">
              <a:extLst>
                <a:ext uri="{FF2B5EF4-FFF2-40B4-BE49-F238E27FC236}">
                  <a16:creationId xmlns:a16="http://schemas.microsoft.com/office/drawing/2014/main" id="{2D7AB599-A73F-478D-9D42-C9F351787C0E}"/>
                </a:ext>
              </a:extLst>
            </p:cNvPr>
            <p:cNvSpPr/>
            <p:nvPr/>
          </p:nvSpPr>
          <p:spPr bwMode="auto">
            <a:xfrm>
              <a:off x="4420999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íşḻïḍê">
              <a:extLst>
                <a:ext uri="{FF2B5EF4-FFF2-40B4-BE49-F238E27FC236}">
                  <a16:creationId xmlns:a16="http://schemas.microsoft.com/office/drawing/2014/main" id="{05A95C72-7F36-4FFD-A4B5-554C98F68547}"/>
                </a:ext>
              </a:extLst>
            </p:cNvPr>
            <p:cNvSpPr/>
            <p:nvPr/>
          </p:nvSpPr>
          <p:spPr bwMode="auto">
            <a:xfrm>
              <a:off x="4420999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îśḻíḋè">
              <a:extLst>
                <a:ext uri="{FF2B5EF4-FFF2-40B4-BE49-F238E27FC236}">
                  <a16:creationId xmlns:a16="http://schemas.microsoft.com/office/drawing/2014/main" id="{E15CBC00-CF1A-42A8-9A73-E2CD3C2C56DE}"/>
                </a:ext>
              </a:extLst>
            </p:cNvPr>
            <p:cNvSpPr/>
            <p:nvPr/>
          </p:nvSpPr>
          <p:spPr bwMode="auto">
            <a:xfrm>
              <a:off x="4640211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$ľíḋè">
              <a:extLst>
                <a:ext uri="{FF2B5EF4-FFF2-40B4-BE49-F238E27FC236}">
                  <a16:creationId xmlns:a16="http://schemas.microsoft.com/office/drawing/2014/main" id="{629C2D98-8BA7-4156-BACA-A9AB82F8D8A4}"/>
                </a:ext>
              </a:extLst>
            </p:cNvPr>
            <p:cNvSpPr/>
            <p:nvPr/>
          </p:nvSpPr>
          <p:spPr bwMode="auto">
            <a:xfrm>
              <a:off x="4640211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ï$ľidé">
              <a:extLst>
                <a:ext uri="{FF2B5EF4-FFF2-40B4-BE49-F238E27FC236}">
                  <a16:creationId xmlns:a16="http://schemas.microsoft.com/office/drawing/2014/main" id="{8FF6E4DE-EF9A-44F5-841F-E97991798FED}"/>
                </a:ext>
              </a:extLst>
            </p:cNvPr>
            <p:cNvSpPr/>
            <p:nvPr/>
          </p:nvSpPr>
          <p:spPr bwMode="auto">
            <a:xfrm>
              <a:off x="4860828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íşḻïḓé">
              <a:extLst>
                <a:ext uri="{FF2B5EF4-FFF2-40B4-BE49-F238E27FC236}">
                  <a16:creationId xmlns:a16="http://schemas.microsoft.com/office/drawing/2014/main" id="{02CBF73A-7409-43F3-BE07-8C5AEF2AF27A}"/>
                </a:ext>
              </a:extLst>
            </p:cNvPr>
            <p:cNvSpPr/>
            <p:nvPr/>
          </p:nvSpPr>
          <p:spPr bwMode="auto">
            <a:xfrm>
              <a:off x="4860828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šḷíḍe">
              <a:extLst>
                <a:ext uri="{FF2B5EF4-FFF2-40B4-BE49-F238E27FC236}">
                  <a16:creationId xmlns:a16="http://schemas.microsoft.com/office/drawing/2014/main" id="{CD3A09B6-ACB0-4D5A-9ED8-15247E6E594E}"/>
                </a:ext>
              </a:extLst>
            </p:cNvPr>
            <p:cNvSpPr/>
            <p:nvPr/>
          </p:nvSpPr>
          <p:spPr bwMode="auto">
            <a:xfrm>
              <a:off x="5080039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íśḻidê">
              <a:extLst>
                <a:ext uri="{FF2B5EF4-FFF2-40B4-BE49-F238E27FC236}">
                  <a16:creationId xmlns:a16="http://schemas.microsoft.com/office/drawing/2014/main" id="{4369537E-D494-40A4-B39D-8CA71CA3E08B}"/>
                </a:ext>
              </a:extLst>
            </p:cNvPr>
            <p:cNvSpPr/>
            <p:nvPr/>
          </p:nvSpPr>
          <p:spPr bwMode="auto">
            <a:xfrm>
              <a:off x="5299251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íṥlíḋé">
              <a:extLst>
                <a:ext uri="{FF2B5EF4-FFF2-40B4-BE49-F238E27FC236}">
                  <a16:creationId xmlns:a16="http://schemas.microsoft.com/office/drawing/2014/main" id="{E35D7DE9-19FB-4DF8-9E8C-792A077241FF}"/>
                </a:ext>
              </a:extLst>
            </p:cNvPr>
            <p:cNvSpPr/>
            <p:nvPr/>
          </p:nvSpPr>
          <p:spPr bwMode="auto">
            <a:xfrm>
              <a:off x="5299251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îślîḓe">
              <a:extLst>
                <a:ext uri="{FF2B5EF4-FFF2-40B4-BE49-F238E27FC236}">
                  <a16:creationId xmlns:a16="http://schemas.microsoft.com/office/drawing/2014/main" id="{0D1B1316-D115-4EED-9094-2D6A96783444}"/>
                </a:ext>
              </a:extLst>
            </p:cNvPr>
            <p:cNvSpPr/>
            <p:nvPr/>
          </p:nvSpPr>
          <p:spPr bwMode="auto">
            <a:xfrm>
              <a:off x="5518463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îṩḻíḑé">
              <a:extLst>
                <a:ext uri="{FF2B5EF4-FFF2-40B4-BE49-F238E27FC236}">
                  <a16:creationId xmlns:a16="http://schemas.microsoft.com/office/drawing/2014/main" id="{8175A917-B493-4F0D-B854-32F5CD0CDD91}"/>
                </a:ext>
              </a:extLst>
            </p:cNvPr>
            <p:cNvSpPr/>
            <p:nvPr/>
          </p:nvSpPr>
          <p:spPr bwMode="auto">
            <a:xfrm>
              <a:off x="5518463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iṧļíḑè">
              <a:extLst>
                <a:ext uri="{FF2B5EF4-FFF2-40B4-BE49-F238E27FC236}">
                  <a16:creationId xmlns:a16="http://schemas.microsoft.com/office/drawing/2014/main" id="{23511AA1-1F10-4CA2-B83C-05BB90774FD2}"/>
                </a:ext>
              </a:extLst>
            </p:cNvPr>
            <p:cNvSpPr/>
            <p:nvPr/>
          </p:nvSpPr>
          <p:spPr bwMode="auto">
            <a:xfrm>
              <a:off x="5739079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îśḷídê">
              <a:extLst>
                <a:ext uri="{FF2B5EF4-FFF2-40B4-BE49-F238E27FC236}">
                  <a16:creationId xmlns:a16="http://schemas.microsoft.com/office/drawing/2014/main" id="{B2CF5D1B-1DF5-439E-B95C-8FDEB83B532A}"/>
                </a:ext>
              </a:extLst>
            </p:cNvPr>
            <p:cNvSpPr/>
            <p:nvPr/>
          </p:nvSpPr>
          <p:spPr bwMode="auto">
            <a:xfrm>
              <a:off x="5739079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íš1îḓé">
              <a:extLst>
                <a:ext uri="{FF2B5EF4-FFF2-40B4-BE49-F238E27FC236}">
                  <a16:creationId xmlns:a16="http://schemas.microsoft.com/office/drawing/2014/main" id="{244B3AB2-1314-4D01-938D-C5CD34A431BA}"/>
                </a:ext>
              </a:extLst>
            </p:cNvPr>
            <p:cNvSpPr/>
            <p:nvPr/>
          </p:nvSpPr>
          <p:spPr bwMode="auto">
            <a:xfrm>
              <a:off x="5958291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işḷiḋè">
              <a:extLst>
                <a:ext uri="{FF2B5EF4-FFF2-40B4-BE49-F238E27FC236}">
                  <a16:creationId xmlns:a16="http://schemas.microsoft.com/office/drawing/2014/main" id="{638A7FD6-73E0-4600-A2E1-CA4BF0600D08}"/>
                </a:ext>
              </a:extLst>
            </p:cNvPr>
            <p:cNvSpPr/>
            <p:nvPr/>
          </p:nvSpPr>
          <p:spPr bwMode="auto">
            <a:xfrm>
              <a:off x="6178908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îslîḓê">
              <a:extLst>
                <a:ext uri="{FF2B5EF4-FFF2-40B4-BE49-F238E27FC236}">
                  <a16:creationId xmlns:a16="http://schemas.microsoft.com/office/drawing/2014/main" id="{135214D6-8171-41FA-A94A-A675F6C1190C}"/>
                </a:ext>
              </a:extLst>
            </p:cNvPr>
            <p:cNvSpPr/>
            <p:nvPr/>
          </p:nvSpPr>
          <p:spPr bwMode="auto">
            <a:xfrm>
              <a:off x="6178908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isḷídè">
              <a:extLst>
                <a:ext uri="{FF2B5EF4-FFF2-40B4-BE49-F238E27FC236}">
                  <a16:creationId xmlns:a16="http://schemas.microsoft.com/office/drawing/2014/main" id="{22B11961-9747-4227-B367-BBE22E255FD0}"/>
                </a:ext>
              </a:extLst>
            </p:cNvPr>
            <p:cNvSpPr/>
            <p:nvPr/>
          </p:nvSpPr>
          <p:spPr bwMode="auto">
            <a:xfrm>
              <a:off x="6398120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íSḻïḑê">
              <a:extLst>
                <a:ext uri="{FF2B5EF4-FFF2-40B4-BE49-F238E27FC236}">
                  <a16:creationId xmlns:a16="http://schemas.microsoft.com/office/drawing/2014/main" id="{633A6D54-7CD0-44E5-92CB-944010FCD534}"/>
                </a:ext>
              </a:extLst>
            </p:cNvPr>
            <p:cNvSpPr/>
            <p:nvPr/>
          </p:nvSpPr>
          <p:spPr bwMode="auto">
            <a:xfrm>
              <a:off x="6398120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ïsliḋê">
              <a:extLst>
                <a:ext uri="{FF2B5EF4-FFF2-40B4-BE49-F238E27FC236}">
                  <a16:creationId xmlns:a16="http://schemas.microsoft.com/office/drawing/2014/main" id="{6D52F18B-A76E-4986-876F-11F51B2E3F45}"/>
                </a:ext>
              </a:extLst>
            </p:cNvPr>
            <p:cNvSpPr/>
            <p:nvPr/>
          </p:nvSpPr>
          <p:spPr bwMode="auto">
            <a:xfrm>
              <a:off x="6618736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iSḷídé">
              <a:extLst>
                <a:ext uri="{FF2B5EF4-FFF2-40B4-BE49-F238E27FC236}">
                  <a16:creationId xmlns:a16="http://schemas.microsoft.com/office/drawing/2014/main" id="{4ACBE916-72F9-46A5-881E-93B24D4CF8A1}"/>
                </a:ext>
              </a:extLst>
            </p:cNvPr>
            <p:cNvSpPr/>
            <p:nvPr/>
          </p:nvSpPr>
          <p:spPr bwMode="auto">
            <a:xfrm>
              <a:off x="6618736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ïšľiḓè">
              <a:extLst>
                <a:ext uri="{FF2B5EF4-FFF2-40B4-BE49-F238E27FC236}">
                  <a16:creationId xmlns:a16="http://schemas.microsoft.com/office/drawing/2014/main" id="{B3EEE15C-99B6-4D7B-BD5F-B7E5F5A2EF03}"/>
                </a:ext>
              </a:extLst>
            </p:cNvPr>
            <p:cNvSpPr/>
            <p:nvPr/>
          </p:nvSpPr>
          <p:spPr bwMode="auto">
            <a:xfrm>
              <a:off x="6836543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isļïḋê">
              <a:extLst>
                <a:ext uri="{FF2B5EF4-FFF2-40B4-BE49-F238E27FC236}">
                  <a16:creationId xmlns:a16="http://schemas.microsoft.com/office/drawing/2014/main" id="{B813AAFA-E380-47DB-BD90-8FD1085E90AF}"/>
                </a:ext>
              </a:extLst>
            </p:cNvPr>
            <p:cNvSpPr/>
            <p:nvPr/>
          </p:nvSpPr>
          <p:spPr bwMode="auto">
            <a:xfrm>
              <a:off x="6836543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iSḻîḋé">
              <a:extLst>
                <a:ext uri="{FF2B5EF4-FFF2-40B4-BE49-F238E27FC236}">
                  <a16:creationId xmlns:a16="http://schemas.microsoft.com/office/drawing/2014/main" id="{66BF12C2-412B-4BB7-B87A-3F8A75F632FF}"/>
                </a:ext>
              </a:extLst>
            </p:cNvPr>
            <p:cNvSpPr/>
            <p:nvPr/>
          </p:nvSpPr>
          <p:spPr bwMode="auto">
            <a:xfrm>
              <a:off x="7057159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î$ľïḍe">
              <a:extLst>
                <a:ext uri="{FF2B5EF4-FFF2-40B4-BE49-F238E27FC236}">
                  <a16:creationId xmlns:a16="http://schemas.microsoft.com/office/drawing/2014/main" id="{DA1A4993-680F-4EF1-85C2-4D72909D694E}"/>
                </a:ext>
              </a:extLst>
            </p:cNvPr>
            <p:cNvSpPr/>
            <p:nvPr/>
          </p:nvSpPr>
          <p:spPr bwMode="auto">
            <a:xfrm>
              <a:off x="7057159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iṡḻíḑé">
              <a:extLst>
                <a:ext uri="{FF2B5EF4-FFF2-40B4-BE49-F238E27FC236}">
                  <a16:creationId xmlns:a16="http://schemas.microsoft.com/office/drawing/2014/main" id="{9B8CF271-F432-4703-8E36-8E361FA9F823}"/>
                </a:ext>
              </a:extLst>
            </p:cNvPr>
            <p:cNvSpPr/>
            <p:nvPr/>
          </p:nvSpPr>
          <p:spPr bwMode="auto">
            <a:xfrm>
              <a:off x="7276371" y="2211397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iṧḻiḓe">
              <a:extLst>
                <a:ext uri="{FF2B5EF4-FFF2-40B4-BE49-F238E27FC236}">
                  <a16:creationId xmlns:a16="http://schemas.microsoft.com/office/drawing/2014/main" id="{93394B09-44EA-4D3C-ABD9-F887C8ACF60E}"/>
                </a:ext>
              </a:extLst>
            </p:cNvPr>
            <p:cNvSpPr/>
            <p:nvPr/>
          </p:nvSpPr>
          <p:spPr bwMode="auto">
            <a:xfrm>
              <a:off x="7276371" y="2211397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ïsľîďè">
              <a:extLst>
                <a:ext uri="{FF2B5EF4-FFF2-40B4-BE49-F238E27FC236}">
                  <a16:creationId xmlns:a16="http://schemas.microsoft.com/office/drawing/2014/main" id="{4A8E5FEE-7FF5-43AA-9E28-D797C791F1CC}"/>
                </a:ext>
              </a:extLst>
            </p:cNvPr>
            <p:cNvSpPr/>
            <p:nvPr/>
          </p:nvSpPr>
          <p:spPr bwMode="auto">
            <a:xfrm>
              <a:off x="7495582" y="2211397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íSḷíďe">
              <a:extLst>
                <a:ext uri="{FF2B5EF4-FFF2-40B4-BE49-F238E27FC236}">
                  <a16:creationId xmlns:a16="http://schemas.microsoft.com/office/drawing/2014/main" id="{7C543066-BE0A-4E9A-8F55-BDC70AEE6EBD}"/>
                </a:ext>
              </a:extLst>
            </p:cNvPr>
            <p:cNvSpPr/>
            <p:nvPr/>
          </p:nvSpPr>
          <p:spPr bwMode="auto">
            <a:xfrm>
              <a:off x="7716200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ïṡḷiḓê">
              <a:extLst>
                <a:ext uri="{FF2B5EF4-FFF2-40B4-BE49-F238E27FC236}">
                  <a16:creationId xmlns:a16="http://schemas.microsoft.com/office/drawing/2014/main" id="{64E1D0BF-83C9-40E6-A45D-DB501C6BF93C}"/>
                </a:ext>
              </a:extLst>
            </p:cNvPr>
            <p:cNvSpPr/>
            <p:nvPr/>
          </p:nvSpPr>
          <p:spPr bwMode="auto">
            <a:xfrm>
              <a:off x="7934006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işļidè">
              <a:extLst>
                <a:ext uri="{FF2B5EF4-FFF2-40B4-BE49-F238E27FC236}">
                  <a16:creationId xmlns:a16="http://schemas.microsoft.com/office/drawing/2014/main" id="{12180942-C373-4C74-9E61-31473737F031}"/>
                </a:ext>
              </a:extLst>
            </p:cNvPr>
            <p:cNvSpPr/>
            <p:nvPr/>
          </p:nvSpPr>
          <p:spPr bwMode="auto">
            <a:xfrm>
              <a:off x="7934006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îṧļïḑé">
              <a:extLst>
                <a:ext uri="{FF2B5EF4-FFF2-40B4-BE49-F238E27FC236}">
                  <a16:creationId xmlns:a16="http://schemas.microsoft.com/office/drawing/2014/main" id="{96C8C040-227E-4A3F-883E-8B626B71E8A7}"/>
                </a:ext>
              </a:extLst>
            </p:cNvPr>
            <p:cNvSpPr/>
            <p:nvPr/>
          </p:nvSpPr>
          <p:spPr bwMode="auto">
            <a:xfrm>
              <a:off x="8154623" y="2211397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ïSľîḓe">
              <a:extLst>
                <a:ext uri="{FF2B5EF4-FFF2-40B4-BE49-F238E27FC236}">
                  <a16:creationId xmlns:a16="http://schemas.microsoft.com/office/drawing/2014/main" id="{62F76FAD-0DC1-4591-9FAA-8788586FB98E}"/>
                </a:ext>
              </a:extLst>
            </p:cNvPr>
            <p:cNvSpPr/>
            <p:nvPr/>
          </p:nvSpPr>
          <p:spPr bwMode="auto">
            <a:xfrm>
              <a:off x="8154623" y="2211397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íşľïḍè">
              <a:extLst>
                <a:ext uri="{FF2B5EF4-FFF2-40B4-BE49-F238E27FC236}">
                  <a16:creationId xmlns:a16="http://schemas.microsoft.com/office/drawing/2014/main" id="{D1CB8802-504D-436C-8D21-573896CFA844}"/>
                </a:ext>
              </a:extLst>
            </p:cNvPr>
            <p:cNvSpPr/>
            <p:nvPr/>
          </p:nvSpPr>
          <p:spPr bwMode="auto">
            <a:xfrm>
              <a:off x="8373834" y="2211397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íṧľîḋe">
              <a:extLst>
                <a:ext uri="{FF2B5EF4-FFF2-40B4-BE49-F238E27FC236}">
                  <a16:creationId xmlns:a16="http://schemas.microsoft.com/office/drawing/2014/main" id="{FA42E78A-FAE6-430B-8BEA-CBF6A7400108}"/>
                </a:ext>
              </a:extLst>
            </p:cNvPr>
            <p:cNvSpPr/>
            <p:nvPr/>
          </p:nvSpPr>
          <p:spPr bwMode="auto">
            <a:xfrm>
              <a:off x="8594451" y="2211397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ïsḻidê">
              <a:extLst>
                <a:ext uri="{FF2B5EF4-FFF2-40B4-BE49-F238E27FC236}">
                  <a16:creationId xmlns:a16="http://schemas.microsoft.com/office/drawing/2014/main" id="{F9039A72-9236-4275-ADB3-15D44F081F9A}"/>
                </a:ext>
              </a:extLst>
            </p:cNvPr>
            <p:cNvSpPr/>
            <p:nvPr/>
          </p:nvSpPr>
          <p:spPr bwMode="auto">
            <a:xfrm>
              <a:off x="3650948" y="2499464"/>
              <a:ext cx="51993" cy="75881"/>
            </a:xfrm>
            <a:custGeom>
              <a:avLst/>
              <a:gdLst>
                <a:gd name="T0" fmla="*/ 33 w 33"/>
                <a:gd name="T1" fmla="*/ 0 h 48"/>
                <a:gd name="T2" fmla="*/ 33 w 33"/>
                <a:gd name="T3" fmla="*/ 48 h 48"/>
                <a:gd name="T4" fmla="*/ 0 w 33"/>
                <a:gd name="T5" fmla="*/ 48 h 48"/>
                <a:gd name="T6" fmla="*/ 33 w 33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48">
                  <a:moveTo>
                    <a:pt x="33" y="0"/>
                  </a:moveTo>
                  <a:cubicBezTo>
                    <a:pt x="33" y="48"/>
                    <a:pt x="33" y="48"/>
                    <a:pt x="33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" y="32"/>
                    <a:pt x="22" y="15"/>
                    <a:pt x="33" y="0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îṧḻïde">
              <a:extLst>
                <a:ext uri="{FF2B5EF4-FFF2-40B4-BE49-F238E27FC236}">
                  <a16:creationId xmlns:a16="http://schemas.microsoft.com/office/drawing/2014/main" id="{E5D1F683-605D-487B-8006-6A9B02125D24}"/>
                </a:ext>
              </a:extLst>
            </p:cNvPr>
            <p:cNvSpPr/>
            <p:nvPr/>
          </p:nvSpPr>
          <p:spPr bwMode="auto">
            <a:xfrm>
              <a:off x="3763364" y="2415152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ïṩľíḍê">
              <a:extLst>
                <a:ext uri="{FF2B5EF4-FFF2-40B4-BE49-F238E27FC236}">
                  <a16:creationId xmlns:a16="http://schemas.microsoft.com/office/drawing/2014/main" id="{4FAF21B7-8D9D-419F-A7C3-9A1909BBF7C5}"/>
                </a:ext>
              </a:extLst>
            </p:cNvPr>
            <p:cNvSpPr/>
            <p:nvPr/>
          </p:nvSpPr>
          <p:spPr bwMode="auto">
            <a:xfrm>
              <a:off x="3763364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śļîďê">
              <a:extLst>
                <a:ext uri="{FF2B5EF4-FFF2-40B4-BE49-F238E27FC236}">
                  <a16:creationId xmlns:a16="http://schemas.microsoft.com/office/drawing/2014/main" id="{3B31220E-BD93-4554-BC0B-D600B73285F4}"/>
                </a:ext>
              </a:extLst>
            </p:cNvPr>
            <p:cNvSpPr/>
            <p:nvPr/>
          </p:nvSpPr>
          <p:spPr bwMode="auto">
            <a:xfrm>
              <a:off x="3981171" y="2415152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í$ľiḓè">
              <a:extLst>
                <a:ext uri="{FF2B5EF4-FFF2-40B4-BE49-F238E27FC236}">
                  <a16:creationId xmlns:a16="http://schemas.microsoft.com/office/drawing/2014/main" id="{5DDBA9BD-4B3A-4485-A0E4-AB45B7AC84BE}"/>
                </a:ext>
              </a:extLst>
            </p:cNvPr>
            <p:cNvSpPr/>
            <p:nvPr/>
          </p:nvSpPr>
          <p:spPr bwMode="auto">
            <a:xfrm>
              <a:off x="4201787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ïṧľídè">
              <a:extLst>
                <a:ext uri="{FF2B5EF4-FFF2-40B4-BE49-F238E27FC236}">
                  <a16:creationId xmlns:a16="http://schemas.microsoft.com/office/drawing/2014/main" id="{87D00905-8E6F-4479-A7C2-BA1F8B32807D}"/>
                </a:ext>
              </a:extLst>
            </p:cNvPr>
            <p:cNvSpPr/>
            <p:nvPr/>
          </p:nvSpPr>
          <p:spPr bwMode="auto">
            <a:xfrm>
              <a:off x="4201787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îšḻîde">
              <a:extLst>
                <a:ext uri="{FF2B5EF4-FFF2-40B4-BE49-F238E27FC236}">
                  <a16:creationId xmlns:a16="http://schemas.microsoft.com/office/drawing/2014/main" id="{255EBCCD-6054-4542-97D1-8B46915CAF0B}"/>
                </a:ext>
              </a:extLst>
            </p:cNvPr>
            <p:cNvSpPr/>
            <p:nvPr/>
          </p:nvSpPr>
          <p:spPr bwMode="auto">
            <a:xfrm>
              <a:off x="4420999" y="2415152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iśḻíde">
              <a:extLst>
                <a:ext uri="{FF2B5EF4-FFF2-40B4-BE49-F238E27FC236}">
                  <a16:creationId xmlns:a16="http://schemas.microsoft.com/office/drawing/2014/main" id="{F1248F5B-78AA-46A4-87A0-BBCC3E4CA725}"/>
                </a:ext>
              </a:extLst>
            </p:cNvPr>
            <p:cNvSpPr/>
            <p:nvPr/>
          </p:nvSpPr>
          <p:spPr bwMode="auto">
            <a:xfrm>
              <a:off x="4420999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ïsľíďe">
              <a:extLst>
                <a:ext uri="{FF2B5EF4-FFF2-40B4-BE49-F238E27FC236}">
                  <a16:creationId xmlns:a16="http://schemas.microsoft.com/office/drawing/2014/main" id="{889EDE2C-EEED-4C44-BDA3-11C1A9EBE8E8}"/>
                </a:ext>
              </a:extLst>
            </p:cNvPr>
            <p:cNvSpPr/>
            <p:nvPr/>
          </p:nvSpPr>
          <p:spPr bwMode="auto">
            <a:xfrm>
              <a:off x="4640211" y="2415152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î$liḑê">
              <a:extLst>
                <a:ext uri="{FF2B5EF4-FFF2-40B4-BE49-F238E27FC236}">
                  <a16:creationId xmlns:a16="http://schemas.microsoft.com/office/drawing/2014/main" id="{2567307A-5C5E-46F1-9BC2-CB0F60D9FB11}"/>
                </a:ext>
              </a:extLst>
            </p:cNvPr>
            <p:cNvSpPr/>
            <p:nvPr/>
          </p:nvSpPr>
          <p:spPr bwMode="auto">
            <a:xfrm>
              <a:off x="4640211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íṩḻîďè">
              <a:extLst>
                <a:ext uri="{FF2B5EF4-FFF2-40B4-BE49-F238E27FC236}">
                  <a16:creationId xmlns:a16="http://schemas.microsoft.com/office/drawing/2014/main" id="{2653B484-D9E1-4B65-BE9F-713BA3E57932}"/>
                </a:ext>
              </a:extLst>
            </p:cNvPr>
            <p:cNvSpPr/>
            <p:nvPr/>
          </p:nvSpPr>
          <p:spPr bwMode="auto">
            <a:xfrm>
              <a:off x="4860828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îṡľïḓé">
              <a:extLst>
                <a:ext uri="{FF2B5EF4-FFF2-40B4-BE49-F238E27FC236}">
                  <a16:creationId xmlns:a16="http://schemas.microsoft.com/office/drawing/2014/main" id="{7733CD87-E4DF-4D0E-88D3-F67233227AA2}"/>
                </a:ext>
              </a:extLst>
            </p:cNvPr>
            <p:cNvSpPr/>
            <p:nvPr/>
          </p:nvSpPr>
          <p:spPr bwMode="auto">
            <a:xfrm>
              <a:off x="4860828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$lîḍé">
              <a:extLst>
                <a:ext uri="{FF2B5EF4-FFF2-40B4-BE49-F238E27FC236}">
                  <a16:creationId xmlns:a16="http://schemas.microsoft.com/office/drawing/2014/main" id="{17560E50-2E01-426D-A0CD-B431228CB8B5}"/>
                </a:ext>
              </a:extLst>
            </p:cNvPr>
            <p:cNvSpPr/>
            <p:nvPr/>
          </p:nvSpPr>
          <p:spPr bwMode="auto">
            <a:xfrm>
              <a:off x="5080039" y="2415152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ïs1íḋé">
              <a:extLst>
                <a:ext uri="{FF2B5EF4-FFF2-40B4-BE49-F238E27FC236}">
                  <a16:creationId xmlns:a16="http://schemas.microsoft.com/office/drawing/2014/main" id="{34AE94CE-A11C-4060-B8CC-7A299B3EF0D3}"/>
                </a:ext>
              </a:extLst>
            </p:cNvPr>
            <p:cNvSpPr/>
            <p:nvPr/>
          </p:nvSpPr>
          <p:spPr bwMode="auto">
            <a:xfrm>
              <a:off x="5299251" y="2415152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ïṥḻíḓê">
              <a:extLst>
                <a:ext uri="{FF2B5EF4-FFF2-40B4-BE49-F238E27FC236}">
                  <a16:creationId xmlns:a16="http://schemas.microsoft.com/office/drawing/2014/main" id="{5C498A7F-24DA-4ACD-9BFF-5C8099B799ED}"/>
                </a:ext>
              </a:extLst>
            </p:cNvPr>
            <p:cNvSpPr/>
            <p:nvPr/>
          </p:nvSpPr>
          <p:spPr bwMode="auto">
            <a:xfrm>
              <a:off x="5299251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iṡliḋé">
              <a:extLst>
                <a:ext uri="{FF2B5EF4-FFF2-40B4-BE49-F238E27FC236}">
                  <a16:creationId xmlns:a16="http://schemas.microsoft.com/office/drawing/2014/main" id="{1E217BB3-16AB-4F61-9B8D-5A61373AEE7C}"/>
                </a:ext>
              </a:extLst>
            </p:cNvPr>
            <p:cNvSpPr/>
            <p:nvPr/>
          </p:nvSpPr>
          <p:spPr bwMode="auto">
            <a:xfrm>
              <a:off x="5518463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iṣľîďé">
              <a:extLst>
                <a:ext uri="{FF2B5EF4-FFF2-40B4-BE49-F238E27FC236}">
                  <a16:creationId xmlns:a16="http://schemas.microsoft.com/office/drawing/2014/main" id="{0E891057-AC0C-4AEE-901B-C6E3935C3426}"/>
                </a:ext>
              </a:extLst>
            </p:cNvPr>
            <p:cNvSpPr/>
            <p:nvPr/>
          </p:nvSpPr>
          <p:spPr bwMode="auto">
            <a:xfrm>
              <a:off x="5518463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îşlïḍé">
              <a:extLst>
                <a:ext uri="{FF2B5EF4-FFF2-40B4-BE49-F238E27FC236}">
                  <a16:creationId xmlns:a16="http://schemas.microsoft.com/office/drawing/2014/main" id="{3396407C-176A-441C-B28C-FE88F9782F3F}"/>
                </a:ext>
              </a:extLst>
            </p:cNvPr>
            <p:cNvSpPr/>
            <p:nvPr/>
          </p:nvSpPr>
          <p:spPr bwMode="auto">
            <a:xfrm>
              <a:off x="5739079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ïSḷïḋé">
              <a:extLst>
                <a:ext uri="{FF2B5EF4-FFF2-40B4-BE49-F238E27FC236}">
                  <a16:creationId xmlns:a16="http://schemas.microsoft.com/office/drawing/2014/main" id="{DA5EFF63-E607-488A-B61A-24D3A6D51A72}"/>
                </a:ext>
              </a:extLst>
            </p:cNvPr>
            <p:cNvSpPr/>
            <p:nvPr/>
          </p:nvSpPr>
          <p:spPr bwMode="auto">
            <a:xfrm>
              <a:off x="5739079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ïş1íḑè">
              <a:extLst>
                <a:ext uri="{FF2B5EF4-FFF2-40B4-BE49-F238E27FC236}">
                  <a16:creationId xmlns:a16="http://schemas.microsoft.com/office/drawing/2014/main" id="{42FC9641-A4EE-4D64-8037-FA8CABFF23A4}"/>
                </a:ext>
              </a:extLst>
            </p:cNvPr>
            <p:cNvSpPr/>
            <p:nvPr/>
          </p:nvSpPr>
          <p:spPr bwMode="auto">
            <a:xfrm>
              <a:off x="5958291" y="2415152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íSļîḓè">
              <a:extLst>
                <a:ext uri="{FF2B5EF4-FFF2-40B4-BE49-F238E27FC236}">
                  <a16:creationId xmlns:a16="http://schemas.microsoft.com/office/drawing/2014/main" id="{16C549F1-1139-4A8C-BA09-230090F672FB}"/>
                </a:ext>
              </a:extLst>
            </p:cNvPr>
            <p:cNvSpPr/>
            <p:nvPr/>
          </p:nvSpPr>
          <p:spPr bwMode="auto">
            <a:xfrm>
              <a:off x="6178908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íṧḻîḑê">
              <a:extLst>
                <a:ext uri="{FF2B5EF4-FFF2-40B4-BE49-F238E27FC236}">
                  <a16:creationId xmlns:a16="http://schemas.microsoft.com/office/drawing/2014/main" id="{A9D03FFA-8F41-4047-80AC-EACFE17A1325}"/>
                </a:ext>
              </a:extLst>
            </p:cNvPr>
            <p:cNvSpPr/>
            <p:nvPr/>
          </p:nvSpPr>
          <p:spPr bwMode="auto">
            <a:xfrm>
              <a:off x="6178908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i$líḓè">
              <a:extLst>
                <a:ext uri="{FF2B5EF4-FFF2-40B4-BE49-F238E27FC236}">
                  <a16:creationId xmlns:a16="http://schemas.microsoft.com/office/drawing/2014/main" id="{619531F1-35CD-433D-892F-3EA5769409A4}"/>
                </a:ext>
              </a:extLst>
            </p:cNvPr>
            <p:cNvSpPr/>
            <p:nvPr/>
          </p:nvSpPr>
          <p:spPr bwMode="auto">
            <a:xfrm>
              <a:off x="6398120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ís1íḑê">
              <a:extLst>
                <a:ext uri="{FF2B5EF4-FFF2-40B4-BE49-F238E27FC236}">
                  <a16:creationId xmlns:a16="http://schemas.microsoft.com/office/drawing/2014/main" id="{ED38F2F0-FE21-493F-AB32-30A24033E446}"/>
                </a:ext>
              </a:extLst>
            </p:cNvPr>
            <p:cNvSpPr/>
            <p:nvPr/>
          </p:nvSpPr>
          <p:spPr bwMode="auto">
            <a:xfrm>
              <a:off x="6398120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iṩ1îḍè">
              <a:extLst>
                <a:ext uri="{FF2B5EF4-FFF2-40B4-BE49-F238E27FC236}">
                  <a16:creationId xmlns:a16="http://schemas.microsoft.com/office/drawing/2014/main" id="{88C063FE-48F1-4391-A85B-4F329ACFE8F6}"/>
                </a:ext>
              </a:extLst>
            </p:cNvPr>
            <p:cNvSpPr/>
            <p:nvPr/>
          </p:nvSpPr>
          <p:spPr bwMode="auto">
            <a:xfrm>
              <a:off x="6618736" y="2415152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îṧḻïḍê">
              <a:extLst>
                <a:ext uri="{FF2B5EF4-FFF2-40B4-BE49-F238E27FC236}">
                  <a16:creationId xmlns:a16="http://schemas.microsoft.com/office/drawing/2014/main" id="{EB8C3853-7E9F-40E1-A812-42AA52E7EEA3}"/>
                </a:ext>
              </a:extLst>
            </p:cNvPr>
            <p:cNvSpPr/>
            <p:nvPr/>
          </p:nvSpPr>
          <p:spPr bwMode="auto">
            <a:xfrm>
              <a:off x="6618736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islïḑé">
              <a:extLst>
                <a:ext uri="{FF2B5EF4-FFF2-40B4-BE49-F238E27FC236}">
                  <a16:creationId xmlns:a16="http://schemas.microsoft.com/office/drawing/2014/main" id="{5C34425F-E6A6-4E1D-A54E-C7DFB8C1ECB1}"/>
                </a:ext>
              </a:extLst>
            </p:cNvPr>
            <p:cNvSpPr/>
            <p:nvPr/>
          </p:nvSpPr>
          <p:spPr bwMode="auto">
            <a:xfrm>
              <a:off x="6836543" y="2415152"/>
              <a:ext cx="161599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102 h 102"/>
                <a:gd name="T6" fmla="*/ 96 w 102"/>
                <a:gd name="T7" fmla="*/ 102 h 102"/>
                <a:gd name="T8" fmla="*/ 102 w 102"/>
                <a:gd name="T9" fmla="*/ 100 h 102"/>
                <a:gd name="T10" fmla="*/ 102 w 102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8" y="101"/>
                    <a:pt x="100" y="101"/>
                    <a:pt x="102" y="100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î$ľïḑe">
              <a:extLst>
                <a:ext uri="{FF2B5EF4-FFF2-40B4-BE49-F238E27FC236}">
                  <a16:creationId xmlns:a16="http://schemas.microsoft.com/office/drawing/2014/main" id="{D30F48A1-7595-4581-8ADA-3C443C75F43C}"/>
                </a:ext>
              </a:extLst>
            </p:cNvPr>
            <p:cNvSpPr/>
            <p:nvPr/>
          </p:nvSpPr>
          <p:spPr bwMode="auto">
            <a:xfrm>
              <a:off x="7057159" y="2415152"/>
              <a:ext cx="161599" cy="132089"/>
            </a:xfrm>
            <a:custGeom>
              <a:avLst/>
              <a:gdLst>
                <a:gd name="T0" fmla="*/ 102 w 102"/>
                <a:gd name="T1" fmla="*/ 0 h 84"/>
                <a:gd name="T2" fmla="*/ 0 w 102"/>
                <a:gd name="T3" fmla="*/ 0 h 84"/>
                <a:gd name="T4" fmla="*/ 0 w 102"/>
                <a:gd name="T5" fmla="*/ 84 h 84"/>
                <a:gd name="T6" fmla="*/ 2 w 102"/>
                <a:gd name="T7" fmla="*/ 82 h 84"/>
                <a:gd name="T8" fmla="*/ 29 w 102"/>
                <a:gd name="T9" fmla="*/ 71 h 84"/>
                <a:gd name="T10" fmla="*/ 38 w 102"/>
                <a:gd name="T11" fmla="*/ 71 h 84"/>
                <a:gd name="T12" fmla="*/ 50 w 102"/>
                <a:gd name="T13" fmla="*/ 72 h 84"/>
                <a:gd name="T14" fmla="*/ 102 w 102"/>
                <a:gd name="T15" fmla="*/ 81 h 84"/>
                <a:gd name="T16" fmla="*/ 102 w 10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84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1" y="83"/>
                    <a:pt x="1" y="83"/>
                    <a:pt x="2" y="82"/>
                  </a:cubicBezTo>
                  <a:cubicBezTo>
                    <a:pt x="11" y="78"/>
                    <a:pt x="20" y="73"/>
                    <a:pt x="29" y="71"/>
                  </a:cubicBezTo>
                  <a:cubicBezTo>
                    <a:pt x="32" y="71"/>
                    <a:pt x="35" y="71"/>
                    <a:pt x="38" y="71"/>
                  </a:cubicBezTo>
                  <a:cubicBezTo>
                    <a:pt x="42" y="71"/>
                    <a:pt x="46" y="71"/>
                    <a:pt x="50" y="72"/>
                  </a:cubicBezTo>
                  <a:cubicBezTo>
                    <a:pt x="68" y="74"/>
                    <a:pt x="85" y="77"/>
                    <a:pt x="102" y="81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íṡlïďé">
              <a:extLst>
                <a:ext uri="{FF2B5EF4-FFF2-40B4-BE49-F238E27FC236}">
                  <a16:creationId xmlns:a16="http://schemas.microsoft.com/office/drawing/2014/main" id="{2C2ECA66-DE51-4C44-BD90-D664E65A8788}"/>
                </a:ext>
              </a:extLst>
            </p:cNvPr>
            <p:cNvSpPr/>
            <p:nvPr/>
          </p:nvSpPr>
          <p:spPr bwMode="auto">
            <a:xfrm>
              <a:off x="7276371" y="2415152"/>
              <a:ext cx="160193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91 h 102"/>
                <a:gd name="T6" fmla="*/ 27 w 102"/>
                <a:gd name="T7" fmla="*/ 100 h 102"/>
                <a:gd name="T8" fmla="*/ 32 w 102"/>
                <a:gd name="T9" fmla="*/ 102 h 102"/>
                <a:gd name="T10" fmla="*/ 102 w 102"/>
                <a:gd name="T11" fmla="*/ 102 h 102"/>
                <a:gd name="T12" fmla="*/ 102 w 102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9" y="94"/>
                    <a:pt x="18" y="97"/>
                    <a:pt x="27" y="100"/>
                  </a:cubicBezTo>
                  <a:cubicBezTo>
                    <a:pt x="29" y="101"/>
                    <a:pt x="30" y="101"/>
                    <a:pt x="32" y="102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íSľïḍè">
              <a:extLst>
                <a:ext uri="{FF2B5EF4-FFF2-40B4-BE49-F238E27FC236}">
                  <a16:creationId xmlns:a16="http://schemas.microsoft.com/office/drawing/2014/main" id="{F97D75DB-2119-4194-B040-0D7222EBB810}"/>
                </a:ext>
              </a:extLst>
            </p:cNvPr>
            <p:cNvSpPr/>
            <p:nvPr/>
          </p:nvSpPr>
          <p:spPr bwMode="auto">
            <a:xfrm>
              <a:off x="7495582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íṧľîdê">
              <a:extLst>
                <a:ext uri="{FF2B5EF4-FFF2-40B4-BE49-F238E27FC236}">
                  <a16:creationId xmlns:a16="http://schemas.microsoft.com/office/drawing/2014/main" id="{2CBACABE-3207-4049-8EEB-50F87EFC0201}"/>
                </a:ext>
              </a:extLst>
            </p:cNvPr>
            <p:cNvSpPr/>
            <p:nvPr/>
          </p:nvSpPr>
          <p:spPr bwMode="auto">
            <a:xfrm>
              <a:off x="7495582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ï$ḻíḋé">
              <a:extLst>
                <a:ext uri="{FF2B5EF4-FFF2-40B4-BE49-F238E27FC236}">
                  <a16:creationId xmlns:a16="http://schemas.microsoft.com/office/drawing/2014/main" id="{221ED899-6384-4272-B850-D4B92AB46448}"/>
                </a:ext>
              </a:extLst>
            </p:cNvPr>
            <p:cNvSpPr/>
            <p:nvPr/>
          </p:nvSpPr>
          <p:spPr bwMode="auto">
            <a:xfrm>
              <a:off x="7716200" y="2415152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iṥļíḑè">
              <a:extLst>
                <a:ext uri="{FF2B5EF4-FFF2-40B4-BE49-F238E27FC236}">
                  <a16:creationId xmlns:a16="http://schemas.microsoft.com/office/drawing/2014/main" id="{D90BD837-8F6A-46AD-841D-373AB5200926}"/>
                </a:ext>
              </a:extLst>
            </p:cNvPr>
            <p:cNvSpPr/>
            <p:nvPr/>
          </p:nvSpPr>
          <p:spPr bwMode="auto">
            <a:xfrm>
              <a:off x="7716200" y="2415152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í$ḻiḋe">
              <a:extLst>
                <a:ext uri="{FF2B5EF4-FFF2-40B4-BE49-F238E27FC236}">
                  <a16:creationId xmlns:a16="http://schemas.microsoft.com/office/drawing/2014/main" id="{8E12D50B-A3FD-4407-A490-48F292518B2B}"/>
                </a:ext>
              </a:extLst>
            </p:cNvPr>
            <p:cNvSpPr/>
            <p:nvPr/>
          </p:nvSpPr>
          <p:spPr bwMode="auto">
            <a:xfrm>
              <a:off x="7934006" y="2415152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iṧḻíḑè">
              <a:extLst>
                <a:ext uri="{FF2B5EF4-FFF2-40B4-BE49-F238E27FC236}">
                  <a16:creationId xmlns:a16="http://schemas.microsoft.com/office/drawing/2014/main" id="{B519F217-D88E-4473-86A0-6AE7F18687BB}"/>
                </a:ext>
              </a:extLst>
            </p:cNvPr>
            <p:cNvSpPr/>
            <p:nvPr/>
          </p:nvSpPr>
          <p:spPr bwMode="auto">
            <a:xfrm>
              <a:off x="7934006" y="2415152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íṡḷïḍê">
              <a:extLst>
                <a:ext uri="{FF2B5EF4-FFF2-40B4-BE49-F238E27FC236}">
                  <a16:creationId xmlns:a16="http://schemas.microsoft.com/office/drawing/2014/main" id="{9F40C4F1-D038-4FEC-8342-BBDCAB003D37}"/>
                </a:ext>
              </a:extLst>
            </p:cNvPr>
            <p:cNvSpPr/>
            <p:nvPr/>
          </p:nvSpPr>
          <p:spPr bwMode="auto">
            <a:xfrm>
              <a:off x="8154623" y="2415152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islîdè">
              <a:extLst>
                <a:ext uri="{FF2B5EF4-FFF2-40B4-BE49-F238E27FC236}">
                  <a16:creationId xmlns:a16="http://schemas.microsoft.com/office/drawing/2014/main" id="{69069ABC-0DE6-4FF9-8403-CB1CCA0279C7}"/>
                </a:ext>
              </a:extLst>
            </p:cNvPr>
            <p:cNvSpPr/>
            <p:nvPr/>
          </p:nvSpPr>
          <p:spPr bwMode="auto">
            <a:xfrm>
              <a:off x="8373834" y="2415152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iš1îḑè">
              <a:extLst>
                <a:ext uri="{FF2B5EF4-FFF2-40B4-BE49-F238E27FC236}">
                  <a16:creationId xmlns:a16="http://schemas.microsoft.com/office/drawing/2014/main" id="{39892DBA-95DC-44BC-ABD3-607E49E8DBD2}"/>
                </a:ext>
              </a:extLst>
            </p:cNvPr>
            <p:cNvSpPr/>
            <p:nvPr/>
          </p:nvSpPr>
          <p:spPr bwMode="auto">
            <a:xfrm>
              <a:off x="8594451" y="2415152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ïşľiḍè">
              <a:extLst>
                <a:ext uri="{FF2B5EF4-FFF2-40B4-BE49-F238E27FC236}">
                  <a16:creationId xmlns:a16="http://schemas.microsoft.com/office/drawing/2014/main" id="{947E3E75-345E-4461-BDCD-EF1B80C7F5CC}"/>
                </a:ext>
              </a:extLst>
            </p:cNvPr>
            <p:cNvSpPr/>
            <p:nvPr/>
          </p:nvSpPr>
          <p:spPr bwMode="auto">
            <a:xfrm>
              <a:off x="3102919" y="2666682"/>
              <a:ext cx="160193" cy="111011"/>
            </a:xfrm>
            <a:custGeom>
              <a:avLst/>
              <a:gdLst>
                <a:gd name="T0" fmla="*/ 102 w 102"/>
                <a:gd name="T1" fmla="*/ 0 h 71"/>
                <a:gd name="T2" fmla="*/ 0 w 102"/>
                <a:gd name="T3" fmla="*/ 37 h 71"/>
                <a:gd name="T4" fmla="*/ 0 w 102"/>
                <a:gd name="T5" fmla="*/ 71 h 71"/>
                <a:gd name="T6" fmla="*/ 102 w 102"/>
                <a:gd name="T7" fmla="*/ 71 h 71"/>
                <a:gd name="T8" fmla="*/ 102 w 10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71">
                  <a:moveTo>
                    <a:pt x="102" y="0"/>
                  </a:moveTo>
                  <a:cubicBezTo>
                    <a:pt x="67" y="10"/>
                    <a:pt x="33" y="22"/>
                    <a:pt x="0" y="37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02" y="71"/>
                    <a:pt x="102" y="71"/>
                    <a:pt x="102" y="71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íśľíḑè">
              <a:extLst>
                <a:ext uri="{FF2B5EF4-FFF2-40B4-BE49-F238E27FC236}">
                  <a16:creationId xmlns:a16="http://schemas.microsoft.com/office/drawing/2014/main" id="{DAB9BDBB-63ED-4250-82C9-F5C670F55B68}"/>
                </a:ext>
              </a:extLst>
            </p:cNvPr>
            <p:cNvSpPr/>
            <p:nvPr/>
          </p:nvSpPr>
          <p:spPr bwMode="auto">
            <a:xfrm>
              <a:off x="3323536" y="2630147"/>
              <a:ext cx="160193" cy="147547"/>
            </a:xfrm>
            <a:custGeom>
              <a:avLst/>
              <a:gdLst>
                <a:gd name="T0" fmla="*/ 114 w 114"/>
                <a:gd name="T1" fmla="*/ 0 h 105"/>
                <a:gd name="T2" fmla="*/ 0 w 114"/>
                <a:gd name="T3" fmla="*/ 16 h 105"/>
                <a:gd name="T4" fmla="*/ 0 w 114"/>
                <a:gd name="T5" fmla="*/ 105 h 105"/>
                <a:gd name="T6" fmla="*/ 114 w 114"/>
                <a:gd name="T7" fmla="*/ 105 h 105"/>
                <a:gd name="T8" fmla="*/ 114 w 114"/>
                <a:gd name="T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05">
                  <a:moveTo>
                    <a:pt x="114" y="0"/>
                  </a:moveTo>
                  <a:lnTo>
                    <a:pt x="0" y="16"/>
                  </a:lnTo>
                  <a:lnTo>
                    <a:pt x="0" y="105"/>
                  </a:lnTo>
                  <a:lnTo>
                    <a:pt x="114" y="105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ïṡļîdê">
              <a:extLst>
                <a:ext uri="{FF2B5EF4-FFF2-40B4-BE49-F238E27FC236}">
                  <a16:creationId xmlns:a16="http://schemas.microsoft.com/office/drawing/2014/main" id="{A2F10076-8A2C-4BB1-B737-18B6F446E651}"/>
                </a:ext>
              </a:extLst>
            </p:cNvPr>
            <p:cNvSpPr/>
            <p:nvPr/>
          </p:nvSpPr>
          <p:spPr bwMode="auto">
            <a:xfrm>
              <a:off x="3323536" y="2630147"/>
              <a:ext cx="160193" cy="147547"/>
            </a:xfrm>
            <a:custGeom>
              <a:avLst/>
              <a:gdLst>
                <a:gd name="T0" fmla="*/ 114 w 114"/>
                <a:gd name="T1" fmla="*/ 0 h 105"/>
                <a:gd name="T2" fmla="*/ 0 w 114"/>
                <a:gd name="T3" fmla="*/ 16 h 105"/>
                <a:gd name="T4" fmla="*/ 0 w 114"/>
                <a:gd name="T5" fmla="*/ 105 h 105"/>
                <a:gd name="T6" fmla="*/ 114 w 114"/>
                <a:gd name="T7" fmla="*/ 105 h 105"/>
                <a:gd name="T8" fmla="*/ 114 w 114"/>
                <a:gd name="T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05">
                  <a:moveTo>
                    <a:pt x="114" y="0"/>
                  </a:moveTo>
                  <a:lnTo>
                    <a:pt x="0" y="16"/>
                  </a:lnTo>
                  <a:lnTo>
                    <a:pt x="0" y="105"/>
                  </a:lnTo>
                  <a:lnTo>
                    <a:pt x="114" y="105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ïs1ïḋè">
              <a:extLst>
                <a:ext uri="{FF2B5EF4-FFF2-40B4-BE49-F238E27FC236}">
                  <a16:creationId xmlns:a16="http://schemas.microsoft.com/office/drawing/2014/main" id="{5BA06678-AA3E-4C50-AB2B-61FCB24751DF}"/>
                </a:ext>
              </a:extLst>
            </p:cNvPr>
            <p:cNvSpPr/>
            <p:nvPr/>
          </p:nvSpPr>
          <p:spPr bwMode="auto">
            <a:xfrm>
              <a:off x="3542748" y="2617501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iŝ1íďè">
              <a:extLst>
                <a:ext uri="{FF2B5EF4-FFF2-40B4-BE49-F238E27FC236}">
                  <a16:creationId xmlns:a16="http://schemas.microsoft.com/office/drawing/2014/main" id="{4ED675F9-481D-45B6-83B9-F09EDCB60B28}"/>
                </a:ext>
              </a:extLst>
            </p:cNvPr>
            <p:cNvSpPr/>
            <p:nvPr/>
          </p:nvSpPr>
          <p:spPr bwMode="auto">
            <a:xfrm>
              <a:off x="3763364" y="2617501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ïṩ1îḑé">
              <a:extLst>
                <a:ext uri="{FF2B5EF4-FFF2-40B4-BE49-F238E27FC236}">
                  <a16:creationId xmlns:a16="http://schemas.microsoft.com/office/drawing/2014/main" id="{1E11B9A8-8E90-4355-BB01-3090AB001CB5}"/>
                </a:ext>
              </a:extLst>
            </p:cNvPr>
            <p:cNvSpPr/>
            <p:nvPr/>
          </p:nvSpPr>
          <p:spPr bwMode="auto">
            <a:xfrm>
              <a:off x="3763364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ïśḻíḑe">
              <a:extLst>
                <a:ext uri="{FF2B5EF4-FFF2-40B4-BE49-F238E27FC236}">
                  <a16:creationId xmlns:a16="http://schemas.microsoft.com/office/drawing/2014/main" id="{654A02E8-51FE-4C6F-BEC9-B3EC9D17F4AC}"/>
                </a:ext>
              </a:extLst>
            </p:cNvPr>
            <p:cNvSpPr/>
            <p:nvPr/>
          </p:nvSpPr>
          <p:spPr bwMode="auto">
            <a:xfrm>
              <a:off x="3981171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íṧļïḓê">
              <a:extLst>
                <a:ext uri="{FF2B5EF4-FFF2-40B4-BE49-F238E27FC236}">
                  <a16:creationId xmlns:a16="http://schemas.microsoft.com/office/drawing/2014/main" id="{EF0EF35A-A5F1-49FA-A155-26024367C80B}"/>
                </a:ext>
              </a:extLst>
            </p:cNvPr>
            <p:cNvSpPr/>
            <p:nvPr/>
          </p:nvSpPr>
          <p:spPr bwMode="auto">
            <a:xfrm>
              <a:off x="4201787" y="2617501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ïṥḷíḓè">
              <a:extLst>
                <a:ext uri="{FF2B5EF4-FFF2-40B4-BE49-F238E27FC236}">
                  <a16:creationId xmlns:a16="http://schemas.microsoft.com/office/drawing/2014/main" id="{7656A710-9DE4-4288-AA18-01633C337B9D}"/>
                </a:ext>
              </a:extLst>
            </p:cNvPr>
            <p:cNvSpPr/>
            <p:nvPr/>
          </p:nvSpPr>
          <p:spPr bwMode="auto">
            <a:xfrm>
              <a:off x="4201787" y="2617501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íSḷïḓé">
              <a:extLst>
                <a:ext uri="{FF2B5EF4-FFF2-40B4-BE49-F238E27FC236}">
                  <a16:creationId xmlns:a16="http://schemas.microsoft.com/office/drawing/2014/main" id="{6CD39DFB-A892-4EF2-8959-5D9A4B6CE430}"/>
                </a:ext>
              </a:extLst>
            </p:cNvPr>
            <p:cNvSpPr/>
            <p:nvPr/>
          </p:nvSpPr>
          <p:spPr bwMode="auto">
            <a:xfrm>
              <a:off x="4420999" y="2617501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iSľiḑe">
              <a:extLst>
                <a:ext uri="{FF2B5EF4-FFF2-40B4-BE49-F238E27FC236}">
                  <a16:creationId xmlns:a16="http://schemas.microsoft.com/office/drawing/2014/main" id="{5EA54761-2DA2-41F9-8983-F9F1CA1612BB}"/>
                </a:ext>
              </a:extLst>
            </p:cNvPr>
            <p:cNvSpPr/>
            <p:nvPr/>
          </p:nvSpPr>
          <p:spPr bwMode="auto">
            <a:xfrm>
              <a:off x="4420999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iṡḷïḓê">
              <a:extLst>
                <a:ext uri="{FF2B5EF4-FFF2-40B4-BE49-F238E27FC236}">
                  <a16:creationId xmlns:a16="http://schemas.microsoft.com/office/drawing/2014/main" id="{59F226FE-1E7D-42C1-B99A-317303ACFC2D}"/>
                </a:ext>
              </a:extLst>
            </p:cNvPr>
            <p:cNvSpPr/>
            <p:nvPr/>
          </p:nvSpPr>
          <p:spPr bwMode="auto">
            <a:xfrm>
              <a:off x="4640211" y="2617501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ïṩļïḑè">
              <a:extLst>
                <a:ext uri="{FF2B5EF4-FFF2-40B4-BE49-F238E27FC236}">
                  <a16:creationId xmlns:a16="http://schemas.microsoft.com/office/drawing/2014/main" id="{0BD23C36-2767-4E93-AF4A-44467D240F05}"/>
                </a:ext>
              </a:extLst>
            </p:cNvPr>
            <p:cNvSpPr/>
            <p:nvPr/>
          </p:nvSpPr>
          <p:spPr bwMode="auto">
            <a:xfrm>
              <a:off x="4640211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ïṡḻíḑè">
              <a:extLst>
                <a:ext uri="{FF2B5EF4-FFF2-40B4-BE49-F238E27FC236}">
                  <a16:creationId xmlns:a16="http://schemas.microsoft.com/office/drawing/2014/main" id="{932DEDE9-890A-4303-9E11-F470766ACCE4}"/>
                </a:ext>
              </a:extLst>
            </p:cNvPr>
            <p:cNvSpPr/>
            <p:nvPr/>
          </p:nvSpPr>
          <p:spPr bwMode="auto">
            <a:xfrm>
              <a:off x="4860828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ṣḷîḋé">
              <a:extLst>
                <a:ext uri="{FF2B5EF4-FFF2-40B4-BE49-F238E27FC236}">
                  <a16:creationId xmlns:a16="http://schemas.microsoft.com/office/drawing/2014/main" id="{B2B08E1D-0F1D-4AEB-9C2F-1C5ACBAA07DD}"/>
                </a:ext>
              </a:extLst>
            </p:cNvPr>
            <p:cNvSpPr/>
            <p:nvPr/>
          </p:nvSpPr>
          <p:spPr bwMode="auto">
            <a:xfrm>
              <a:off x="4860828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šľíḋé">
              <a:extLst>
                <a:ext uri="{FF2B5EF4-FFF2-40B4-BE49-F238E27FC236}">
                  <a16:creationId xmlns:a16="http://schemas.microsoft.com/office/drawing/2014/main" id="{F0B1E268-3B1C-4536-80A1-63AD7C194DF0}"/>
                </a:ext>
              </a:extLst>
            </p:cNvPr>
            <p:cNvSpPr/>
            <p:nvPr/>
          </p:nvSpPr>
          <p:spPr bwMode="auto">
            <a:xfrm>
              <a:off x="5080039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$lîḓè">
              <a:extLst>
                <a:ext uri="{FF2B5EF4-FFF2-40B4-BE49-F238E27FC236}">
                  <a16:creationId xmlns:a16="http://schemas.microsoft.com/office/drawing/2014/main" id="{259DC19A-55F4-4609-86F4-4960CDA947E9}"/>
                </a:ext>
              </a:extLst>
            </p:cNvPr>
            <p:cNvSpPr/>
            <p:nvPr/>
          </p:nvSpPr>
          <p:spPr bwMode="auto">
            <a:xfrm>
              <a:off x="5080039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işḷïḋè">
              <a:extLst>
                <a:ext uri="{FF2B5EF4-FFF2-40B4-BE49-F238E27FC236}">
                  <a16:creationId xmlns:a16="http://schemas.microsoft.com/office/drawing/2014/main" id="{1D6E18A5-11E2-4A22-A193-106EEE9C446C}"/>
                </a:ext>
              </a:extLst>
            </p:cNvPr>
            <p:cNvSpPr/>
            <p:nvPr/>
          </p:nvSpPr>
          <p:spPr bwMode="auto">
            <a:xfrm>
              <a:off x="5299251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ïṩļídè">
              <a:extLst>
                <a:ext uri="{FF2B5EF4-FFF2-40B4-BE49-F238E27FC236}">
                  <a16:creationId xmlns:a16="http://schemas.microsoft.com/office/drawing/2014/main" id="{340BE1E3-F4F8-4959-8EC0-2366D2FFCBC9}"/>
                </a:ext>
              </a:extLst>
            </p:cNvPr>
            <p:cNvSpPr/>
            <p:nvPr/>
          </p:nvSpPr>
          <p:spPr bwMode="auto">
            <a:xfrm>
              <a:off x="5518463" y="2617501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îšľiḍê">
              <a:extLst>
                <a:ext uri="{FF2B5EF4-FFF2-40B4-BE49-F238E27FC236}">
                  <a16:creationId xmlns:a16="http://schemas.microsoft.com/office/drawing/2014/main" id="{50CB7B57-9712-4256-85B3-73FD5A18D53F}"/>
                </a:ext>
              </a:extLst>
            </p:cNvPr>
            <p:cNvSpPr/>
            <p:nvPr/>
          </p:nvSpPr>
          <p:spPr bwMode="auto">
            <a:xfrm>
              <a:off x="5518463" y="2617501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íṥ1iďê">
              <a:extLst>
                <a:ext uri="{FF2B5EF4-FFF2-40B4-BE49-F238E27FC236}">
                  <a16:creationId xmlns:a16="http://schemas.microsoft.com/office/drawing/2014/main" id="{FE843766-DEDB-46A5-BF66-1D3FE4708119}"/>
                </a:ext>
              </a:extLst>
            </p:cNvPr>
            <p:cNvSpPr/>
            <p:nvPr/>
          </p:nvSpPr>
          <p:spPr bwMode="auto">
            <a:xfrm>
              <a:off x="5739079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íŝlidè">
              <a:extLst>
                <a:ext uri="{FF2B5EF4-FFF2-40B4-BE49-F238E27FC236}">
                  <a16:creationId xmlns:a16="http://schemas.microsoft.com/office/drawing/2014/main" id="{8EA250BC-4C27-4EF6-93D6-2D5AB06AD71E}"/>
                </a:ext>
              </a:extLst>
            </p:cNvPr>
            <p:cNvSpPr/>
            <p:nvPr/>
          </p:nvSpPr>
          <p:spPr bwMode="auto">
            <a:xfrm>
              <a:off x="5739079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iṡļîḋé">
              <a:extLst>
                <a:ext uri="{FF2B5EF4-FFF2-40B4-BE49-F238E27FC236}">
                  <a16:creationId xmlns:a16="http://schemas.microsoft.com/office/drawing/2014/main" id="{B392A7FE-BD2D-4E67-87A5-4CE09EF79576}"/>
                </a:ext>
              </a:extLst>
            </p:cNvPr>
            <p:cNvSpPr/>
            <p:nvPr/>
          </p:nvSpPr>
          <p:spPr bwMode="auto">
            <a:xfrm>
              <a:off x="5958291" y="2617501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îšlíḓê">
              <a:extLst>
                <a:ext uri="{FF2B5EF4-FFF2-40B4-BE49-F238E27FC236}">
                  <a16:creationId xmlns:a16="http://schemas.microsoft.com/office/drawing/2014/main" id="{B4F6FE93-CF76-4DCB-B912-00AE90DA4F78}"/>
                </a:ext>
              </a:extLst>
            </p:cNvPr>
            <p:cNvSpPr/>
            <p:nvPr/>
          </p:nvSpPr>
          <p:spPr bwMode="auto">
            <a:xfrm>
              <a:off x="6178908" y="2617501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iŝḷiḑè">
              <a:extLst>
                <a:ext uri="{FF2B5EF4-FFF2-40B4-BE49-F238E27FC236}">
                  <a16:creationId xmlns:a16="http://schemas.microsoft.com/office/drawing/2014/main" id="{9F8A0C10-B963-427A-8C70-54716BB529E5}"/>
                </a:ext>
              </a:extLst>
            </p:cNvPr>
            <p:cNvSpPr/>
            <p:nvPr/>
          </p:nvSpPr>
          <p:spPr bwMode="auto">
            <a:xfrm>
              <a:off x="6178908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iṧḻiḋe">
              <a:extLst>
                <a:ext uri="{FF2B5EF4-FFF2-40B4-BE49-F238E27FC236}">
                  <a16:creationId xmlns:a16="http://schemas.microsoft.com/office/drawing/2014/main" id="{A200A42F-B60E-42B1-BE8E-7307BF82DBAC}"/>
                </a:ext>
              </a:extLst>
            </p:cNvPr>
            <p:cNvSpPr/>
            <p:nvPr/>
          </p:nvSpPr>
          <p:spPr bwMode="auto">
            <a:xfrm>
              <a:off x="6398120" y="2617501"/>
              <a:ext cx="160193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102 h 102"/>
                <a:gd name="T6" fmla="*/ 95 w 102"/>
                <a:gd name="T7" fmla="*/ 102 h 102"/>
                <a:gd name="T8" fmla="*/ 102 w 102"/>
                <a:gd name="T9" fmla="*/ 72 h 102"/>
                <a:gd name="T10" fmla="*/ 102 w 102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95" y="102"/>
                    <a:pt x="95" y="102"/>
                    <a:pt x="95" y="102"/>
                  </a:cubicBezTo>
                  <a:cubicBezTo>
                    <a:pt x="97" y="92"/>
                    <a:pt x="99" y="82"/>
                    <a:pt x="102" y="72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íṧ1ïḍé">
              <a:extLst>
                <a:ext uri="{FF2B5EF4-FFF2-40B4-BE49-F238E27FC236}">
                  <a16:creationId xmlns:a16="http://schemas.microsoft.com/office/drawing/2014/main" id="{BFF3803D-3C2B-4538-93F8-C9588B20856F}"/>
                </a:ext>
              </a:extLst>
            </p:cNvPr>
            <p:cNvSpPr/>
            <p:nvPr/>
          </p:nvSpPr>
          <p:spPr bwMode="auto">
            <a:xfrm>
              <a:off x="6618736" y="2617501"/>
              <a:ext cx="21078" cy="15458"/>
            </a:xfrm>
            <a:custGeom>
              <a:avLst/>
              <a:gdLst>
                <a:gd name="T0" fmla="*/ 14 w 14"/>
                <a:gd name="T1" fmla="*/ 0 h 10"/>
                <a:gd name="T2" fmla="*/ 0 w 14"/>
                <a:gd name="T3" fmla="*/ 0 h 10"/>
                <a:gd name="T4" fmla="*/ 0 w 14"/>
                <a:gd name="T5" fmla="*/ 10 h 10"/>
                <a:gd name="T6" fmla="*/ 14 w 14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0">
                  <a:moveTo>
                    <a:pt x="1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6"/>
                    <a:pt x="9" y="3"/>
                    <a:pt x="14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iŝľidê">
              <a:extLst>
                <a:ext uri="{FF2B5EF4-FFF2-40B4-BE49-F238E27FC236}">
                  <a16:creationId xmlns:a16="http://schemas.microsoft.com/office/drawing/2014/main" id="{C4F14BC0-E184-445E-96C2-CA0B234FFE56}"/>
                </a:ext>
              </a:extLst>
            </p:cNvPr>
            <p:cNvSpPr/>
            <p:nvPr/>
          </p:nvSpPr>
          <p:spPr bwMode="auto">
            <a:xfrm>
              <a:off x="6836543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ïsļïḍè">
              <a:extLst>
                <a:ext uri="{FF2B5EF4-FFF2-40B4-BE49-F238E27FC236}">
                  <a16:creationId xmlns:a16="http://schemas.microsoft.com/office/drawing/2014/main" id="{7002A535-9B12-4455-B528-579F1780CD70}"/>
                </a:ext>
              </a:extLst>
            </p:cNvPr>
            <p:cNvSpPr/>
            <p:nvPr/>
          </p:nvSpPr>
          <p:spPr bwMode="auto">
            <a:xfrm>
              <a:off x="7409865" y="2617501"/>
              <a:ext cx="26699" cy="25294"/>
            </a:xfrm>
            <a:custGeom>
              <a:avLst/>
              <a:gdLst>
                <a:gd name="T0" fmla="*/ 17 w 17"/>
                <a:gd name="T1" fmla="*/ 0 h 16"/>
                <a:gd name="T2" fmla="*/ 0 w 17"/>
                <a:gd name="T3" fmla="*/ 0 h 16"/>
                <a:gd name="T4" fmla="*/ 0 w 17"/>
                <a:gd name="T5" fmla="*/ 1 h 16"/>
                <a:gd name="T6" fmla="*/ 17 w 17"/>
                <a:gd name="T7" fmla="*/ 16 h 16"/>
                <a:gd name="T8" fmla="*/ 17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6" y="5"/>
                    <a:pt x="12" y="11"/>
                    <a:pt x="17" y="16"/>
                  </a:cubicBezTo>
                  <a:cubicBezTo>
                    <a:pt x="17" y="0"/>
                    <a:pt x="17" y="0"/>
                    <a:pt x="17" y="0"/>
                  </a:cubicBezTo>
                </a:path>
              </a:pathLst>
            </a:cu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îşḷíḋe">
              <a:extLst>
                <a:ext uri="{FF2B5EF4-FFF2-40B4-BE49-F238E27FC236}">
                  <a16:creationId xmlns:a16="http://schemas.microsoft.com/office/drawing/2014/main" id="{66F9BEFC-3430-48FE-B112-D45DB0216B6B}"/>
                </a:ext>
              </a:extLst>
            </p:cNvPr>
            <p:cNvSpPr/>
            <p:nvPr/>
          </p:nvSpPr>
          <p:spPr bwMode="auto">
            <a:xfrm>
              <a:off x="7495582" y="2617501"/>
              <a:ext cx="161599" cy="160193"/>
            </a:xfrm>
            <a:custGeom>
              <a:avLst/>
              <a:gdLst>
                <a:gd name="T0" fmla="*/ 103 w 103"/>
                <a:gd name="T1" fmla="*/ 0 h 102"/>
                <a:gd name="T2" fmla="*/ 0 w 103"/>
                <a:gd name="T3" fmla="*/ 0 h 102"/>
                <a:gd name="T4" fmla="*/ 0 w 103"/>
                <a:gd name="T5" fmla="*/ 71 h 102"/>
                <a:gd name="T6" fmla="*/ 15 w 103"/>
                <a:gd name="T7" fmla="*/ 102 h 102"/>
                <a:gd name="T8" fmla="*/ 103 w 103"/>
                <a:gd name="T9" fmla="*/ 102 h 102"/>
                <a:gd name="T10" fmla="*/ 103 w 103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81"/>
                    <a:pt x="11" y="92"/>
                    <a:pt x="15" y="102"/>
                  </a:cubicBezTo>
                  <a:cubicBezTo>
                    <a:pt x="103" y="102"/>
                    <a:pt x="103" y="102"/>
                    <a:pt x="103" y="102"/>
                  </a:cubicBezTo>
                  <a:cubicBezTo>
                    <a:pt x="103" y="0"/>
                    <a:pt x="103" y="0"/>
                    <a:pt x="103" y="0"/>
                  </a:cubicBezTo>
                </a:path>
              </a:pathLst>
            </a:cu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iṡ1ïdè">
              <a:extLst>
                <a:ext uri="{FF2B5EF4-FFF2-40B4-BE49-F238E27FC236}">
                  <a16:creationId xmlns:a16="http://schemas.microsoft.com/office/drawing/2014/main" id="{918BBD22-7C4D-4627-A781-D12CDA5DABD1}"/>
                </a:ext>
              </a:extLst>
            </p:cNvPr>
            <p:cNvSpPr/>
            <p:nvPr/>
          </p:nvSpPr>
          <p:spPr bwMode="auto">
            <a:xfrm>
              <a:off x="7716200" y="2617501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íşlíḋé">
              <a:extLst>
                <a:ext uri="{FF2B5EF4-FFF2-40B4-BE49-F238E27FC236}">
                  <a16:creationId xmlns:a16="http://schemas.microsoft.com/office/drawing/2014/main" id="{B2E98C37-7AA2-4F99-B4AB-EE710FEE9D0F}"/>
                </a:ext>
              </a:extLst>
            </p:cNvPr>
            <p:cNvSpPr/>
            <p:nvPr/>
          </p:nvSpPr>
          <p:spPr bwMode="auto">
            <a:xfrm>
              <a:off x="7716200" y="2617501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îṥľîḍe">
              <a:extLst>
                <a:ext uri="{FF2B5EF4-FFF2-40B4-BE49-F238E27FC236}">
                  <a16:creationId xmlns:a16="http://schemas.microsoft.com/office/drawing/2014/main" id="{43B10471-6051-4F6D-8B60-9591707B0208}"/>
                </a:ext>
              </a:extLst>
            </p:cNvPr>
            <p:cNvSpPr/>
            <p:nvPr/>
          </p:nvSpPr>
          <p:spPr bwMode="auto">
            <a:xfrm>
              <a:off x="7934006" y="2617501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íšļiḋè">
              <a:extLst>
                <a:ext uri="{FF2B5EF4-FFF2-40B4-BE49-F238E27FC236}">
                  <a16:creationId xmlns:a16="http://schemas.microsoft.com/office/drawing/2014/main" id="{109A7A22-EC2F-48B5-807A-045DDA51A7DA}"/>
                </a:ext>
              </a:extLst>
            </p:cNvPr>
            <p:cNvSpPr/>
            <p:nvPr/>
          </p:nvSpPr>
          <p:spPr bwMode="auto">
            <a:xfrm>
              <a:off x="7934006" y="2617501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ï$líḑe">
              <a:extLst>
                <a:ext uri="{FF2B5EF4-FFF2-40B4-BE49-F238E27FC236}">
                  <a16:creationId xmlns:a16="http://schemas.microsoft.com/office/drawing/2014/main" id="{92EB0706-4E67-413E-A3A1-C7A3112AC66B}"/>
                </a:ext>
              </a:extLst>
            </p:cNvPr>
            <p:cNvSpPr/>
            <p:nvPr/>
          </p:nvSpPr>
          <p:spPr bwMode="auto">
            <a:xfrm>
              <a:off x="8154623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îşļïďe">
              <a:extLst>
                <a:ext uri="{FF2B5EF4-FFF2-40B4-BE49-F238E27FC236}">
                  <a16:creationId xmlns:a16="http://schemas.microsoft.com/office/drawing/2014/main" id="{A5756B8E-E2DF-488E-A2C4-6A8C81661DF5}"/>
                </a:ext>
              </a:extLst>
            </p:cNvPr>
            <p:cNvSpPr/>
            <p:nvPr/>
          </p:nvSpPr>
          <p:spPr bwMode="auto">
            <a:xfrm>
              <a:off x="8373834" y="2617501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sļiḑe">
              <a:extLst>
                <a:ext uri="{FF2B5EF4-FFF2-40B4-BE49-F238E27FC236}">
                  <a16:creationId xmlns:a16="http://schemas.microsoft.com/office/drawing/2014/main" id="{1C39BC40-4911-4869-9A6E-C5BF70844130}"/>
                </a:ext>
              </a:extLst>
            </p:cNvPr>
            <p:cNvSpPr/>
            <p:nvPr/>
          </p:nvSpPr>
          <p:spPr bwMode="auto">
            <a:xfrm>
              <a:off x="8594451" y="2617501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îṩḷiḋê">
              <a:extLst>
                <a:ext uri="{FF2B5EF4-FFF2-40B4-BE49-F238E27FC236}">
                  <a16:creationId xmlns:a16="http://schemas.microsoft.com/office/drawing/2014/main" id="{C414EA69-388F-40E7-88DC-3460EE8A8BFA}"/>
                </a:ext>
              </a:extLst>
            </p:cNvPr>
            <p:cNvSpPr/>
            <p:nvPr/>
          </p:nvSpPr>
          <p:spPr bwMode="auto">
            <a:xfrm>
              <a:off x="3102919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iSļîďè">
              <a:extLst>
                <a:ext uri="{FF2B5EF4-FFF2-40B4-BE49-F238E27FC236}">
                  <a16:creationId xmlns:a16="http://schemas.microsoft.com/office/drawing/2014/main" id="{862629DC-BC7A-4A94-AF7A-5D03CA084FA9}"/>
                </a:ext>
              </a:extLst>
            </p:cNvPr>
            <p:cNvSpPr/>
            <p:nvPr/>
          </p:nvSpPr>
          <p:spPr bwMode="auto">
            <a:xfrm>
              <a:off x="310291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îSlïdê">
              <a:extLst>
                <a:ext uri="{FF2B5EF4-FFF2-40B4-BE49-F238E27FC236}">
                  <a16:creationId xmlns:a16="http://schemas.microsoft.com/office/drawing/2014/main" id="{45FDDA5B-931E-498D-AB8B-457FF10BCB1E}"/>
                </a:ext>
              </a:extLst>
            </p:cNvPr>
            <p:cNvSpPr/>
            <p:nvPr/>
          </p:nvSpPr>
          <p:spPr bwMode="auto">
            <a:xfrm>
              <a:off x="3323536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sľïďè">
              <a:extLst>
                <a:ext uri="{FF2B5EF4-FFF2-40B4-BE49-F238E27FC236}">
                  <a16:creationId xmlns:a16="http://schemas.microsoft.com/office/drawing/2014/main" id="{92867F39-D7EB-4FB3-9E11-4EB23C870E56}"/>
                </a:ext>
              </a:extLst>
            </p:cNvPr>
            <p:cNvSpPr/>
            <p:nvPr/>
          </p:nvSpPr>
          <p:spPr bwMode="auto">
            <a:xfrm>
              <a:off x="3323536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ṧļídè">
              <a:extLst>
                <a:ext uri="{FF2B5EF4-FFF2-40B4-BE49-F238E27FC236}">
                  <a16:creationId xmlns:a16="http://schemas.microsoft.com/office/drawing/2014/main" id="{46F2B1A4-140C-4323-93B9-BC3B8206AE03}"/>
                </a:ext>
              </a:extLst>
            </p:cNvPr>
            <p:cNvSpPr/>
            <p:nvPr/>
          </p:nvSpPr>
          <p:spPr bwMode="auto">
            <a:xfrm>
              <a:off x="3542748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íślîḍé">
              <a:extLst>
                <a:ext uri="{FF2B5EF4-FFF2-40B4-BE49-F238E27FC236}">
                  <a16:creationId xmlns:a16="http://schemas.microsoft.com/office/drawing/2014/main" id="{3F080092-01CC-41C6-A290-4B9400C261EE}"/>
                </a:ext>
              </a:extLst>
            </p:cNvPr>
            <p:cNvSpPr/>
            <p:nvPr/>
          </p:nvSpPr>
          <p:spPr bwMode="auto">
            <a:xfrm>
              <a:off x="3542748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îŝḻíḋè">
              <a:extLst>
                <a:ext uri="{FF2B5EF4-FFF2-40B4-BE49-F238E27FC236}">
                  <a16:creationId xmlns:a16="http://schemas.microsoft.com/office/drawing/2014/main" id="{59C83973-4B6E-40BE-88AB-FE3D2E6A34B3}"/>
                </a:ext>
              </a:extLst>
            </p:cNvPr>
            <p:cNvSpPr/>
            <p:nvPr/>
          </p:nvSpPr>
          <p:spPr bwMode="auto">
            <a:xfrm>
              <a:off x="3763364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îş1íḋê">
              <a:extLst>
                <a:ext uri="{FF2B5EF4-FFF2-40B4-BE49-F238E27FC236}">
                  <a16:creationId xmlns:a16="http://schemas.microsoft.com/office/drawing/2014/main" id="{473FBAE1-A560-495E-B129-3A67895FC3A9}"/>
                </a:ext>
              </a:extLst>
            </p:cNvPr>
            <p:cNvSpPr/>
            <p:nvPr/>
          </p:nvSpPr>
          <p:spPr bwMode="auto">
            <a:xfrm>
              <a:off x="3763364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ïŝ1ïdé">
              <a:extLst>
                <a:ext uri="{FF2B5EF4-FFF2-40B4-BE49-F238E27FC236}">
                  <a16:creationId xmlns:a16="http://schemas.microsoft.com/office/drawing/2014/main" id="{DCFFB96A-F710-4E4C-8A30-38501C85DF1B}"/>
                </a:ext>
              </a:extLst>
            </p:cNvPr>
            <p:cNvSpPr/>
            <p:nvPr/>
          </p:nvSpPr>
          <p:spPr bwMode="auto">
            <a:xfrm>
              <a:off x="3981171" y="2822660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îṣļídé">
              <a:extLst>
                <a:ext uri="{FF2B5EF4-FFF2-40B4-BE49-F238E27FC236}">
                  <a16:creationId xmlns:a16="http://schemas.microsoft.com/office/drawing/2014/main" id="{6C17A9CF-729E-4530-BCF3-D82CAEC8ACC6}"/>
                </a:ext>
              </a:extLst>
            </p:cNvPr>
            <p:cNvSpPr/>
            <p:nvPr/>
          </p:nvSpPr>
          <p:spPr bwMode="auto">
            <a:xfrm>
              <a:off x="4201787" y="2822660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íšḻídé">
              <a:extLst>
                <a:ext uri="{FF2B5EF4-FFF2-40B4-BE49-F238E27FC236}">
                  <a16:creationId xmlns:a16="http://schemas.microsoft.com/office/drawing/2014/main" id="{A1CD5E14-0F70-447B-BFA3-C6EC5AFCC489}"/>
                </a:ext>
              </a:extLst>
            </p:cNvPr>
            <p:cNvSpPr/>
            <p:nvPr/>
          </p:nvSpPr>
          <p:spPr bwMode="auto">
            <a:xfrm>
              <a:off x="4201787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isļíḋè">
              <a:extLst>
                <a:ext uri="{FF2B5EF4-FFF2-40B4-BE49-F238E27FC236}">
                  <a16:creationId xmlns:a16="http://schemas.microsoft.com/office/drawing/2014/main" id="{D2F7173E-414D-417E-9E19-3B4AEE88E248}"/>
                </a:ext>
              </a:extLst>
            </p:cNvPr>
            <p:cNvSpPr/>
            <p:nvPr/>
          </p:nvSpPr>
          <p:spPr bwMode="auto">
            <a:xfrm>
              <a:off x="4420999" y="2822660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ṣḻiḋê">
              <a:extLst>
                <a:ext uri="{FF2B5EF4-FFF2-40B4-BE49-F238E27FC236}">
                  <a16:creationId xmlns:a16="http://schemas.microsoft.com/office/drawing/2014/main" id="{DA4D08FD-4D43-4748-B185-C223443A09AC}"/>
                </a:ext>
              </a:extLst>
            </p:cNvPr>
            <p:cNvSpPr/>
            <p:nvPr/>
          </p:nvSpPr>
          <p:spPr bwMode="auto">
            <a:xfrm>
              <a:off x="442099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íṣļîḋè">
              <a:extLst>
                <a:ext uri="{FF2B5EF4-FFF2-40B4-BE49-F238E27FC236}">
                  <a16:creationId xmlns:a16="http://schemas.microsoft.com/office/drawing/2014/main" id="{183F393D-0F89-48A7-819F-2D2CDCE643D2}"/>
                </a:ext>
              </a:extLst>
            </p:cNvPr>
            <p:cNvSpPr/>
            <p:nvPr/>
          </p:nvSpPr>
          <p:spPr bwMode="auto">
            <a:xfrm>
              <a:off x="4640211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iŝ1îďê">
              <a:extLst>
                <a:ext uri="{FF2B5EF4-FFF2-40B4-BE49-F238E27FC236}">
                  <a16:creationId xmlns:a16="http://schemas.microsoft.com/office/drawing/2014/main" id="{295AA6D1-983A-41C9-8076-CD0B6B9C461D}"/>
                </a:ext>
              </a:extLst>
            </p:cNvPr>
            <p:cNvSpPr/>
            <p:nvPr/>
          </p:nvSpPr>
          <p:spPr bwMode="auto">
            <a:xfrm>
              <a:off x="4640211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isļídè">
              <a:extLst>
                <a:ext uri="{FF2B5EF4-FFF2-40B4-BE49-F238E27FC236}">
                  <a16:creationId xmlns:a16="http://schemas.microsoft.com/office/drawing/2014/main" id="{9549CE7E-FFA2-4807-99C1-0A80E4EBB915}"/>
                </a:ext>
              </a:extLst>
            </p:cNvPr>
            <p:cNvSpPr/>
            <p:nvPr/>
          </p:nvSpPr>
          <p:spPr bwMode="auto">
            <a:xfrm>
              <a:off x="4860828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íṡḷíde">
              <a:extLst>
                <a:ext uri="{FF2B5EF4-FFF2-40B4-BE49-F238E27FC236}">
                  <a16:creationId xmlns:a16="http://schemas.microsoft.com/office/drawing/2014/main" id="{1C685FB8-D92D-4A8B-9204-EBBD9D96B066}"/>
                </a:ext>
              </a:extLst>
            </p:cNvPr>
            <p:cNvSpPr/>
            <p:nvPr/>
          </p:nvSpPr>
          <p:spPr bwMode="auto">
            <a:xfrm>
              <a:off x="4860828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íṥľîďé">
              <a:extLst>
                <a:ext uri="{FF2B5EF4-FFF2-40B4-BE49-F238E27FC236}">
                  <a16:creationId xmlns:a16="http://schemas.microsoft.com/office/drawing/2014/main" id="{6197D8AC-867C-473E-BB21-A3B7B3EE3485}"/>
                </a:ext>
              </a:extLst>
            </p:cNvPr>
            <p:cNvSpPr/>
            <p:nvPr/>
          </p:nvSpPr>
          <p:spPr bwMode="auto">
            <a:xfrm>
              <a:off x="5080039" y="2822660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îṥľîdé">
              <a:extLst>
                <a:ext uri="{FF2B5EF4-FFF2-40B4-BE49-F238E27FC236}">
                  <a16:creationId xmlns:a16="http://schemas.microsoft.com/office/drawing/2014/main" id="{F2E07FFD-6D5A-426C-BC53-93A4B73F3E1B}"/>
                </a:ext>
              </a:extLst>
            </p:cNvPr>
            <p:cNvSpPr/>
            <p:nvPr/>
          </p:nvSpPr>
          <p:spPr bwMode="auto">
            <a:xfrm>
              <a:off x="508003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ïṣļîdè">
              <a:extLst>
                <a:ext uri="{FF2B5EF4-FFF2-40B4-BE49-F238E27FC236}">
                  <a16:creationId xmlns:a16="http://schemas.microsoft.com/office/drawing/2014/main" id="{6C1567E6-A3B4-4710-8FFB-FCB0324A0FF0}"/>
                </a:ext>
              </a:extLst>
            </p:cNvPr>
            <p:cNvSpPr/>
            <p:nvPr/>
          </p:nvSpPr>
          <p:spPr bwMode="auto">
            <a:xfrm>
              <a:off x="5299251" y="2822660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ṩlïḋe">
              <a:extLst>
                <a:ext uri="{FF2B5EF4-FFF2-40B4-BE49-F238E27FC236}">
                  <a16:creationId xmlns:a16="http://schemas.microsoft.com/office/drawing/2014/main" id="{7BE32B39-ECD7-417F-9C36-4C92621EDB3F}"/>
                </a:ext>
              </a:extLst>
            </p:cNvPr>
            <p:cNvSpPr/>
            <p:nvPr/>
          </p:nvSpPr>
          <p:spPr bwMode="auto">
            <a:xfrm>
              <a:off x="5299251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ïṩļíḑê">
              <a:extLst>
                <a:ext uri="{FF2B5EF4-FFF2-40B4-BE49-F238E27FC236}">
                  <a16:creationId xmlns:a16="http://schemas.microsoft.com/office/drawing/2014/main" id="{1CC6767D-F569-4715-A386-E1A607096208}"/>
                </a:ext>
              </a:extLst>
            </p:cNvPr>
            <p:cNvSpPr/>
            <p:nvPr/>
          </p:nvSpPr>
          <p:spPr bwMode="auto">
            <a:xfrm>
              <a:off x="5518463" y="2822660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šľíḍê">
              <a:extLst>
                <a:ext uri="{FF2B5EF4-FFF2-40B4-BE49-F238E27FC236}">
                  <a16:creationId xmlns:a16="http://schemas.microsoft.com/office/drawing/2014/main" id="{F6C1CB26-D8F2-4184-8050-CCDAFBE8E3D7}"/>
                </a:ext>
              </a:extLst>
            </p:cNvPr>
            <p:cNvSpPr/>
            <p:nvPr/>
          </p:nvSpPr>
          <p:spPr bwMode="auto">
            <a:xfrm>
              <a:off x="5739079" y="2822660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ïṣḷîďè">
              <a:extLst>
                <a:ext uri="{FF2B5EF4-FFF2-40B4-BE49-F238E27FC236}">
                  <a16:creationId xmlns:a16="http://schemas.microsoft.com/office/drawing/2014/main" id="{10D27529-E3B3-4140-B6AD-AB6071A3ACC7}"/>
                </a:ext>
              </a:extLst>
            </p:cNvPr>
            <p:cNvSpPr/>
            <p:nvPr/>
          </p:nvSpPr>
          <p:spPr bwMode="auto">
            <a:xfrm>
              <a:off x="5739079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íṣ1iḑè">
              <a:extLst>
                <a:ext uri="{FF2B5EF4-FFF2-40B4-BE49-F238E27FC236}">
                  <a16:creationId xmlns:a16="http://schemas.microsoft.com/office/drawing/2014/main" id="{5218342B-20B8-484F-9985-D7110FE38C3C}"/>
                </a:ext>
              </a:extLst>
            </p:cNvPr>
            <p:cNvSpPr/>
            <p:nvPr/>
          </p:nvSpPr>
          <p:spPr bwMode="auto">
            <a:xfrm>
              <a:off x="5958291" y="2822660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ïşľíďé">
              <a:extLst>
                <a:ext uri="{FF2B5EF4-FFF2-40B4-BE49-F238E27FC236}">
                  <a16:creationId xmlns:a16="http://schemas.microsoft.com/office/drawing/2014/main" id="{FA47A321-4383-4682-9A72-A2ADA2831029}"/>
                </a:ext>
              </a:extLst>
            </p:cNvPr>
            <p:cNvSpPr/>
            <p:nvPr/>
          </p:nvSpPr>
          <p:spPr bwMode="auto">
            <a:xfrm>
              <a:off x="5958291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ïṥlíḓè">
              <a:extLst>
                <a:ext uri="{FF2B5EF4-FFF2-40B4-BE49-F238E27FC236}">
                  <a16:creationId xmlns:a16="http://schemas.microsoft.com/office/drawing/2014/main" id="{9E9278D3-67FA-4B5D-9102-6B6FDD5BECC9}"/>
                </a:ext>
              </a:extLst>
            </p:cNvPr>
            <p:cNvSpPr/>
            <p:nvPr/>
          </p:nvSpPr>
          <p:spPr bwMode="auto">
            <a:xfrm>
              <a:off x="6178908" y="2822660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ïś1îḍe">
              <a:extLst>
                <a:ext uri="{FF2B5EF4-FFF2-40B4-BE49-F238E27FC236}">
                  <a16:creationId xmlns:a16="http://schemas.microsoft.com/office/drawing/2014/main" id="{F64118DA-1383-4D9E-A750-5C52514D08EF}"/>
                </a:ext>
              </a:extLst>
            </p:cNvPr>
            <p:cNvSpPr/>
            <p:nvPr/>
          </p:nvSpPr>
          <p:spPr bwMode="auto">
            <a:xfrm>
              <a:off x="6178908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iṩlîḑè">
              <a:extLst>
                <a:ext uri="{FF2B5EF4-FFF2-40B4-BE49-F238E27FC236}">
                  <a16:creationId xmlns:a16="http://schemas.microsoft.com/office/drawing/2014/main" id="{8D681BA7-9AEE-44FD-9ACD-8FA6A4C9F95D}"/>
                </a:ext>
              </a:extLst>
            </p:cNvPr>
            <p:cNvSpPr/>
            <p:nvPr/>
          </p:nvSpPr>
          <p:spPr bwMode="auto">
            <a:xfrm>
              <a:off x="6398120" y="2822660"/>
              <a:ext cx="139116" cy="160193"/>
            </a:xfrm>
            <a:custGeom>
              <a:avLst/>
              <a:gdLst>
                <a:gd name="T0" fmla="*/ 89 w 89"/>
                <a:gd name="T1" fmla="*/ 0 h 102"/>
                <a:gd name="T2" fmla="*/ 0 w 89"/>
                <a:gd name="T3" fmla="*/ 0 h 102"/>
                <a:gd name="T4" fmla="*/ 0 w 89"/>
                <a:gd name="T5" fmla="*/ 102 h 102"/>
                <a:gd name="T6" fmla="*/ 40 w 89"/>
                <a:gd name="T7" fmla="*/ 102 h 102"/>
                <a:gd name="T8" fmla="*/ 66 w 89"/>
                <a:gd name="T9" fmla="*/ 66 h 102"/>
                <a:gd name="T10" fmla="*/ 89 w 89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102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49" y="90"/>
                    <a:pt x="59" y="79"/>
                    <a:pt x="66" y="66"/>
                  </a:cubicBezTo>
                  <a:cubicBezTo>
                    <a:pt x="78" y="46"/>
                    <a:pt x="84" y="23"/>
                    <a:pt x="89" y="0"/>
                  </a:cubicBezTo>
                </a:path>
              </a:pathLst>
            </a:cu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îṧľïḍé">
              <a:extLst>
                <a:ext uri="{FF2B5EF4-FFF2-40B4-BE49-F238E27FC236}">
                  <a16:creationId xmlns:a16="http://schemas.microsoft.com/office/drawing/2014/main" id="{FC9600C0-960E-455B-8D8E-D46C825944FA}"/>
                </a:ext>
              </a:extLst>
            </p:cNvPr>
            <p:cNvSpPr/>
            <p:nvPr/>
          </p:nvSpPr>
          <p:spPr bwMode="auto">
            <a:xfrm>
              <a:off x="7536334" y="2822660"/>
              <a:ext cx="120847" cy="160193"/>
            </a:xfrm>
            <a:custGeom>
              <a:avLst/>
              <a:gdLst>
                <a:gd name="T0" fmla="*/ 77 w 77"/>
                <a:gd name="T1" fmla="*/ 0 h 102"/>
                <a:gd name="T2" fmla="*/ 0 w 77"/>
                <a:gd name="T3" fmla="*/ 0 h 102"/>
                <a:gd name="T4" fmla="*/ 21 w 77"/>
                <a:gd name="T5" fmla="*/ 102 h 102"/>
                <a:gd name="T6" fmla="*/ 77 w 77"/>
                <a:gd name="T7" fmla="*/ 102 h 102"/>
                <a:gd name="T8" fmla="*/ 77 w 77"/>
                <a:gd name="T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02">
                  <a:moveTo>
                    <a:pt x="7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33"/>
                    <a:pt x="18" y="67"/>
                    <a:pt x="21" y="102"/>
                  </a:cubicBezTo>
                  <a:cubicBezTo>
                    <a:pt x="77" y="102"/>
                    <a:pt x="77" y="102"/>
                    <a:pt x="77" y="102"/>
                  </a:cubicBezTo>
                  <a:cubicBezTo>
                    <a:pt x="77" y="0"/>
                    <a:pt x="77" y="0"/>
                    <a:pt x="77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išḻiḑé">
              <a:extLst>
                <a:ext uri="{FF2B5EF4-FFF2-40B4-BE49-F238E27FC236}">
                  <a16:creationId xmlns:a16="http://schemas.microsoft.com/office/drawing/2014/main" id="{BD34A8F4-48FA-47FE-A8F8-241ADC2DBC0D}"/>
                </a:ext>
              </a:extLst>
            </p:cNvPr>
            <p:cNvSpPr/>
            <p:nvPr/>
          </p:nvSpPr>
          <p:spPr bwMode="auto">
            <a:xfrm>
              <a:off x="7716200" y="2822660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ŝḻïḑê">
              <a:extLst>
                <a:ext uri="{FF2B5EF4-FFF2-40B4-BE49-F238E27FC236}">
                  <a16:creationId xmlns:a16="http://schemas.microsoft.com/office/drawing/2014/main" id="{1C29698D-E21B-49A3-9C97-1A5798D39518}"/>
                </a:ext>
              </a:extLst>
            </p:cNvPr>
            <p:cNvSpPr/>
            <p:nvPr/>
          </p:nvSpPr>
          <p:spPr bwMode="auto">
            <a:xfrm>
              <a:off x="7716200" y="2822660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îṣḻíḓé">
              <a:extLst>
                <a:ext uri="{FF2B5EF4-FFF2-40B4-BE49-F238E27FC236}">
                  <a16:creationId xmlns:a16="http://schemas.microsoft.com/office/drawing/2014/main" id="{C7F78252-34E9-4636-934C-DB986364ECF1}"/>
                </a:ext>
              </a:extLst>
            </p:cNvPr>
            <p:cNvSpPr/>
            <p:nvPr/>
          </p:nvSpPr>
          <p:spPr bwMode="auto">
            <a:xfrm>
              <a:off x="7934006" y="2822660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ṧlïde">
              <a:extLst>
                <a:ext uri="{FF2B5EF4-FFF2-40B4-BE49-F238E27FC236}">
                  <a16:creationId xmlns:a16="http://schemas.microsoft.com/office/drawing/2014/main" id="{71DDEE40-6DED-4CC0-9D54-65C2B203EC53}"/>
                </a:ext>
              </a:extLst>
            </p:cNvPr>
            <p:cNvSpPr/>
            <p:nvPr/>
          </p:nvSpPr>
          <p:spPr bwMode="auto">
            <a:xfrm>
              <a:off x="7934006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$ľïďe">
              <a:extLst>
                <a:ext uri="{FF2B5EF4-FFF2-40B4-BE49-F238E27FC236}">
                  <a16:creationId xmlns:a16="http://schemas.microsoft.com/office/drawing/2014/main" id="{6C9E9CE3-8087-4678-BA71-85F6B7F41BCF}"/>
                </a:ext>
              </a:extLst>
            </p:cNvPr>
            <p:cNvSpPr/>
            <p:nvPr/>
          </p:nvSpPr>
          <p:spPr bwMode="auto">
            <a:xfrm>
              <a:off x="8154623" y="2822660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Slîḋê">
              <a:extLst>
                <a:ext uri="{FF2B5EF4-FFF2-40B4-BE49-F238E27FC236}">
                  <a16:creationId xmlns:a16="http://schemas.microsoft.com/office/drawing/2014/main" id="{1C6B0465-724C-4B93-BB37-0A91D6BC2585}"/>
                </a:ext>
              </a:extLst>
            </p:cNvPr>
            <p:cNvSpPr/>
            <p:nvPr/>
          </p:nvSpPr>
          <p:spPr bwMode="auto">
            <a:xfrm>
              <a:off x="8154623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îṧḷídé">
              <a:extLst>
                <a:ext uri="{FF2B5EF4-FFF2-40B4-BE49-F238E27FC236}">
                  <a16:creationId xmlns:a16="http://schemas.microsoft.com/office/drawing/2014/main" id="{7DD1FAF5-1DCC-4F1F-A20A-D3FDA3A455D2}"/>
                </a:ext>
              </a:extLst>
            </p:cNvPr>
            <p:cNvSpPr/>
            <p:nvPr/>
          </p:nvSpPr>
          <p:spPr bwMode="auto">
            <a:xfrm>
              <a:off x="8373834" y="2822660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í$ḷídê">
              <a:extLst>
                <a:ext uri="{FF2B5EF4-FFF2-40B4-BE49-F238E27FC236}">
                  <a16:creationId xmlns:a16="http://schemas.microsoft.com/office/drawing/2014/main" id="{454E3BDE-8DDA-4682-B634-5394A186FDBA}"/>
                </a:ext>
              </a:extLst>
            </p:cNvPr>
            <p:cNvSpPr/>
            <p:nvPr/>
          </p:nvSpPr>
          <p:spPr bwMode="auto">
            <a:xfrm>
              <a:off x="8373834" y="2822660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î$1ïḑé">
              <a:extLst>
                <a:ext uri="{FF2B5EF4-FFF2-40B4-BE49-F238E27FC236}">
                  <a16:creationId xmlns:a16="http://schemas.microsoft.com/office/drawing/2014/main" id="{E94B0B58-CE79-43F3-BCA5-978B1AAF669E}"/>
                </a:ext>
              </a:extLst>
            </p:cNvPr>
            <p:cNvSpPr/>
            <p:nvPr/>
          </p:nvSpPr>
          <p:spPr bwMode="auto">
            <a:xfrm>
              <a:off x="8594451" y="2822660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íśḷïďè">
              <a:extLst>
                <a:ext uri="{FF2B5EF4-FFF2-40B4-BE49-F238E27FC236}">
                  <a16:creationId xmlns:a16="http://schemas.microsoft.com/office/drawing/2014/main" id="{256303F8-A4E2-4AE0-B1CB-D729533BF65C}"/>
                </a:ext>
              </a:extLst>
            </p:cNvPr>
            <p:cNvSpPr/>
            <p:nvPr/>
          </p:nvSpPr>
          <p:spPr bwMode="auto">
            <a:xfrm>
              <a:off x="3102919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ṣḻïḑé">
              <a:extLst>
                <a:ext uri="{FF2B5EF4-FFF2-40B4-BE49-F238E27FC236}">
                  <a16:creationId xmlns:a16="http://schemas.microsoft.com/office/drawing/2014/main" id="{3C88B601-6B67-4E49-A4E6-336FCAB6FB99}"/>
                </a:ext>
              </a:extLst>
            </p:cNvPr>
            <p:cNvSpPr/>
            <p:nvPr/>
          </p:nvSpPr>
          <p:spPr bwMode="auto">
            <a:xfrm>
              <a:off x="3102919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îşľiḓê">
              <a:extLst>
                <a:ext uri="{FF2B5EF4-FFF2-40B4-BE49-F238E27FC236}">
                  <a16:creationId xmlns:a16="http://schemas.microsoft.com/office/drawing/2014/main" id="{9C8910BE-13AE-4E70-8645-514D1B8AF024}"/>
                </a:ext>
              </a:extLst>
            </p:cNvPr>
            <p:cNvSpPr/>
            <p:nvPr/>
          </p:nvSpPr>
          <p:spPr bwMode="auto">
            <a:xfrm>
              <a:off x="3323536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ïšḷîḑê">
              <a:extLst>
                <a:ext uri="{FF2B5EF4-FFF2-40B4-BE49-F238E27FC236}">
                  <a16:creationId xmlns:a16="http://schemas.microsoft.com/office/drawing/2014/main" id="{C5170B78-C33A-49C3-9C6B-0106003E9894}"/>
                </a:ext>
              </a:extLst>
            </p:cNvPr>
            <p:cNvSpPr/>
            <p:nvPr/>
          </p:nvSpPr>
          <p:spPr bwMode="auto">
            <a:xfrm>
              <a:off x="3323536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íṧ1îḍé">
              <a:extLst>
                <a:ext uri="{FF2B5EF4-FFF2-40B4-BE49-F238E27FC236}">
                  <a16:creationId xmlns:a16="http://schemas.microsoft.com/office/drawing/2014/main" id="{3C1D6762-7680-41EA-A14E-FAAD08C26603}"/>
                </a:ext>
              </a:extLst>
            </p:cNvPr>
            <p:cNvSpPr/>
            <p:nvPr/>
          </p:nvSpPr>
          <p:spPr bwMode="auto">
            <a:xfrm>
              <a:off x="3542748" y="3025009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iṩļîḋe">
              <a:extLst>
                <a:ext uri="{FF2B5EF4-FFF2-40B4-BE49-F238E27FC236}">
                  <a16:creationId xmlns:a16="http://schemas.microsoft.com/office/drawing/2014/main" id="{5F81EC06-D7CE-4A64-B55C-F370CBC35D30}"/>
                </a:ext>
              </a:extLst>
            </p:cNvPr>
            <p:cNvSpPr/>
            <p:nvPr/>
          </p:nvSpPr>
          <p:spPr bwMode="auto">
            <a:xfrm>
              <a:off x="3542748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iṧḷíḍè">
              <a:extLst>
                <a:ext uri="{FF2B5EF4-FFF2-40B4-BE49-F238E27FC236}">
                  <a16:creationId xmlns:a16="http://schemas.microsoft.com/office/drawing/2014/main" id="{E2A54D34-AB32-4A6C-9484-5033DDE5F463}"/>
                </a:ext>
              </a:extLst>
            </p:cNvPr>
            <p:cNvSpPr/>
            <p:nvPr/>
          </p:nvSpPr>
          <p:spPr bwMode="auto">
            <a:xfrm>
              <a:off x="3763364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ïṥḷíḓe">
              <a:extLst>
                <a:ext uri="{FF2B5EF4-FFF2-40B4-BE49-F238E27FC236}">
                  <a16:creationId xmlns:a16="http://schemas.microsoft.com/office/drawing/2014/main" id="{F28E1F30-E7F7-422B-9211-5D8676975F90}"/>
                </a:ext>
              </a:extLst>
            </p:cNvPr>
            <p:cNvSpPr/>
            <p:nvPr/>
          </p:nvSpPr>
          <p:spPr bwMode="auto">
            <a:xfrm>
              <a:off x="3763364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ṩľiďé">
              <a:extLst>
                <a:ext uri="{FF2B5EF4-FFF2-40B4-BE49-F238E27FC236}">
                  <a16:creationId xmlns:a16="http://schemas.microsoft.com/office/drawing/2014/main" id="{7228E15C-AE9E-4AEC-B267-08A6F92CDBB9}"/>
                </a:ext>
              </a:extLst>
            </p:cNvPr>
            <p:cNvSpPr/>
            <p:nvPr/>
          </p:nvSpPr>
          <p:spPr bwMode="auto">
            <a:xfrm>
              <a:off x="3981171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ïşḷiḑe">
              <a:extLst>
                <a:ext uri="{FF2B5EF4-FFF2-40B4-BE49-F238E27FC236}">
                  <a16:creationId xmlns:a16="http://schemas.microsoft.com/office/drawing/2014/main" id="{98D30BA5-80FB-4245-A6FB-362DFFE4BB54}"/>
                </a:ext>
              </a:extLst>
            </p:cNvPr>
            <p:cNvSpPr/>
            <p:nvPr/>
          </p:nvSpPr>
          <p:spPr bwMode="auto">
            <a:xfrm>
              <a:off x="3981171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ṩlíḓe">
              <a:extLst>
                <a:ext uri="{FF2B5EF4-FFF2-40B4-BE49-F238E27FC236}">
                  <a16:creationId xmlns:a16="http://schemas.microsoft.com/office/drawing/2014/main" id="{67F4C899-8263-4087-821F-69AB466087E0}"/>
                </a:ext>
              </a:extLst>
            </p:cNvPr>
            <p:cNvSpPr/>
            <p:nvPr/>
          </p:nvSpPr>
          <p:spPr bwMode="auto">
            <a:xfrm>
              <a:off x="4201787" y="3025009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iSḷídê">
              <a:extLst>
                <a:ext uri="{FF2B5EF4-FFF2-40B4-BE49-F238E27FC236}">
                  <a16:creationId xmlns:a16="http://schemas.microsoft.com/office/drawing/2014/main" id="{1B757D26-B399-4ECE-8A57-FD411B2E36D9}"/>
                </a:ext>
              </a:extLst>
            </p:cNvPr>
            <p:cNvSpPr/>
            <p:nvPr/>
          </p:nvSpPr>
          <p:spPr bwMode="auto">
            <a:xfrm>
              <a:off x="4201787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iṡľiḓe">
              <a:extLst>
                <a:ext uri="{FF2B5EF4-FFF2-40B4-BE49-F238E27FC236}">
                  <a16:creationId xmlns:a16="http://schemas.microsoft.com/office/drawing/2014/main" id="{9555BF6D-A081-43A8-A04B-297525D9D23B}"/>
                </a:ext>
              </a:extLst>
            </p:cNvPr>
            <p:cNvSpPr/>
            <p:nvPr/>
          </p:nvSpPr>
          <p:spPr bwMode="auto">
            <a:xfrm>
              <a:off x="4420999" y="3025009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iSḻïdê">
              <a:extLst>
                <a:ext uri="{FF2B5EF4-FFF2-40B4-BE49-F238E27FC236}">
                  <a16:creationId xmlns:a16="http://schemas.microsoft.com/office/drawing/2014/main" id="{4F7D0070-7C64-46CE-B8C6-82F232321D45}"/>
                </a:ext>
              </a:extLst>
            </p:cNvPr>
            <p:cNvSpPr/>
            <p:nvPr/>
          </p:nvSpPr>
          <p:spPr bwMode="auto">
            <a:xfrm>
              <a:off x="4420999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iṧļïḓè">
              <a:extLst>
                <a:ext uri="{FF2B5EF4-FFF2-40B4-BE49-F238E27FC236}">
                  <a16:creationId xmlns:a16="http://schemas.microsoft.com/office/drawing/2014/main" id="{DD8F4EF8-79C8-4FF1-8A8C-A679AEBE4E50}"/>
                </a:ext>
              </a:extLst>
            </p:cNvPr>
            <p:cNvSpPr/>
            <p:nvPr/>
          </p:nvSpPr>
          <p:spPr bwMode="auto">
            <a:xfrm>
              <a:off x="4640211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íSlîdê">
              <a:extLst>
                <a:ext uri="{FF2B5EF4-FFF2-40B4-BE49-F238E27FC236}">
                  <a16:creationId xmlns:a16="http://schemas.microsoft.com/office/drawing/2014/main" id="{A7FF3699-D8D9-4456-91C9-02263C3E7919}"/>
                </a:ext>
              </a:extLst>
            </p:cNvPr>
            <p:cNvSpPr/>
            <p:nvPr/>
          </p:nvSpPr>
          <p:spPr bwMode="auto">
            <a:xfrm>
              <a:off x="4640211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íṥḷîḋê">
              <a:extLst>
                <a:ext uri="{FF2B5EF4-FFF2-40B4-BE49-F238E27FC236}">
                  <a16:creationId xmlns:a16="http://schemas.microsoft.com/office/drawing/2014/main" id="{FC7A1C68-6BD7-469A-A751-2A38C735B7A8}"/>
                </a:ext>
              </a:extLst>
            </p:cNvPr>
            <p:cNvSpPr/>
            <p:nvPr/>
          </p:nvSpPr>
          <p:spPr bwMode="auto">
            <a:xfrm>
              <a:off x="4860828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ísľídè">
              <a:extLst>
                <a:ext uri="{FF2B5EF4-FFF2-40B4-BE49-F238E27FC236}">
                  <a16:creationId xmlns:a16="http://schemas.microsoft.com/office/drawing/2014/main" id="{304DEBB4-E426-4F2B-8856-E2A42A4B3DAC}"/>
                </a:ext>
              </a:extLst>
            </p:cNvPr>
            <p:cNvSpPr/>
            <p:nvPr/>
          </p:nvSpPr>
          <p:spPr bwMode="auto">
            <a:xfrm>
              <a:off x="4860828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iṣlîďé">
              <a:extLst>
                <a:ext uri="{FF2B5EF4-FFF2-40B4-BE49-F238E27FC236}">
                  <a16:creationId xmlns:a16="http://schemas.microsoft.com/office/drawing/2014/main" id="{9527F212-49CB-459F-9C9F-E08F861B4835}"/>
                </a:ext>
              </a:extLst>
            </p:cNvPr>
            <p:cNvSpPr/>
            <p:nvPr/>
          </p:nvSpPr>
          <p:spPr bwMode="auto">
            <a:xfrm>
              <a:off x="5080039" y="3025009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íṥľidê">
              <a:extLst>
                <a:ext uri="{FF2B5EF4-FFF2-40B4-BE49-F238E27FC236}">
                  <a16:creationId xmlns:a16="http://schemas.microsoft.com/office/drawing/2014/main" id="{4900D900-30F9-4853-9073-B6111A392C29}"/>
                </a:ext>
              </a:extLst>
            </p:cNvPr>
            <p:cNvSpPr/>
            <p:nvPr/>
          </p:nvSpPr>
          <p:spPr bwMode="auto">
            <a:xfrm>
              <a:off x="5080039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í$lîde">
              <a:extLst>
                <a:ext uri="{FF2B5EF4-FFF2-40B4-BE49-F238E27FC236}">
                  <a16:creationId xmlns:a16="http://schemas.microsoft.com/office/drawing/2014/main" id="{F221A06E-42A8-4488-93E9-AFF02B474CC5}"/>
                </a:ext>
              </a:extLst>
            </p:cNvPr>
            <p:cNvSpPr/>
            <p:nvPr/>
          </p:nvSpPr>
          <p:spPr bwMode="auto">
            <a:xfrm>
              <a:off x="5299251" y="3025009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îṥlîďe">
              <a:extLst>
                <a:ext uri="{FF2B5EF4-FFF2-40B4-BE49-F238E27FC236}">
                  <a16:creationId xmlns:a16="http://schemas.microsoft.com/office/drawing/2014/main" id="{D88DB0B4-C308-4A48-B843-6189363018C0}"/>
                </a:ext>
              </a:extLst>
            </p:cNvPr>
            <p:cNvSpPr/>
            <p:nvPr/>
          </p:nvSpPr>
          <p:spPr bwMode="auto">
            <a:xfrm>
              <a:off x="5518463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iṩḷiḍe">
              <a:extLst>
                <a:ext uri="{FF2B5EF4-FFF2-40B4-BE49-F238E27FC236}">
                  <a16:creationId xmlns:a16="http://schemas.microsoft.com/office/drawing/2014/main" id="{0C1AD85F-085C-4CE0-B905-3CB12BD8FAD0}"/>
                </a:ext>
              </a:extLst>
            </p:cNvPr>
            <p:cNvSpPr/>
            <p:nvPr/>
          </p:nvSpPr>
          <p:spPr bwMode="auto">
            <a:xfrm>
              <a:off x="5518463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îṣḷiḑe">
              <a:extLst>
                <a:ext uri="{FF2B5EF4-FFF2-40B4-BE49-F238E27FC236}">
                  <a16:creationId xmlns:a16="http://schemas.microsoft.com/office/drawing/2014/main" id="{EA588D8A-E781-4383-BD7A-5439E5C7AA61}"/>
                </a:ext>
              </a:extLst>
            </p:cNvPr>
            <p:cNvSpPr/>
            <p:nvPr/>
          </p:nvSpPr>
          <p:spPr bwMode="auto">
            <a:xfrm>
              <a:off x="5739079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iṣ1îḋé">
              <a:extLst>
                <a:ext uri="{FF2B5EF4-FFF2-40B4-BE49-F238E27FC236}">
                  <a16:creationId xmlns:a16="http://schemas.microsoft.com/office/drawing/2014/main" id="{F86AC8B2-AC05-4719-9FEF-4A00C14739E6}"/>
                </a:ext>
              </a:extLst>
            </p:cNvPr>
            <p:cNvSpPr/>
            <p:nvPr/>
          </p:nvSpPr>
          <p:spPr bwMode="auto">
            <a:xfrm>
              <a:off x="5958291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sľïdê">
              <a:extLst>
                <a:ext uri="{FF2B5EF4-FFF2-40B4-BE49-F238E27FC236}">
                  <a16:creationId xmlns:a16="http://schemas.microsoft.com/office/drawing/2014/main" id="{C3E65DEB-404B-4739-B9C2-46CB481B426A}"/>
                </a:ext>
              </a:extLst>
            </p:cNvPr>
            <p:cNvSpPr/>
            <p:nvPr/>
          </p:nvSpPr>
          <p:spPr bwMode="auto">
            <a:xfrm>
              <a:off x="6178908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îşḻíḓé">
              <a:extLst>
                <a:ext uri="{FF2B5EF4-FFF2-40B4-BE49-F238E27FC236}">
                  <a16:creationId xmlns:a16="http://schemas.microsoft.com/office/drawing/2014/main" id="{FBFF3650-987D-4CA7-BD41-591D2C6070E8}"/>
                </a:ext>
              </a:extLst>
            </p:cNvPr>
            <p:cNvSpPr/>
            <p:nvPr/>
          </p:nvSpPr>
          <p:spPr bwMode="auto">
            <a:xfrm>
              <a:off x="6398120" y="3025009"/>
              <a:ext cx="26699" cy="42156"/>
            </a:xfrm>
            <a:custGeom>
              <a:avLst/>
              <a:gdLst>
                <a:gd name="T0" fmla="*/ 17 w 17"/>
                <a:gd name="T1" fmla="*/ 0 h 27"/>
                <a:gd name="T2" fmla="*/ 0 w 17"/>
                <a:gd name="T3" fmla="*/ 0 h 27"/>
                <a:gd name="T4" fmla="*/ 0 w 17"/>
                <a:gd name="T5" fmla="*/ 27 h 27"/>
                <a:gd name="T6" fmla="*/ 17 w 17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7">
                  <a:moveTo>
                    <a:pt x="1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17"/>
                    <a:pt x="10" y="8"/>
                    <a:pt x="17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iŝḷiḍè">
              <a:extLst>
                <a:ext uri="{FF2B5EF4-FFF2-40B4-BE49-F238E27FC236}">
                  <a16:creationId xmlns:a16="http://schemas.microsoft.com/office/drawing/2014/main" id="{343BBEFE-C0EC-4603-A0D3-127CD3B402B9}"/>
                </a:ext>
              </a:extLst>
            </p:cNvPr>
            <p:cNvSpPr/>
            <p:nvPr/>
          </p:nvSpPr>
          <p:spPr bwMode="auto">
            <a:xfrm>
              <a:off x="6618736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îslíḓè">
              <a:extLst>
                <a:ext uri="{FF2B5EF4-FFF2-40B4-BE49-F238E27FC236}">
                  <a16:creationId xmlns:a16="http://schemas.microsoft.com/office/drawing/2014/main" id="{3D192DE6-F933-45B0-8119-D191AB29AB8F}"/>
                </a:ext>
              </a:extLst>
            </p:cNvPr>
            <p:cNvSpPr/>
            <p:nvPr/>
          </p:nvSpPr>
          <p:spPr bwMode="auto">
            <a:xfrm>
              <a:off x="6618736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iṡļiḑè">
              <a:extLst>
                <a:ext uri="{FF2B5EF4-FFF2-40B4-BE49-F238E27FC236}">
                  <a16:creationId xmlns:a16="http://schemas.microsoft.com/office/drawing/2014/main" id="{35988563-73FE-4D19-AEBB-7816F30BEBFA}"/>
                </a:ext>
              </a:extLst>
            </p:cNvPr>
            <p:cNvSpPr/>
            <p:nvPr/>
          </p:nvSpPr>
          <p:spPr bwMode="auto">
            <a:xfrm>
              <a:off x="7548980" y="3025009"/>
              <a:ext cx="108201" cy="160193"/>
            </a:xfrm>
            <a:custGeom>
              <a:avLst/>
              <a:gdLst>
                <a:gd name="T0" fmla="*/ 69 w 69"/>
                <a:gd name="T1" fmla="*/ 0 h 102"/>
                <a:gd name="T2" fmla="*/ 14 w 69"/>
                <a:gd name="T3" fmla="*/ 0 h 102"/>
                <a:gd name="T4" fmla="*/ 11 w 69"/>
                <a:gd name="T5" fmla="*/ 47 h 102"/>
                <a:gd name="T6" fmla="*/ 0 w 69"/>
                <a:gd name="T7" fmla="*/ 102 h 102"/>
                <a:gd name="T8" fmla="*/ 69 w 69"/>
                <a:gd name="T9" fmla="*/ 102 h 102"/>
                <a:gd name="T10" fmla="*/ 69 w 69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102">
                  <a:moveTo>
                    <a:pt x="6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16"/>
                    <a:pt x="13" y="31"/>
                    <a:pt x="11" y="47"/>
                  </a:cubicBezTo>
                  <a:cubicBezTo>
                    <a:pt x="9" y="65"/>
                    <a:pt x="6" y="84"/>
                    <a:pt x="0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0"/>
                    <a:pt x="69" y="0"/>
                    <a:pt x="69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ïSlîďê">
              <a:extLst>
                <a:ext uri="{FF2B5EF4-FFF2-40B4-BE49-F238E27FC236}">
                  <a16:creationId xmlns:a16="http://schemas.microsoft.com/office/drawing/2014/main" id="{7CCA0A25-EE6F-43ED-B23B-17F1EF812172}"/>
                </a:ext>
              </a:extLst>
            </p:cNvPr>
            <p:cNvSpPr/>
            <p:nvPr/>
          </p:nvSpPr>
          <p:spPr bwMode="auto">
            <a:xfrm>
              <a:off x="7716200" y="3025009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ïṡlïḑè">
              <a:extLst>
                <a:ext uri="{FF2B5EF4-FFF2-40B4-BE49-F238E27FC236}">
                  <a16:creationId xmlns:a16="http://schemas.microsoft.com/office/drawing/2014/main" id="{EC74103A-44FC-4ED8-A5D7-72BFD2CFDAA5}"/>
                </a:ext>
              </a:extLst>
            </p:cNvPr>
            <p:cNvSpPr/>
            <p:nvPr/>
          </p:nvSpPr>
          <p:spPr bwMode="auto">
            <a:xfrm>
              <a:off x="7716200" y="3025009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isḻíďê">
              <a:extLst>
                <a:ext uri="{FF2B5EF4-FFF2-40B4-BE49-F238E27FC236}">
                  <a16:creationId xmlns:a16="http://schemas.microsoft.com/office/drawing/2014/main" id="{3DF36BE3-A05C-4ED3-AB29-DCACD49A8F8B}"/>
                </a:ext>
              </a:extLst>
            </p:cNvPr>
            <p:cNvSpPr/>
            <p:nvPr/>
          </p:nvSpPr>
          <p:spPr bwMode="auto">
            <a:xfrm>
              <a:off x="7934006" y="3025009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íşlîďe">
              <a:extLst>
                <a:ext uri="{FF2B5EF4-FFF2-40B4-BE49-F238E27FC236}">
                  <a16:creationId xmlns:a16="http://schemas.microsoft.com/office/drawing/2014/main" id="{51C48EBE-D320-43AB-9E5C-9CC6A21838AE}"/>
                </a:ext>
              </a:extLst>
            </p:cNvPr>
            <p:cNvSpPr/>
            <p:nvPr/>
          </p:nvSpPr>
          <p:spPr bwMode="auto">
            <a:xfrm>
              <a:off x="7934006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íśľïḓê">
              <a:extLst>
                <a:ext uri="{FF2B5EF4-FFF2-40B4-BE49-F238E27FC236}">
                  <a16:creationId xmlns:a16="http://schemas.microsoft.com/office/drawing/2014/main" id="{44648177-7427-4A6C-A366-77A6C006ED55}"/>
                </a:ext>
              </a:extLst>
            </p:cNvPr>
            <p:cNvSpPr/>
            <p:nvPr/>
          </p:nvSpPr>
          <p:spPr bwMode="auto">
            <a:xfrm>
              <a:off x="8154623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íṥľîḍé">
              <a:extLst>
                <a:ext uri="{FF2B5EF4-FFF2-40B4-BE49-F238E27FC236}">
                  <a16:creationId xmlns:a16="http://schemas.microsoft.com/office/drawing/2014/main" id="{A38D6653-B1CF-4F53-81D7-A1944779D9FE}"/>
                </a:ext>
              </a:extLst>
            </p:cNvPr>
            <p:cNvSpPr/>
            <p:nvPr/>
          </p:nvSpPr>
          <p:spPr bwMode="auto">
            <a:xfrm>
              <a:off x="8154623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íṣḷïḋe">
              <a:extLst>
                <a:ext uri="{FF2B5EF4-FFF2-40B4-BE49-F238E27FC236}">
                  <a16:creationId xmlns:a16="http://schemas.microsoft.com/office/drawing/2014/main" id="{41FB54E3-CDB4-43B7-84CC-2B91C1E42EF2}"/>
                </a:ext>
              </a:extLst>
            </p:cNvPr>
            <p:cNvSpPr/>
            <p:nvPr/>
          </p:nvSpPr>
          <p:spPr bwMode="auto">
            <a:xfrm>
              <a:off x="8373834" y="3025009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išļïḋé">
              <a:extLst>
                <a:ext uri="{FF2B5EF4-FFF2-40B4-BE49-F238E27FC236}">
                  <a16:creationId xmlns:a16="http://schemas.microsoft.com/office/drawing/2014/main" id="{F06D6B9E-DC91-4F33-83E1-1264FC1822E8}"/>
                </a:ext>
              </a:extLst>
            </p:cNvPr>
            <p:cNvSpPr/>
            <p:nvPr/>
          </p:nvSpPr>
          <p:spPr bwMode="auto">
            <a:xfrm>
              <a:off x="8373834" y="3025009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îšļîḑé">
              <a:extLst>
                <a:ext uri="{FF2B5EF4-FFF2-40B4-BE49-F238E27FC236}">
                  <a16:creationId xmlns:a16="http://schemas.microsoft.com/office/drawing/2014/main" id="{9278168C-C7B8-4234-8CB3-C17A3D701614}"/>
                </a:ext>
              </a:extLst>
            </p:cNvPr>
            <p:cNvSpPr/>
            <p:nvPr/>
          </p:nvSpPr>
          <p:spPr bwMode="auto">
            <a:xfrm>
              <a:off x="8594451" y="3025009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íṡ1iḋé">
              <a:extLst>
                <a:ext uri="{FF2B5EF4-FFF2-40B4-BE49-F238E27FC236}">
                  <a16:creationId xmlns:a16="http://schemas.microsoft.com/office/drawing/2014/main" id="{6153D1D2-BAE1-42C3-90A3-CED874D92904}"/>
                </a:ext>
              </a:extLst>
            </p:cNvPr>
            <p:cNvSpPr/>
            <p:nvPr/>
          </p:nvSpPr>
          <p:spPr bwMode="auto">
            <a:xfrm>
              <a:off x="3102919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íṧļîḍe">
              <a:extLst>
                <a:ext uri="{FF2B5EF4-FFF2-40B4-BE49-F238E27FC236}">
                  <a16:creationId xmlns:a16="http://schemas.microsoft.com/office/drawing/2014/main" id="{D9958E94-A04E-43BD-8CB7-B5932F560BAE}"/>
                </a:ext>
              </a:extLst>
            </p:cNvPr>
            <p:cNvSpPr/>
            <p:nvPr/>
          </p:nvSpPr>
          <p:spPr bwMode="auto">
            <a:xfrm>
              <a:off x="310291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ïṥļiďè">
              <a:extLst>
                <a:ext uri="{FF2B5EF4-FFF2-40B4-BE49-F238E27FC236}">
                  <a16:creationId xmlns:a16="http://schemas.microsoft.com/office/drawing/2014/main" id="{FDC1D11D-24A7-4A84-860A-F7AB851363C4}"/>
                </a:ext>
              </a:extLst>
            </p:cNvPr>
            <p:cNvSpPr/>
            <p:nvPr/>
          </p:nvSpPr>
          <p:spPr bwMode="auto">
            <a:xfrm>
              <a:off x="3323536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iṣļiḍe">
              <a:extLst>
                <a:ext uri="{FF2B5EF4-FFF2-40B4-BE49-F238E27FC236}">
                  <a16:creationId xmlns:a16="http://schemas.microsoft.com/office/drawing/2014/main" id="{73090E8D-8B51-4856-BF74-5BA547686C5B}"/>
                </a:ext>
              </a:extLst>
            </p:cNvPr>
            <p:cNvSpPr/>
            <p:nvPr/>
          </p:nvSpPr>
          <p:spPr bwMode="auto">
            <a:xfrm>
              <a:off x="3323536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îŝ1ïḍê">
              <a:extLst>
                <a:ext uri="{FF2B5EF4-FFF2-40B4-BE49-F238E27FC236}">
                  <a16:creationId xmlns:a16="http://schemas.microsoft.com/office/drawing/2014/main" id="{0A91B156-E766-4910-A0DB-FD5BB9E0844A}"/>
                </a:ext>
              </a:extLst>
            </p:cNvPr>
            <p:cNvSpPr/>
            <p:nvPr/>
          </p:nvSpPr>
          <p:spPr bwMode="auto">
            <a:xfrm>
              <a:off x="3542748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iŝḻïḋe">
              <a:extLst>
                <a:ext uri="{FF2B5EF4-FFF2-40B4-BE49-F238E27FC236}">
                  <a16:creationId xmlns:a16="http://schemas.microsoft.com/office/drawing/2014/main" id="{AA0886CB-515A-4E87-A91A-904D0473B8B2}"/>
                </a:ext>
              </a:extLst>
            </p:cNvPr>
            <p:cNvSpPr/>
            <p:nvPr/>
          </p:nvSpPr>
          <p:spPr bwMode="auto">
            <a:xfrm>
              <a:off x="3542748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îśľiḍè">
              <a:extLst>
                <a:ext uri="{FF2B5EF4-FFF2-40B4-BE49-F238E27FC236}">
                  <a16:creationId xmlns:a16="http://schemas.microsoft.com/office/drawing/2014/main" id="{7823A2FA-1B4A-4133-AE0F-9DA85D5E3E72}"/>
                </a:ext>
              </a:extLst>
            </p:cNvPr>
            <p:cNvSpPr/>
            <p:nvPr/>
          </p:nvSpPr>
          <p:spPr bwMode="auto">
            <a:xfrm>
              <a:off x="3763364" y="3228763"/>
              <a:ext cx="160193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íŝľîḓé">
              <a:extLst>
                <a:ext uri="{FF2B5EF4-FFF2-40B4-BE49-F238E27FC236}">
                  <a16:creationId xmlns:a16="http://schemas.microsoft.com/office/drawing/2014/main" id="{C232F9F1-D364-4BF8-8B92-581A1202F4F8}"/>
                </a:ext>
              </a:extLst>
            </p:cNvPr>
            <p:cNvSpPr/>
            <p:nvPr/>
          </p:nvSpPr>
          <p:spPr bwMode="auto">
            <a:xfrm>
              <a:off x="3763364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ïśḻíḍê">
              <a:extLst>
                <a:ext uri="{FF2B5EF4-FFF2-40B4-BE49-F238E27FC236}">
                  <a16:creationId xmlns:a16="http://schemas.microsoft.com/office/drawing/2014/main" id="{BA8508ED-D8FC-43E7-8EC5-8276DD588E1E}"/>
                </a:ext>
              </a:extLst>
            </p:cNvPr>
            <p:cNvSpPr/>
            <p:nvPr/>
          </p:nvSpPr>
          <p:spPr bwMode="auto">
            <a:xfrm>
              <a:off x="3981170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ïsḻiḍè">
              <a:extLst>
                <a:ext uri="{FF2B5EF4-FFF2-40B4-BE49-F238E27FC236}">
                  <a16:creationId xmlns:a16="http://schemas.microsoft.com/office/drawing/2014/main" id="{6834BDE8-9B44-4E73-B0DB-2D28B63F051E}"/>
                </a:ext>
              </a:extLst>
            </p:cNvPr>
            <p:cNvSpPr/>
            <p:nvPr/>
          </p:nvSpPr>
          <p:spPr bwMode="auto">
            <a:xfrm>
              <a:off x="3981170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îṩľïḋê">
              <a:extLst>
                <a:ext uri="{FF2B5EF4-FFF2-40B4-BE49-F238E27FC236}">
                  <a16:creationId xmlns:a16="http://schemas.microsoft.com/office/drawing/2014/main" id="{22BBBBE6-295F-4413-ACC6-7F319A28D9AF}"/>
                </a:ext>
              </a:extLst>
            </p:cNvPr>
            <p:cNvSpPr/>
            <p:nvPr/>
          </p:nvSpPr>
          <p:spPr bwMode="auto">
            <a:xfrm>
              <a:off x="4201787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islíḑé">
              <a:extLst>
                <a:ext uri="{FF2B5EF4-FFF2-40B4-BE49-F238E27FC236}">
                  <a16:creationId xmlns:a16="http://schemas.microsoft.com/office/drawing/2014/main" id="{67429218-F8C9-4436-8800-41B575F489ED}"/>
                </a:ext>
              </a:extLst>
            </p:cNvPr>
            <p:cNvSpPr/>
            <p:nvPr/>
          </p:nvSpPr>
          <p:spPr bwMode="auto">
            <a:xfrm>
              <a:off x="4201787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ïs1iḓé">
              <a:extLst>
                <a:ext uri="{FF2B5EF4-FFF2-40B4-BE49-F238E27FC236}">
                  <a16:creationId xmlns:a16="http://schemas.microsoft.com/office/drawing/2014/main" id="{21279A1E-943E-4728-8F32-0A13B1472759}"/>
                </a:ext>
              </a:extLst>
            </p:cNvPr>
            <p:cNvSpPr/>
            <p:nvPr/>
          </p:nvSpPr>
          <p:spPr bwMode="auto">
            <a:xfrm>
              <a:off x="4420999" y="322876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îsḻíďe">
              <a:extLst>
                <a:ext uri="{FF2B5EF4-FFF2-40B4-BE49-F238E27FC236}">
                  <a16:creationId xmlns:a16="http://schemas.microsoft.com/office/drawing/2014/main" id="{EF809858-7CE6-45F9-B45A-C9779F525E16}"/>
                </a:ext>
              </a:extLst>
            </p:cNvPr>
            <p:cNvSpPr/>
            <p:nvPr/>
          </p:nvSpPr>
          <p:spPr bwMode="auto">
            <a:xfrm>
              <a:off x="442099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ïşliďe">
              <a:extLst>
                <a:ext uri="{FF2B5EF4-FFF2-40B4-BE49-F238E27FC236}">
                  <a16:creationId xmlns:a16="http://schemas.microsoft.com/office/drawing/2014/main" id="{555F0267-5112-4C7E-838C-6E59A7FB7BC8}"/>
                </a:ext>
              </a:extLst>
            </p:cNvPr>
            <p:cNvSpPr/>
            <p:nvPr/>
          </p:nvSpPr>
          <p:spPr bwMode="auto">
            <a:xfrm>
              <a:off x="4640211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iṥḻïḍe">
              <a:extLst>
                <a:ext uri="{FF2B5EF4-FFF2-40B4-BE49-F238E27FC236}">
                  <a16:creationId xmlns:a16="http://schemas.microsoft.com/office/drawing/2014/main" id="{6306AF14-391F-4067-A4E6-F16AE9E771F4}"/>
                </a:ext>
              </a:extLst>
            </p:cNvPr>
            <p:cNvSpPr/>
            <p:nvPr/>
          </p:nvSpPr>
          <p:spPr bwMode="auto">
            <a:xfrm>
              <a:off x="4640211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iṣľîḍé">
              <a:extLst>
                <a:ext uri="{FF2B5EF4-FFF2-40B4-BE49-F238E27FC236}">
                  <a16:creationId xmlns:a16="http://schemas.microsoft.com/office/drawing/2014/main" id="{C7D778FB-8E2E-47F8-AA1E-A71AC220ADD8}"/>
                </a:ext>
              </a:extLst>
            </p:cNvPr>
            <p:cNvSpPr/>
            <p:nvPr/>
          </p:nvSpPr>
          <p:spPr bwMode="auto">
            <a:xfrm>
              <a:off x="4860827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íṡļiḍè">
              <a:extLst>
                <a:ext uri="{FF2B5EF4-FFF2-40B4-BE49-F238E27FC236}">
                  <a16:creationId xmlns:a16="http://schemas.microsoft.com/office/drawing/2014/main" id="{8508EBDD-3425-4C56-AE12-B99E6E6088F1}"/>
                </a:ext>
              </a:extLst>
            </p:cNvPr>
            <p:cNvSpPr/>
            <p:nvPr/>
          </p:nvSpPr>
          <p:spPr bwMode="auto">
            <a:xfrm>
              <a:off x="4860827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ïṧľiḍè">
              <a:extLst>
                <a:ext uri="{FF2B5EF4-FFF2-40B4-BE49-F238E27FC236}">
                  <a16:creationId xmlns:a16="http://schemas.microsoft.com/office/drawing/2014/main" id="{09545389-1F61-432F-B9E0-990B415CCB88}"/>
                </a:ext>
              </a:extLst>
            </p:cNvPr>
            <p:cNvSpPr/>
            <p:nvPr/>
          </p:nvSpPr>
          <p:spPr bwMode="auto">
            <a:xfrm>
              <a:off x="5080039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îṡļíďè">
              <a:extLst>
                <a:ext uri="{FF2B5EF4-FFF2-40B4-BE49-F238E27FC236}">
                  <a16:creationId xmlns:a16="http://schemas.microsoft.com/office/drawing/2014/main" id="{9410C6B6-F948-4209-ACDF-F404FA3F59AB}"/>
                </a:ext>
              </a:extLst>
            </p:cNvPr>
            <p:cNvSpPr/>
            <p:nvPr/>
          </p:nvSpPr>
          <p:spPr bwMode="auto">
            <a:xfrm>
              <a:off x="508003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îSliḋe">
              <a:extLst>
                <a:ext uri="{FF2B5EF4-FFF2-40B4-BE49-F238E27FC236}">
                  <a16:creationId xmlns:a16="http://schemas.microsoft.com/office/drawing/2014/main" id="{ECA778FB-51B1-4D1E-AB4A-06B168FD2AD3}"/>
                </a:ext>
              </a:extLst>
            </p:cNvPr>
            <p:cNvSpPr/>
            <p:nvPr/>
          </p:nvSpPr>
          <p:spPr bwMode="auto">
            <a:xfrm>
              <a:off x="5299250" y="3228763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ïşḷide">
              <a:extLst>
                <a:ext uri="{FF2B5EF4-FFF2-40B4-BE49-F238E27FC236}">
                  <a16:creationId xmlns:a16="http://schemas.microsoft.com/office/drawing/2014/main" id="{87598C00-4357-4211-9341-39F2CD430A99}"/>
                </a:ext>
              </a:extLst>
            </p:cNvPr>
            <p:cNvSpPr/>
            <p:nvPr/>
          </p:nvSpPr>
          <p:spPr bwMode="auto">
            <a:xfrm>
              <a:off x="5518462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íSļiḓé">
              <a:extLst>
                <a:ext uri="{FF2B5EF4-FFF2-40B4-BE49-F238E27FC236}">
                  <a16:creationId xmlns:a16="http://schemas.microsoft.com/office/drawing/2014/main" id="{6ABDB83F-E86A-4701-A1F2-4C5F2C0F31F4}"/>
                </a:ext>
              </a:extLst>
            </p:cNvPr>
            <p:cNvSpPr/>
            <p:nvPr/>
          </p:nvSpPr>
          <p:spPr bwMode="auto">
            <a:xfrm>
              <a:off x="5518462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íŝļïḋe">
              <a:extLst>
                <a:ext uri="{FF2B5EF4-FFF2-40B4-BE49-F238E27FC236}">
                  <a16:creationId xmlns:a16="http://schemas.microsoft.com/office/drawing/2014/main" id="{7D2B52ED-759F-4F2A-8277-2D4523816B08}"/>
                </a:ext>
              </a:extLst>
            </p:cNvPr>
            <p:cNvSpPr/>
            <p:nvPr/>
          </p:nvSpPr>
          <p:spPr bwMode="auto">
            <a:xfrm>
              <a:off x="5739079" y="322876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îş1îḍe">
              <a:extLst>
                <a:ext uri="{FF2B5EF4-FFF2-40B4-BE49-F238E27FC236}">
                  <a16:creationId xmlns:a16="http://schemas.microsoft.com/office/drawing/2014/main" id="{C83B4896-0499-4DC6-A25A-3BF35279A0D2}"/>
                </a:ext>
              </a:extLst>
            </p:cNvPr>
            <p:cNvSpPr/>
            <p:nvPr/>
          </p:nvSpPr>
          <p:spPr bwMode="auto">
            <a:xfrm>
              <a:off x="5958291" y="322876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íŝḷiďè">
              <a:extLst>
                <a:ext uri="{FF2B5EF4-FFF2-40B4-BE49-F238E27FC236}">
                  <a16:creationId xmlns:a16="http://schemas.microsoft.com/office/drawing/2014/main" id="{37F09BEF-EBC4-437C-A93E-788461525AA1}"/>
                </a:ext>
              </a:extLst>
            </p:cNvPr>
            <p:cNvSpPr/>
            <p:nvPr/>
          </p:nvSpPr>
          <p:spPr bwMode="auto">
            <a:xfrm>
              <a:off x="6178907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íś1îḍè">
              <a:extLst>
                <a:ext uri="{FF2B5EF4-FFF2-40B4-BE49-F238E27FC236}">
                  <a16:creationId xmlns:a16="http://schemas.microsoft.com/office/drawing/2014/main" id="{F4B25911-5529-4DE2-A87E-C1CF60C9FFF8}"/>
                </a:ext>
              </a:extLst>
            </p:cNvPr>
            <p:cNvSpPr/>
            <p:nvPr/>
          </p:nvSpPr>
          <p:spPr bwMode="auto">
            <a:xfrm>
              <a:off x="6178907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îŝḷíďè">
              <a:extLst>
                <a:ext uri="{FF2B5EF4-FFF2-40B4-BE49-F238E27FC236}">
                  <a16:creationId xmlns:a16="http://schemas.microsoft.com/office/drawing/2014/main" id="{D0C77E0B-9B99-4C50-AFFC-54492256CF43}"/>
                </a:ext>
              </a:extLst>
            </p:cNvPr>
            <p:cNvSpPr/>
            <p:nvPr/>
          </p:nvSpPr>
          <p:spPr bwMode="auto">
            <a:xfrm>
              <a:off x="6398119" y="3228763"/>
              <a:ext cx="160193" cy="160193"/>
            </a:xfrm>
            <a:custGeom>
              <a:avLst/>
              <a:gdLst>
                <a:gd name="T0" fmla="*/ 13 w 102"/>
                <a:gd name="T1" fmla="*/ 0 h 102"/>
                <a:gd name="T2" fmla="*/ 0 w 102"/>
                <a:gd name="T3" fmla="*/ 0 h 102"/>
                <a:gd name="T4" fmla="*/ 0 w 102"/>
                <a:gd name="T5" fmla="*/ 102 h 102"/>
                <a:gd name="T6" fmla="*/ 102 w 102"/>
                <a:gd name="T7" fmla="*/ 102 h 102"/>
                <a:gd name="T8" fmla="*/ 102 w 102"/>
                <a:gd name="T9" fmla="*/ 73 h 102"/>
                <a:gd name="T10" fmla="*/ 20 w 102"/>
                <a:gd name="T11" fmla="*/ 12 h 102"/>
                <a:gd name="T12" fmla="*/ 13 w 102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2">
                  <a:moveTo>
                    <a:pt x="1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70" y="62"/>
                    <a:pt x="41" y="40"/>
                    <a:pt x="20" y="12"/>
                  </a:cubicBezTo>
                  <a:cubicBezTo>
                    <a:pt x="18" y="8"/>
                    <a:pt x="15" y="4"/>
                    <a:pt x="13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îṡļïďe">
              <a:extLst>
                <a:ext uri="{FF2B5EF4-FFF2-40B4-BE49-F238E27FC236}">
                  <a16:creationId xmlns:a16="http://schemas.microsoft.com/office/drawing/2014/main" id="{E7C67F2B-9D51-49B2-B030-C0B8D69719C0}"/>
                </a:ext>
              </a:extLst>
            </p:cNvPr>
            <p:cNvSpPr/>
            <p:nvPr/>
          </p:nvSpPr>
          <p:spPr bwMode="auto">
            <a:xfrm>
              <a:off x="7495582" y="3228763"/>
              <a:ext cx="161599" cy="160193"/>
            </a:xfrm>
            <a:custGeom>
              <a:avLst/>
              <a:gdLst>
                <a:gd name="T0" fmla="*/ 103 w 103"/>
                <a:gd name="T1" fmla="*/ 0 h 102"/>
                <a:gd name="T2" fmla="*/ 23 w 103"/>
                <a:gd name="T3" fmla="*/ 0 h 102"/>
                <a:gd name="T4" fmla="*/ 19 w 103"/>
                <a:gd name="T5" fmla="*/ 2 h 102"/>
                <a:gd name="T6" fmla="*/ 16 w 103"/>
                <a:gd name="T7" fmla="*/ 2 h 102"/>
                <a:gd name="T8" fmla="*/ 6 w 103"/>
                <a:gd name="T9" fmla="*/ 0 h 102"/>
                <a:gd name="T10" fmla="*/ 6 w 103"/>
                <a:gd name="T11" fmla="*/ 0 h 102"/>
                <a:gd name="T12" fmla="*/ 0 w 103"/>
                <a:gd name="T13" fmla="*/ 0 h 102"/>
                <a:gd name="T14" fmla="*/ 0 w 103"/>
                <a:gd name="T15" fmla="*/ 102 h 102"/>
                <a:gd name="T16" fmla="*/ 103 w 103"/>
                <a:gd name="T17" fmla="*/ 102 h 102"/>
                <a:gd name="T18" fmla="*/ 103 w 103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"/>
                    <a:pt x="20" y="2"/>
                    <a:pt x="19" y="2"/>
                  </a:cubicBezTo>
                  <a:cubicBezTo>
                    <a:pt x="18" y="2"/>
                    <a:pt x="17" y="2"/>
                    <a:pt x="16" y="2"/>
                  </a:cubicBezTo>
                  <a:cubicBezTo>
                    <a:pt x="12" y="2"/>
                    <a:pt x="9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03" y="102"/>
                    <a:pt x="103" y="102"/>
                    <a:pt x="103" y="102"/>
                  </a:cubicBezTo>
                  <a:cubicBezTo>
                    <a:pt x="103" y="0"/>
                    <a:pt x="103" y="0"/>
                    <a:pt x="103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îṧḻiḑè">
              <a:extLst>
                <a:ext uri="{FF2B5EF4-FFF2-40B4-BE49-F238E27FC236}">
                  <a16:creationId xmlns:a16="http://schemas.microsoft.com/office/drawing/2014/main" id="{8F6AD31D-815B-46D2-98E1-D8E5180C1112}"/>
                </a:ext>
              </a:extLst>
            </p:cNvPr>
            <p:cNvSpPr/>
            <p:nvPr/>
          </p:nvSpPr>
          <p:spPr bwMode="auto">
            <a:xfrm>
              <a:off x="7716199" y="322876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ï$ļîḑè">
              <a:extLst>
                <a:ext uri="{FF2B5EF4-FFF2-40B4-BE49-F238E27FC236}">
                  <a16:creationId xmlns:a16="http://schemas.microsoft.com/office/drawing/2014/main" id="{F08A8CDC-2DE2-40CE-9E83-3F43A1D4132F}"/>
                </a:ext>
              </a:extLst>
            </p:cNvPr>
            <p:cNvSpPr/>
            <p:nvPr/>
          </p:nvSpPr>
          <p:spPr bwMode="auto">
            <a:xfrm>
              <a:off x="7716199" y="322876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iś1iḓé">
              <a:extLst>
                <a:ext uri="{FF2B5EF4-FFF2-40B4-BE49-F238E27FC236}">
                  <a16:creationId xmlns:a16="http://schemas.microsoft.com/office/drawing/2014/main" id="{447F34A7-1AA5-4E20-B42A-B959CC8428A8}"/>
                </a:ext>
              </a:extLst>
            </p:cNvPr>
            <p:cNvSpPr/>
            <p:nvPr/>
          </p:nvSpPr>
          <p:spPr bwMode="auto">
            <a:xfrm>
              <a:off x="7934006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íşlidé">
              <a:extLst>
                <a:ext uri="{FF2B5EF4-FFF2-40B4-BE49-F238E27FC236}">
                  <a16:creationId xmlns:a16="http://schemas.microsoft.com/office/drawing/2014/main" id="{616278B8-D24B-4954-8331-B823C318C9EC}"/>
                </a:ext>
              </a:extLst>
            </p:cNvPr>
            <p:cNvSpPr/>
            <p:nvPr/>
          </p:nvSpPr>
          <p:spPr bwMode="auto">
            <a:xfrm>
              <a:off x="7934006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í$1îďê">
              <a:extLst>
                <a:ext uri="{FF2B5EF4-FFF2-40B4-BE49-F238E27FC236}">
                  <a16:creationId xmlns:a16="http://schemas.microsoft.com/office/drawing/2014/main" id="{9023135E-7F79-412C-A11E-DE4F3C69DC84}"/>
                </a:ext>
              </a:extLst>
            </p:cNvPr>
            <p:cNvSpPr/>
            <p:nvPr/>
          </p:nvSpPr>
          <p:spPr bwMode="auto">
            <a:xfrm>
              <a:off x="8154622" y="322876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îṥḻîḍe">
              <a:extLst>
                <a:ext uri="{FF2B5EF4-FFF2-40B4-BE49-F238E27FC236}">
                  <a16:creationId xmlns:a16="http://schemas.microsoft.com/office/drawing/2014/main" id="{19231D5E-C573-4C19-81BF-D1DD776EEFC7}"/>
                </a:ext>
              </a:extLst>
            </p:cNvPr>
            <p:cNvSpPr/>
            <p:nvPr/>
          </p:nvSpPr>
          <p:spPr bwMode="auto">
            <a:xfrm>
              <a:off x="8154622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îṩḷïḑe">
              <a:extLst>
                <a:ext uri="{FF2B5EF4-FFF2-40B4-BE49-F238E27FC236}">
                  <a16:creationId xmlns:a16="http://schemas.microsoft.com/office/drawing/2014/main" id="{5DCE13DA-43EE-4832-8697-33B0B55C2E02}"/>
                </a:ext>
              </a:extLst>
            </p:cNvPr>
            <p:cNvSpPr/>
            <p:nvPr/>
          </p:nvSpPr>
          <p:spPr bwMode="auto">
            <a:xfrm>
              <a:off x="8373834" y="3228763"/>
              <a:ext cx="161599" cy="160193"/>
            </a:xfrm>
            <a:prstGeom prst="rect">
              <a:avLst/>
            </a:prstGeom>
            <a:solidFill>
              <a:srgbClr val="B3C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ïS1íḋé">
              <a:extLst>
                <a:ext uri="{FF2B5EF4-FFF2-40B4-BE49-F238E27FC236}">
                  <a16:creationId xmlns:a16="http://schemas.microsoft.com/office/drawing/2014/main" id="{3A3276CE-9A60-4484-A1D6-6FAA98695AF6}"/>
                </a:ext>
              </a:extLst>
            </p:cNvPr>
            <p:cNvSpPr/>
            <p:nvPr/>
          </p:nvSpPr>
          <p:spPr bwMode="auto">
            <a:xfrm>
              <a:off x="8373834" y="322876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íṩļiḍê">
              <a:extLst>
                <a:ext uri="{FF2B5EF4-FFF2-40B4-BE49-F238E27FC236}">
                  <a16:creationId xmlns:a16="http://schemas.microsoft.com/office/drawing/2014/main" id="{1557B72E-51B4-4E42-BE56-654ECD9098BA}"/>
                </a:ext>
              </a:extLst>
            </p:cNvPr>
            <p:cNvSpPr/>
            <p:nvPr/>
          </p:nvSpPr>
          <p:spPr bwMode="auto">
            <a:xfrm>
              <a:off x="8594451" y="322876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ïṥḷíḑè">
              <a:extLst>
                <a:ext uri="{FF2B5EF4-FFF2-40B4-BE49-F238E27FC236}">
                  <a16:creationId xmlns:a16="http://schemas.microsoft.com/office/drawing/2014/main" id="{5545F125-149B-4013-AC18-2E2776D7ED5E}"/>
                </a:ext>
              </a:extLst>
            </p:cNvPr>
            <p:cNvSpPr/>
            <p:nvPr/>
          </p:nvSpPr>
          <p:spPr bwMode="auto">
            <a:xfrm>
              <a:off x="3102919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i$lîde">
              <a:extLst>
                <a:ext uri="{FF2B5EF4-FFF2-40B4-BE49-F238E27FC236}">
                  <a16:creationId xmlns:a16="http://schemas.microsoft.com/office/drawing/2014/main" id="{5BBCE6E2-2CD0-423D-AD8F-1FFFD80FD828}"/>
                </a:ext>
              </a:extLst>
            </p:cNvPr>
            <p:cNvSpPr/>
            <p:nvPr/>
          </p:nvSpPr>
          <p:spPr bwMode="auto">
            <a:xfrm>
              <a:off x="310291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íṥḻïḓè">
              <a:extLst>
                <a:ext uri="{FF2B5EF4-FFF2-40B4-BE49-F238E27FC236}">
                  <a16:creationId xmlns:a16="http://schemas.microsoft.com/office/drawing/2014/main" id="{575D4B95-DFA8-4110-8960-804E51614BC8}"/>
                </a:ext>
              </a:extLst>
            </p:cNvPr>
            <p:cNvSpPr/>
            <p:nvPr/>
          </p:nvSpPr>
          <p:spPr bwMode="auto">
            <a:xfrm>
              <a:off x="3323535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îṣľiḍe">
              <a:extLst>
                <a:ext uri="{FF2B5EF4-FFF2-40B4-BE49-F238E27FC236}">
                  <a16:creationId xmlns:a16="http://schemas.microsoft.com/office/drawing/2014/main" id="{35034308-3A6A-4BE5-865E-7EAB80AB2E5F}"/>
                </a:ext>
              </a:extLst>
            </p:cNvPr>
            <p:cNvSpPr/>
            <p:nvPr/>
          </p:nvSpPr>
          <p:spPr bwMode="auto">
            <a:xfrm>
              <a:off x="3323535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íS1îḍè">
              <a:extLst>
                <a:ext uri="{FF2B5EF4-FFF2-40B4-BE49-F238E27FC236}">
                  <a16:creationId xmlns:a16="http://schemas.microsoft.com/office/drawing/2014/main" id="{4FD26E9A-9208-44E0-BC6A-81694135248A}"/>
                </a:ext>
              </a:extLst>
            </p:cNvPr>
            <p:cNvSpPr/>
            <p:nvPr/>
          </p:nvSpPr>
          <p:spPr bwMode="auto">
            <a:xfrm>
              <a:off x="3542747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íṥ1ïḓê">
              <a:extLst>
                <a:ext uri="{FF2B5EF4-FFF2-40B4-BE49-F238E27FC236}">
                  <a16:creationId xmlns:a16="http://schemas.microsoft.com/office/drawing/2014/main" id="{A7EBE4B3-660F-499F-9E48-B7310D725296}"/>
                </a:ext>
              </a:extLst>
            </p:cNvPr>
            <p:cNvSpPr/>
            <p:nvPr/>
          </p:nvSpPr>
          <p:spPr bwMode="auto">
            <a:xfrm>
              <a:off x="3542747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í$ḷîḑè">
              <a:extLst>
                <a:ext uri="{FF2B5EF4-FFF2-40B4-BE49-F238E27FC236}">
                  <a16:creationId xmlns:a16="http://schemas.microsoft.com/office/drawing/2014/main" id="{7C32A6D1-32F9-477C-B2C1-4E6AC697F1DE}"/>
                </a:ext>
              </a:extLst>
            </p:cNvPr>
            <p:cNvSpPr/>
            <p:nvPr/>
          </p:nvSpPr>
          <p:spPr bwMode="auto">
            <a:xfrm>
              <a:off x="3763364" y="3431113"/>
              <a:ext cx="160193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ï$ḻïďé">
              <a:extLst>
                <a:ext uri="{FF2B5EF4-FFF2-40B4-BE49-F238E27FC236}">
                  <a16:creationId xmlns:a16="http://schemas.microsoft.com/office/drawing/2014/main" id="{99F8F6D3-CFC9-4D94-91A1-3F14C5B23C50}"/>
                </a:ext>
              </a:extLst>
            </p:cNvPr>
            <p:cNvSpPr/>
            <p:nvPr/>
          </p:nvSpPr>
          <p:spPr bwMode="auto">
            <a:xfrm>
              <a:off x="3763364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îṩḷíḋê">
              <a:extLst>
                <a:ext uri="{FF2B5EF4-FFF2-40B4-BE49-F238E27FC236}">
                  <a16:creationId xmlns:a16="http://schemas.microsoft.com/office/drawing/2014/main" id="{A50F2EC4-4C5C-4F2A-814F-1750F1E82AC2}"/>
                </a:ext>
              </a:extLst>
            </p:cNvPr>
            <p:cNvSpPr/>
            <p:nvPr/>
          </p:nvSpPr>
          <p:spPr bwMode="auto">
            <a:xfrm>
              <a:off x="3981170" y="3431113"/>
              <a:ext cx="161599" cy="160193"/>
            </a:xfrm>
            <a:prstGeom prst="rect">
              <a:avLst/>
            </a:prstGeom>
            <a:solidFill>
              <a:srgbClr val="7AA9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îṧlîḓé">
              <a:extLst>
                <a:ext uri="{FF2B5EF4-FFF2-40B4-BE49-F238E27FC236}">
                  <a16:creationId xmlns:a16="http://schemas.microsoft.com/office/drawing/2014/main" id="{6A24A96F-4F0E-4C7A-8CCD-4FFE6568B806}"/>
                </a:ext>
              </a:extLst>
            </p:cNvPr>
            <p:cNvSpPr/>
            <p:nvPr/>
          </p:nvSpPr>
          <p:spPr bwMode="auto">
            <a:xfrm>
              <a:off x="3981170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íṣḻïḋè">
              <a:extLst>
                <a:ext uri="{FF2B5EF4-FFF2-40B4-BE49-F238E27FC236}">
                  <a16:creationId xmlns:a16="http://schemas.microsoft.com/office/drawing/2014/main" id="{A4DEDE94-8650-4ED3-AEA4-42A61032E184}"/>
                </a:ext>
              </a:extLst>
            </p:cNvPr>
            <p:cNvSpPr/>
            <p:nvPr/>
          </p:nvSpPr>
          <p:spPr bwMode="auto">
            <a:xfrm>
              <a:off x="4201787" y="343111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iṩḷiḍè">
              <a:extLst>
                <a:ext uri="{FF2B5EF4-FFF2-40B4-BE49-F238E27FC236}">
                  <a16:creationId xmlns:a16="http://schemas.microsoft.com/office/drawing/2014/main" id="{06D3E177-3EC6-4F80-9ED6-BA348090BEE1}"/>
                </a:ext>
              </a:extLst>
            </p:cNvPr>
            <p:cNvSpPr/>
            <p:nvPr/>
          </p:nvSpPr>
          <p:spPr bwMode="auto">
            <a:xfrm>
              <a:off x="4201787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î$ḻide">
              <a:extLst>
                <a:ext uri="{FF2B5EF4-FFF2-40B4-BE49-F238E27FC236}">
                  <a16:creationId xmlns:a16="http://schemas.microsoft.com/office/drawing/2014/main" id="{6CBD4355-AAC3-4C16-8321-A6A07CCDD95A}"/>
                </a:ext>
              </a:extLst>
            </p:cNvPr>
            <p:cNvSpPr/>
            <p:nvPr/>
          </p:nvSpPr>
          <p:spPr bwMode="auto">
            <a:xfrm>
              <a:off x="4420999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iṥ1íďê">
              <a:extLst>
                <a:ext uri="{FF2B5EF4-FFF2-40B4-BE49-F238E27FC236}">
                  <a16:creationId xmlns:a16="http://schemas.microsoft.com/office/drawing/2014/main" id="{31F526B8-B7EB-46CB-8478-54214B5B4C85}"/>
                </a:ext>
              </a:extLst>
            </p:cNvPr>
            <p:cNvSpPr/>
            <p:nvPr/>
          </p:nvSpPr>
          <p:spPr bwMode="auto">
            <a:xfrm>
              <a:off x="442099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ïsliḍê">
              <a:extLst>
                <a:ext uri="{FF2B5EF4-FFF2-40B4-BE49-F238E27FC236}">
                  <a16:creationId xmlns:a16="http://schemas.microsoft.com/office/drawing/2014/main" id="{A052AD0D-4BB9-49C6-A5FB-9EC016710FDB}"/>
                </a:ext>
              </a:extLst>
            </p:cNvPr>
            <p:cNvSpPr/>
            <p:nvPr/>
          </p:nvSpPr>
          <p:spPr bwMode="auto">
            <a:xfrm>
              <a:off x="4640211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îšľiḋe">
              <a:extLst>
                <a:ext uri="{FF2B5EF4-FFF2-40B4-BE49-F238E27FC236}">
                  <a16:creationId xmlns:a16="http://schemas.microsoft.com/office/drawing/2014/main" id="{4507B0FB-F867-4DEA-A26C-8111343275A9}"/>
                </a:ext>
              </a:extLst>
            </p:cNvPr>
            <p:cNvSpPr/>
            <p:nvPr/>
          </p:nvSpPr>
          <p:spPr bwMode="auto">
            <a:xfrm>
              <a:off x="4640211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îSḻîďè">
              <a:extLst>
                <a:ext uri="{FF2B5EF4-FFF2-40B4-BE49-F238E27FC236}">
                  <a16:creationId xmlns:a16="http://schemas.microsoft.com/office/drawing/2014/main" id="{302297AB-9510-4A6F-AF01-DBDDD9CFDDA0}"/>
                </a:ext>
              </a:extLst>
            </p:cNvPr>
            <p:cNvSpPr/>
            <p:nvPr/>
          </p:nvSpPr>
          <p:spPr bwMode="auto">
            <a:xfrm>
              <a:off x="4860827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ïṣ1íḓe">
              <a:extLst>
                <a:ext uri="{FF2B5EF4-FFF2-40B4-BE49-F238E27FC236}">
                  <a16:creationId xmlns:a16="http://schemas.microsoft.com/office/drawing/2014/main" id="{915528C8-F8BC-490D-BB4C-0AE69B408473}"/>
                </a:ext>
              </a:extLst>
            </p:cNvPr>
            <p:cNvSpPr/>
            <p:nvPr/>
          </p:nvSpPr>
          <p:spPr bwMode="auto">
            <a:xfrm>
              <a:off x="4860827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ïṩḷiḍè">
              <a:extLst>
                <a:ext uri="{FF2B5EF4-FFF2-40B4-BE49-F238E27FC236}">
                  <a16:creationId xmlns:a16="http://schemas.microsoft.com/office/drawing/2014/main" id="{12F42376-974B-44A5-8F0C-B7E65107F180}"/>
                </a:ext>
              </a:extLst>
            </p:cNvPr>
            <p:cNvSpPr/>
            <p:nvPr/>
          </p:nvSpPr>
          <p:spPr bwMode="auto">
            <a:xfrm>
              <a:off x="5080039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íşḷïde">
              <a:extLst>
                <a:ext uri="{FF2B5EF4-FFF2-40B4-BE49-F238E27FC236}">
                  <a16:creationId xmlns:a16="http://schemas.microsoft.com/office/drawing/2014/main" id="{A21B6CB3-883D-429E-8F50-A493421A1608}"/>
                </a:ext>
              </a:extLst>
            </p:cNvPr>
            <p:cNvSpPr/>
            <p:nvPr/>
          </p:nvSpPr>
          <p:spPr bwMode="auto">
            <a:xfrm>
              <a:off x="508003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iṧ1îḍé">
              <a:extLst>
                <a:ext uri="{FF2B5EF4-FFF2-40B4-BE49-F238E27FC236}">
                  <a16:creationId xmlns:a16="http://schemas.microsoft.com/office/drawing/2014/main" id="{EF6B2676-1C3B-4EF4-AF33-9E03808B0700}"/>
                </a:ext>
              </a:extLst>
            </p:cNvPr>
            <p:cNvSpPr/>
            <p:nvPr/>
          </p:nvSpPr>
          <p:spPr bwMode="auto">
            <a:xfrm>
              <a:off x="5299250" y="343111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iśḻïḑe">
              <a:extLst>
                <a:ext uri="{FF2B5EF4-FFF2-40B4-BE49-F238E27FC236}">
                  <a16:creationId xmlns:a16="http://schemas.microsoft.com/office/drawing/2014/main" id="{8D49A7EE-C356-4FF8-9C5D-1B80C6C092CC}"/>
                </a:ext>
              </a:extLst>
            </p:cNvPr>
            <p:cNvSpPr/>
            <p:nvPr/>
          </p:nvSpPr>
          <p:spPr bwMode="auto">
            <a:xfrm>
              <a:off x="5299250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iṣļîḍè">
              <a:extLst>
                <a:ext uri="{FF2B5EF4-FFF2-40B4-BE49-F238E27FC236}">
                  <a16:creationId xmlns:a16="http://schemas.microsoft.com/office/drawing/2014/main" id="{8B8E0D2C-1FA7-47C1-A714-65BB35C1B476}"/>
                </a:ext>
              </a:extLst>
            </p:cNvPr>
            <p:cNvSpPr/>
            <p:nvPr/>
          </p:nvSpPr>
          <p:spPr bwMode="auto">
            <a:xfrm>
              <a:off x="5518462" y="3431113"/>
              <a:ext cx="161599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ïṥliḋê">
              <a:extLst>
                <a:ext uri="{FF2B5EF4-FFF2-40B4-BE49-F238E27FC236}">
                  <a16:creationId xmlns:a16="http://schemas.microsoft.com/office/drawing/2014/main" id="{BD27343C-9778-483D-A60A-4421F51B6481}"/>
                </a:ext>
              </a:extLst>
            </p:cNvPr>
            <p:cNvSpPr/>
            <p:nvPr/>
          </p:nvSpPr>
          <p:spPr bwMode="auto">
            <a:xfrm>
              <a:off x="5739079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íṣľiḓè">
              <a:extLst>
                <a:ext uri="{FF2B5EF4-FFF2-40B4-BE49-F238E27FC236}">
                  <a16:creationId xmlns:a16="http://schemas.microsoft.com/office/drawing/2014/main" id="{10B35049-93B4-4059-A15F-3A8289492BEC}"/>
                </a:ext>
              </a:extLst>
            </p:cNvPr>
            <p:cNvSpPr/>
            <p:nvPr/>
          </p:nvSpPr>
          <p:spPr bwMode="auto">
            <a:xfrm>
              <a:off x="5739079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íṣ1ïḋe">
              <a:extLst>
                <a:ext uri="{FF2B5EF4-FFF2-40B4-BE49-F238E27FC236}">
                  <a16:creationId xmlns:a16="http://schemas.microsoft.com/office/drawing/2014/main" id="{0FB9CBA9-02BC-49BF-AA47-719CD32D4B9C}"/>
                </a:ext>
              </a:extLst>
            </p:cNvPr>
            <p:cNvSpPr/>
            <p:nvPr/>
          </p:nvSpPr>
          <p:spPr bwMode="auto">
            <a:xfrm>
              <a:off x="5958291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í$1íḋè">
              <a:extLst>
                <a:ext uri="{FF2B5EF4-FFF2-40B4-BE49-F238E27FC236}">
                  <a16:creationId xmlns:a16="http://schemas.microsoft.com/office/drawing/2014/main" id="{21EFBC4D-EB88-4975-B4DE-CEF71382A9F9}"/>
                </a:ext>
              </a:extLst>
            </p:cNvPr>
            <p:cNvSpPr/>
            <p:nvPr/>
          </p:nvSpPr>
          <p:spPr bwMode="auto">
            <a:xfrm>
              <a:off x="5958291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işḻîďê">
              <a:extLst>
                <a:ext uri="{FF2B5EF4-FFF2-40B4-BE49-F238E27FC236}">
                  <a16:creationId xmlns:a16="http://schemas.microsoft.com/office/drawing/2014/main" id="{AEB099D6-9B4F-4F82-9ADE-BE31C6F03657}"/>
                </a:ext>
              </a:extLst>
            </p:cNvPr>
            <p:cNvSpPr/>
            <p:nvPr/>
          </p:nvSpPr>
          <p:spPr bwMode="auto">
            <a:xfrm>
              <a:off x="6178907" y="3431113"/>
              <a:ext cx="160193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ïṧļíďé">
              <a:extLst>
                <a:ext uri="{FF2B5EF4-FFF2-40B4-BE49-F238E27FC236}">
                  <a16:creationId xmlns:a16="http://schemas.microsoft.com/office/drawing/2014/main" id="{4B4F19AC-1C9A-40A2-802E-0D5CED8CAB74}"/>
                </a:ext>
              </a:extLst>
            </p:cNvPr>
            <p:cNvSpPr/>
            <p:nvPr/>
          </p:nvSpPr>
          <p:spPr bwMode="auto">
            <a:xfrm>
              <a:off x="6178907" y="3431113"/>
              <a:ext cx="160193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ïSļiḍê">
              <a:extLst>
                <a:ext uri="{FF2B5EF4-FFF2-40B4-BE49-F238E27FC236}">
                  <a16:creationId xmlns:a16="http://schemas.microsoft.com/office/drawing/2014/main" id="{DDF0AFBE-66DB-4C54-943B-137090FBA651}"/>
                </a:ext>
              </a:extLst>
            </p:cNvPr>
            <p:cNvSpPr/>
            <p:nvPr/>
          </p:nvSpPr>
          <p:spPr bwMode="auto">
            <a:xfrm>
              <a:off x="6398119" y="343111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iSļîḑê">
              <a:extLst>
                <a:ext uri="{FF2B5EF4-FFF2-40B4-BE49-F238E27FC236}">
                  <a16:creationId xmlns:a16="http://schemas.microsoft.com/office/drawing/2014/main" id="{98B9D9FC-E23A-44F9-A84D-38C126319C60}"/>
                </a:ext>
              </a:extLst>
            </p:cNvPr>
            <p:cNvSpPr/>
            <p:nvPr/>
          </p:nvSpPr>
          <p:spPr bwMode="auto">
            <a:xfrm>
              <a:off x="6618736" y="3525262"/>
              <a:ext cx="35131" cy="66045"/>
            </a:xfrm>
            <a:custGeom>
              <a:avLst/>
              <a:gdLst>
                <a:gd name="T0" fmla="*/ 0 w 23"/>
                <a:gd name="T1" fmla="*/ 0 h 42"/>
                <a:gd name="T2" fmla="*/ 0 w 23"/>
                <a:gd name="T3" fmla="*/ 42 h 42"/>
                <a:gd name="T4" fmla="*/ 23 w 23"/>
                <a:gd name="T5" fmla="*/ 42 h 42"/>
                <a:gd name="T6" fmla="*/ 0 w 23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0" y="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4" y="29"/>
                    <a:pt x="6" y="15"/>
                    <a:pt x="0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iślíḋe">
              <a:extLst>
                <a:ext uri="{FF2B5EF4-FFF2-40B4-BE49-F238E27FC236}">
                  <a16:creationId xmlns:a16="http://schemas.microsoft.com/office/drawing/2014/main" id="{6D3A5B49-D787-4D5A-96A7-1BA66E720B65}"/>
                </a:ext>
              </a:extLst>
            </p:cNvPr>
            <p:cNvSpPr/>
            <p:nvPr/>
          </p:nvSpPr>
          <p:spPr bwMode="auto">
            <a:xfrm>
              <a:off x="7523686" y="3431113"/>
              <a:ext cx="133495" cy="15458"/>
            </a:xfrm>
            <a:custGeom>
              <a:avLst/>
              <a:gdLst>
                <a:gd name="T0" fmla="*/ 85 w 85"/>
                <a:gd name="T1" fmla="*/ 0 h 10"/>
                <a:gd name="T2" fmla="*/ 0 w 85"/>
                <a:gd name="T3" fmla="*/ 0 h 10"/>
                <a:gd name="T4" fmla="*/ 5 w 85"/>
                <a:gd name="T5" fmla="*/ 6 h 10"/>
                <a:gd name="T6" fmla="*/ 6 w 85"/>
                <a:gd name="T7" fmla="*/ 6 h 10"/>
                <a:gd name="T8" fmla="*/ 33 w 85"/>
                <a:gd name="T9" fmla="*/ 10 h 10"/>
                <a:gd name="T10" fmla="*/ 44 w 85"/>
                <a:gd name="T11" fmla="*/ 8 h 10"/>
                <a:gd name="T12" fmla="*/ 80 w 85"/>
                <a:gd name="T13" fmla="*/ 2 h 10"/>
                <a:gd name="T14" fmla="*/ 85 w 85"/>
                <a:gd name="T15" fmla="*/ 2 h 10"/>
                <a:gd name="T16" fmla="*/ 85 w 85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0">
                  <a:moveTo>
                    <a:pt x="8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4" y="4"/>
                    <a:pt x="5" y="6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15" y="8"/>
                    <a:pt x="25" y="10"/>
                    <a:pt x="33" y="10"/>
                  </a:cubicBezTo>
                  <a:cubicBezTo>
                    <a:pt x="38" y="10"/>
                    <a:pt x="41" y="9"/>
                    <a:pt x="44" y="8"/>
                  </a:cubicBezTo>
                  <a:cubicBezTo>
                    <a:pt x="56" y="4"/>
                    <a:pt x="68" y="2"/>
                    <a:pt x="80" y="2"/>
                  </a:cubicBezTo>
                  <a:cubicBezTo>
                    <a:pt x="82" y="2"/>
                    <a:pt x="83" y="2"/>
                    <a:pt x="85" y="2"/>
                  </a:cubicBezTo>
                  <a:cubicBezTo>
                    <a:pt x="85" y="0"/>
                    <a:pt x="85" y="0"/>
                    <a:pt x="85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iṩľïďè">
              <a:extLst>
                <a:ext uri="{FF2B5EF4-FFF2-40B4-BE49-F238E27FC236}">
                  <a16:creationId xmlns:a16="http://schemas.microsoft.com/office/drawing/2014/main" id="{5B829DB1-D0AF-489F-B825-C5C0DE751214}"/>
                </a:ext>
              </a:extLst>
            </p:cNvPr>
            <p:cNvSpPr/>
            <p:nvPr/>
          </p:nvSpPr>
          <p:spPr bwMode="auto">
            <a:xfrm>
              <a:off x="7716199" y="3431113"/>
              <a:ext cx="160193" cy="36535"/>
            </a:xfrm>
            <a:custGeom>
              <a:avLst/>
              <a:gdLst>
                <a:gd name="T0" fmla="*/ 102 w 102"/>
                <a:gd name="T1" fmla="*/ 0 h 23"/>
                <a:gd name="T2" fmla="*/ 0 w 102"/>
                <a:gd name="T3" fmla="*/ 0 h 23"/>
                <a:gd name="T4" fmla="*/ 0 w 102"/>
                <a:gd name="T5" fmla="*/ 7 h 23"/>
                <a:gd name="T6" fmla="*/ 26 w 102"/>
                <a:gd name="T7" fmla="*/ 15 h 23"/>
                <a:gd name="T8" fmla="*/ 81 w 102"/>
                <a:gd name="T9" fmla="*/ 23 h 23"/>
                <a:gd name="T10" fmla="*/ 102 w 102"/>
                <a:gd name="T11" fmla="*/ 23 h 23"/>
                <a:gd name="T12" fmla="*/ 102 w 102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23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9" y="10"/>
                    <a:pt x="18" y="12"/>
                    <a:pt x="26" y="15"/>
                  </a:cubicBezTo>
                  <a:cubicBezTo>
                    <a:pt x="43" y="22"/>
                    <a:pt x="62" y="22"/>
                    <a:pt x="81" y="23"/>
                  </a:cubicBezTo>
                  <a:cubicBezTo>
                    <a:pt x="88" y="23"/>
                    <a:pt x="95" y="23"/>
                    <a:pt x="102" y="23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ïŝḷíḋê">
              <a:extLst>
                <a:ext uri="{FF2B5EF4-FFF2-40B4-BE49-F238E27FC236}">
                  <a16:creationId xmlns:a16="http://schemas.microsoft.com/office/drawing/2014/main" id="{46DC214A-0AE9-4E18-849F-066365A74FD0}"/>
                </a:ext>
              </a:extLst>
            </p:cNvPr>
            <p:cNvSpPr/>
            <p:nvPr/>
          </p:nvSpPr>
          <p:spPr bwMode="auto">
            <a:xfrm>
              <a:off x="7934006" y="3431113"/>
              <a:ext cx="161599" cy="37941"/>
            </a:xfrm>
            <a:custGeom>
              <a:avLst/>
              <a:gdLst>
                <a:gd name="T0" fmla="*/ 102 w 102"/>
                <a:gd name="T1" fmla="*/ 0 h 24"/>
                <a:gd name="T2" fmla="*/ 0 w 102"/>
                <a:gd name="T3" fmla="*/ 0 h 24"/>
                <a:gd name="T4" fmla="*/ 0 w 102"/>
                <a:gd name="T5" fmla="*/ 24 h 24"/>
                <a:gd name="T6" fmla="*/ 51 w 102"/>
                <a:gd name="T7" fmla="*/ 20 h 24"/>
                <a:gd name="T8" fmla="*/ 94 w 102"/>
                <a:gd name="T9" fmla="*/ 16 h 24"/>
                <a:gd name="T10" fmla="*/ 100 w 102"/>
                <a:gd name="T11" fmla="*/ 16 h 24"/>
                <a:gd name="T12" fmla="*/ 102 w 102"/>
                <a:gd name="T13" fmla="*/ 16 h 24"/>
                <a:gd name="T14" fmla="*/ 102 w 102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4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7" y="23"/>
                    <a:pt x="34" y="22"/>
                    <a:pt x="51" y="20"/>
                  </a:cubicBezTo>
                  <a:cubicBezTo>
                    <a:pt x="65" y="18"/>
                    <a:pt x="80" y="16"/>
                    <a:pt x="94" y="16"/>
                  </a:cubicBezTo>
                  <a:cubicBezTo>
                    <a:pt x="96" y="16"/>
                    <a:pt x="98" y="16"/>
                    <a:pt x="100" y="16"/>
                  </a:cubicBezTo>
                  <a:cubicBezTo>
                    <a:pt x="101" y="16"/>
                    <a:pt x="102" y="16"/>
                    <a:pt x="102" y="16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îšļíde">
              <a:extLst>
                <a:ext uri="{FF2B5EF4-FFF2-40B4-BE49-F238E27FC236}">
                  <a16:creationId xmlns:a16="http://schemas.microsoft.com/office/drawing/2014/main" id="{891FDDB6-3C67-412F-9F6E-01D7C4EB8841}"/>
                </a:ext>
              </a:extLst>
            </p:cNvPr>
            <p:cNvSpPr/>
            <p:nvPr/>
          </p:nvSpPr>
          <p:spPr bwMode="auto">
            <a:xfrm>
              <a:off x="8154622" y="3431113"/>
              <a:ext cx="161599" cy="160193"/>
            </a:xfrm>
            <a:custGeom>
              <a:avLst/>
              <a:gdLst>
                <a:gd name="T0" fmla="*/ 102 w 102"/>
                <a:gd name="T1" fmla="*/ 0 h 102"/>
                <a:gd name="T2" fmla="*/ 0 w 102"/>
                <a:gd name="T3" fmla="*/ 0 h 102"/>
                <a:gd name="T4" fmla="*/ 0 w 102"/>
                <a:gd name="T5" fmla="*/ 26 h 102"/>
                <a:gd name="T6" fmla="*/ 63 w 102"/>
                <a:gd name="T7" fmla="*/ 81 h 102"/>
                <a:gd name="T8" fmla="*/ 77 w 102"/>
                <a:gd name="T9" fmla="*/ 102 h 102"/>
                <a:gd name="T10" fmla="*/ 102 w 102"/>
                <a:gd name="T11" fmla="*/ 102 h 102"/>
                <a:gd name="T12" fmla="*/ 102 w 102"/>
                <a:gd name="T1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2">
                  <a:moveTo>
                    <a:pt x="10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5" y="38"/>
                    <a:pt x="46" y="58"/>
                    <a:pt x="63" y="81"/>
                  </a:cubicBezTo>
                  <a:cubicBezTo>
                    <a:pt x="68" y="88"/>
                    <a:pt x="73" y="95"/>
                    <a:pt x="77" y="102"/>
                  </a:cubicBezTo>
                  <a:cubicBezTo>
                    <a:pt x="102" y="102"/>
                    <a:pt x="102" y="102"/>
                    <a:pt x="102" y="102"/>
                  </a:cubicBezTo>
                  <a:cubicBezTo>
                    <a:pt x="102" y="0"/>
                    <a:pt x="102" y="0"/>
                    <a:pt x="102" y="0"/>
                  </a:cubicBezTo>
                </a:path>
              </a:pathLst>
            </a:cu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îśḷíḋe">
              <a:extLst>
                <a:ext uri="{FF2B5EF4-FFF2-40B4-BE49-F238E27FC236}">
                  <a16:creationId xmlns:a16="http://schemas.microsoft.com/office/drawing/2014/main" id="{F80BCE0A-EFBC-4191-8EC8-03D149418F00}"/>
                </a:ext>
              </a:extLst>
            </p:cNvPr>
            <p:cNvSpPr/>
            <p:nvPr/>
          </p:nvSpPr>
          <p:spPr bwMode="auto">
            <a:xfrm>
              <a:off x="8373834" y="3431113"/>
              <a:ext cx="161599" cy="160193"/>
            </a:xfrm>
            <a:prstGeom prst="rect">
              <a:avLst/>
            </a:prstGeom>
            <a:solidFill>
              <a:srgbClr val="D9E7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ïṥľiḑé">
              <a:extLst>
                <a:ext uri="{FF2B5EF4-FFF2-40B4-BE49-F238E27FC236}">
                  <a16:creationId xmlns:a16="http://schemas.microsoft.com/office/drawing/2014/main" id="{1E9CA35F-4DA8-4A97-8A8F-AACE681CA33C}"/>
                </a:ext>
              </a:extLst>
            </p:cNvPr>
            <p:cNvSpPr/>
            <p:nvPr/>
          </p:nvSpPr>
          <p:spPr bwMode="auto">
            <a:xfrm>
              <a:off x="8373834" y="3431113"/>
              <a:ext cx="161599" cy="160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îśļíḋé">
              <a:extLst>
                <a:ext uri="{FF2B5EF4-FFF2-40B4-BE49-F238E27FC236}">
                  <a16:creationId xmlns:a16="http://schemas.microsoft.com/office/drawing/2014/main" id="{E6711CD4-3EDB-48F6-A6D8-2E5A78A90094}"/>
                </a:ext>
              </a:extLst>
            </p:cNvPr>
            <p:cNvSpPr/>
            <p:nvPr/>
          </p:nvSpPr>
          <p:spPr bwMode="auto">
            <a:xfrm>
              <a:off x="8594451" y="3431113"/>
              <a:ext cx="160193" cy="160193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iş1idé">
              <a:extLst>
                <a:ext uri="{FF2B5EF4-FFF2-40B4-BE49-F238E27FC236}">
                  <a16:creationId xmlns:a16="http://schemas.microsoft.com/office/drawing/2014/main" id="{CFC4C82A-62D1-4D96-B1BD-64311A1A7F61}"/>
                </a:ext>
              </a:extLst>
            </p:cNvPr>
            <p:cNvSpPr/>
            <p:nvPr/>
          </p:nvSpPr>
          <p:spPr bwMode="auto">
            <a:xfrm>
              <a:off x="6846379" y="3584280"/>
              <a:ext cx="439829" cy="438423"/>
            </a:xfrm>
            <a:prstGeom prst="ellipse">
              <a:avLst/>
            </a:prstGeom>
            <a:solidFill>
              <a:srgbClr val="767D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iŝḷîďé">
              <a:extLst>
                <a:ext uri="{FF2B5EF4-FFF2-40B4-BE49-F238E27FC236}">
                  <a16:creationId xmlns:a16="http://schemas.microsoft.com/office/drawing/2014/main" id="{3C49CF42-DFFC-4CF7-B6EA-F77FE382A136}"/>
                </a:ext>
              </a:extLst>
            </p:cNvPr>
            <p:cNvSpPr/>
            <p:nvPr/>
          </p:nvSpPr>
          <p:spPr bwMode="auto">
            <a:xfrm>
              <a:off x="7043107" y="3355232"/>
              <a:ext cx="656230" cy="732111"/>
            </a:xfrm>
            <a:custGeom>
              <a:avLst/>
              <a:gdLst>
                <a:gd name="T0" fmla="*/ 7 w 417"/>
                <a:gd name="T1" fmla="*/ 107 h 465"/>
                <a:gd name="T2" fmla="*/ 42 w 417"/>
                <a:gd name="T3" fmla="*/ 290 h 465"/>
                <a:gd name="T4" fmla="*/ 41 w 417"/>
                <a:gd name="T5" fmla="*/ 345 h 465"/>
                <a:gd name="T6" fmla="*/ 15 w 417"/>
                <a:gd name="T7" fmla="*/ 384 h 465"/>
                <a:gd name="T8" fmla="*/ 5 w 417"/>
                <a:gd name="T9" fmla="*/ 427 h 465"/>
                <a:gd name="T10" fmla="*/ 41 w 417"/>
                <a:gd name="T11" fmla="*/ 454 h 465"/>
                <a:gd name="T12" fmla="*/ 173 w 417"/>
                <a:gd name="T13" fmla="*/ 444 h 465"/>
                <a:gd name="T14" fmla="*/ 228 w 417"/>
                <a:gd name="T15" fmla="*/ 421 h 465"/>
                <a:gd name="T16" fmla="*/ 275 w 417"/>
                <a:gd name="T17" fmla="*/ 377 h 465"/>
                <a:gd name="T18" fmla="*/ 417 w 417"/>
                <a:gd name="T19" fmla="*/ 120 h 465"/>
                <a:gd name="T20" fmla="*/ 284 w 417"/>
                <a:gd name="T21" fmla="*/ 67 h 465"/>
                <a:gd name="T22" fmla="*/ 266 w 417"/>
                <a:gd name="T23" fmla="*/ 0 h 465"/>
                <a:gd name="T24" fmla="*/ 181 w 417"/>
                <a:gd name="T25" fmla="*/ 25 h 465"/>
                <a:gd name="T26" fmla="*/ 131 w 417"/>
                <a:gd name="T27" fmla="*/ 50 h 465"/>
                <a:gd name="T28" fmla="*/ 74 w 417"/>
                <a:gd name="T29" fmla="*/ 83 h 465"/>
                <a:gd name="T30" fmla="*/ 7 w 417"/>
                <a:gd name="T31" fmla="*/ 10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465">
                  <a:moveTo>
                    <a:pt x="7" y="107"/>
                  </a:moveTo>
                  <a:cubicBezTo>
                    <a:pt x="21" y="168"/>
                    <a:pt x="33" y="229"/>
                    <a:pt x="42" y="290"/>
                  </a:cubicBezTo>
                  <a:cubicBezTo>
                    <a:pt x="45" y="309"/>
                    <a:pt x="48" y="328"/>
                    <a:pt x="41" y="345"/>
                  </a:cubicBezTo>
                  <a:cubicBezTo>
                    <a:pt x="36" y="360"/>
                    <a:pt x="24" y="371"/>
                    <a:pt x="15" y="384"/>
                  </a:cubicBezTo>
                  <a:cubicBezTo>
                    <a:pt x="7" y="396"/>
                    <a:pt x="0" y="413"/>
                    <a:pt x="5" y="427"/>
                  </a:cubicBezTo>
                  <a:cubicBezTo>
                    <a:pt x="11" y="442"/>
                    <a:pt x="26" y="449"/>
                    <a:pt x="41" y="454"/>
                  </a:cubicBezTo>
                  <a:cubicBezTo>
                    <a:pt x="84" y="465"/>
                    <a:pt x="130" y="457"/>
                    <a:pt x="173" y="444"/>
                  </a:cubicBezTo>
                  <a:cubicBezTo>
                    <a:pt x="193" y="439"/>
                    <a:pt x="211" y="431"/>
                    <a:pt x="228" y="421"/>
                  </a:cubicBezTo>
                  <a:cubicBezTo>
                    <a:pt x="247" y="410"/>
                    <a:pt x="261" y="394"/>
                    <a:pt x="275" y="377"/>
                  </a:cubicBezTo>
                  <a:cubicBezTo>
                    <a:pt x="338" y="302"/>
                    <a:pt x="378" y="211"/>
                    <a:pt x="417" y="120"/>
                  </a:cubicBezTo>
                  <a:cubicBezTo>
                    <a:pt x="367" y="125"/>
                    <a:pt x="317" y="105"/>
                    <a:pt x="284" y="67"/>
                  </a:cubicBezTo>
                  <a:cubicBezTo>
                    <a:pt x="269" y="48"/>
                    <a:pt x="257" y="23"/>
                    <a:pt x="266" y="0"/>
                  </a:cubicBezTo>
                  <a:cubicBezTo>
                    <a:pt x="240" y="14"/>
                    <a:pt x="209" y="15"/>
                    <a:pt x="181" y="25"/>
                  </a:cubicBezTo>
                  <a:cubicBezTo>
                    <a:pt x="164" y="32"/>
                    <a:pt x="147" y="40"/>
                    <a:pt x="131" y="50"/>
                  </a:cubicBezTo>
                  <a:cubicBezTo>
                    <a:pt x="112" y="61"/>
                    <a:pt x="93" y="72"/>
                    <a:pt x="74" y="83"/>
                  </a:cubicBezTo>
                  <a:cubicBezTo>
                    <a:pt x="52" y="97"/>
                    <a:pt x="32" y="108"/>
                    <a:pt x="7" y="107"/>
                  </a:cubicBezTo>
                </a:path>
              </a:pathLst>
            </a:cu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íṣliḓe">
              <a:extLst>
                <a:ext uri="{FF2B5EF4-FFF2-40B4-BE49-F238E27FC236}">
                  <a16:creationId xmlns:a16="http://schemas.microsoft.com/office/drawing/2014/main" id="{B234E93F-1801-4FFE-AD7D-BF928E231B94}"/>
                </a:ext>
              </a:extLst>
            </p:cNvPr>
            <p:cNvSpPr/>
            <p:nvPr/>
          </p:nvSpPr>
          <p:spPr bwMode="auto">
            <a:xfrm>
              <a:off x="6566743" y="3469053"/>
              <a:ext cx="1455790" cy="1892808"/>
            </a:xfrm>
            <a:custGeom>
              <a:avLst/>
              <a:gdLst>
                <a:gd name="T0" fmla="*/ 602 w 925"/>
                <a:gd name="T1" fmla="*/ 140 h 1203"/>
                <a:gd name="T2" fmla="*/ 500 w 925"/>
                <a:gd name="T3" fmla="*/ 261 h 1203"/>
                <a:gd name="T4" fmla="*/ 348 w 925"/>
                <a:gd name="T5" fmla="*/ 269 h 1203"/>
                <a:gd name="T6" fmla="*/ 289 w 925"/>
                <a:gd name="T7" fmla="*/ 217 h 1203"/>
                <a:gd name="T8" fmla="*/ 219 w 925"/>
                <a:gd name="T9" fmla="*/ 187 h 1203"/>
                <a:gd name="T10" fmla="*/ 148 w 925"/>
                <a:gd name="T11" fmla="*/ 234 h 1203"/>
                <a:gd name="T12" fmla="*/ 69 w 925"/>
                <a:gd name="T13" fmla="*/ 340 h 1203"/>
                <a:gd name="T14" fmla="*/ 21 w 925"/>
                <a:gd name="T15" fmla="*/ 587 h 1203"/>
                <a:gd name="T16" fmla="*/ 36 w 925"/>
                <a:gd name="T17" fmla="*/ 841 h 1203"/>
                <a:gd name="T18" fmla="*/ 0 w 925"/>
                <a:gd name="T19" fmla="*/ 1151 h 1203"/>
                <a:gd name="T20" fmla="*/ 494 w 925"/>
                <a:gd name="T21" fmla="*/ 1192 h 1203"/>
                <a:gd name="T22" fmla="*/ 812 w 925"/>
                <a:gd name="T23" fmla="*/ 1202 h 1203"/>
                <a:gd name="T24" fmla="*/ 866 w 925"/>
                <a:gd name="T25" fmla="*/ 1192 h 1203"/>
                <a:gd name="T26" fmla="*/ 888 w 925"/>
                <a:gd name="T27" fmla="*/ 1165 h 1203"/>
                <a:gd name="T28" fmla="*/ 913 w 925"/>
                <a:gd name="T29" fmla="*/ 1077 h 1203"/>
                <a:gd name="T30" fmla="*/ 924 w 925"/>
                <a:gd name="T31" fmla="*/ 844 h 1203"/>
                <a:gd name="T32" fmla="*/ 901 w 925"/>
                <a:gd name="T33" fmla="*/ 281 h 1203"/>
                <a:gd name="T34" fmla="*/ 870 w 925"/>
                <a:gd name="T35" fmla="*/ 146 h 1203"/>
                <a:gd name="T36" fmla="*/ 784 w 925"/>
                <a:gd name="T37" fmla="*/ 41 h 1203"/>
                <a:gd name="T38" fmla="*/ 668 w 925"/>
                <a:gd name="T39" fmla="*/ 15 h 1203"/>
                <a:gd name="T40" fmla="*/ 602 w 925"/>
                <a:gd name="T41" fmla="*/ 140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25" h="1203">
                  <a:moveTo>
                    <a:pt x="602" y="140"/>
                  </a:moveTo>
                  <a:cubicBezTo>
                    <a:pt x="577" y="187"/>
                    <a:pt x="545" y="233"/>
                    <a:pt x="500" y="261"/>
                  </a:cubicBezTo>
                  <a:cubicBezTo>
                    <a:pt x="455" y="289"/>
                    <a:pt x="393" y="297"/>
                    <a:pt x="348" y="269"/>
                  </a:cubicBezTo>
                  <a:cubicBezTo>
                    <a:pt x="326" y="255"/>
                    <a:pt x="309" y="235"/>
                    <a:pt x="289" y="217"/>
                  </a:cubicBezTo>
                  <a:cubicBezTo>
                    <a:pt x="269" y="200"/>
                    <a:pt x="245" y="185"/>
                    <a:pt x="219" y="187"/>
                  </a:cubicBezTo>
                  <a:cubicBezTo>
                    <a:pt x="190" y="189"/>
                    <a:pt x="167" y="212"/>
                    <a:pt x="148" y="234"/>
                  </a:cubicBezTo>
                  <a:cubicBezTo>
                    <a:pt x="118" y="267"/>
                    <a:pt x="90" y="301"/>
                    <a:pt x="69" y="340"/>
                  </a:cubicBezTo>
                  <a:cubicBezTo>
                    <a:pt x="29" y="415"/>
                    <a:pt x="19" y="502"/>
                    <a:pt x="21" y="587"/>
                  </a:cubicBezTo>
                  <a:cubicBezTo>
                    <a:pt x="23" y="672"/>
                    <a:pt x="35" y="756"/>
                    <a:pt x="36" y="841"/>
                  </a:cubicBezTo>
                  <a:cubicBezTo>
                    <a:pt x="36" y="945"/>
                    <a:pt x="18" y="1049"/>
                    <a:pt x="0" y="1151"/>
                  </a:cubicBezTo>
                  <a:cubicBezTo>
                    <a:pt x="165" y="1131"/>
                    <a:pt x="329" y="1175"/>
                    <a:pt x="494" y="1192"/>
                  </a:cubicBezTo>
                  <a:cubicBezTo>
                    <a:pt x="600" y="1203"/>
                    <a:pt x="706" y="1203"/>
                    <a:pt x="812" y="1202"/>
                  </a:cubicBezTo>
                  <a:cubicBezTo>
                    <a:pt x="830" y="1202"/>
                    <a:pt x="850" y="1202"/>
                    <a:pt x="866" y="1192"/>
                  </a:cubicBezTo>
                  <a:cubicBezTo>
                    <a:pt x="875" y="1185"/>
                    <a:pt x="883" y="1176"/>
                    <a:pt x="888" y="1165"/>
                  </a:cubicBezTo>
                  <a:cubicBezTo>
                    <a:pt x="903" y="1138"/>
                    <a:pt x="909" y="1107"/>
                    <a:pt x="913" y="1077"/>
                  </a:cubicBezTo>
                  <a:cubicBezTo>
                    <a:pt x="923" y="1000"/>
                    <a:pt x="923" y="922"/>
                    <a:pt x="924" y="844"/>
                  </a:cubicBezTo>
                  <a:cubicBezTo>
                    <a:pt x="924" y="656"/>
                    <a:pt x="925" y="468"/>
                    <a:pt x="901" y="281"/>
                  </a:cubicBezTo>
                  <a:cubicBezTo>
                    <a:pt x="895" y="235"/>
                    <a:pt x="888" y="189"/>
                    <a:pt x="870" y="146"/>
                  </a:cubicBezTo>
                  <a:cubicBezTo>
                    <a:pt x="853" y="103"/>
                    <a:pt x="824" y="64"/>
                    <a:pt x="784" y="41"/>
                  </a:cubicBezTo>
                  <a:cubicBezTo>
                    <a:pt x="758" y="26"/>
                    <a:pt x="698" y="0"/>
                    <a:pt x="668" y="15"/>
                  </a:cubicBezTo>
                  <a:cubicBezTo>
                    <a:pt x="634" y="32"/>
                    <a:pt x="618" y="108"/>
                    <a:pt x="602" y="140"/>
                  </a:cubicBezTo>
                </a:path>
              </a:pathLst>
            </a:custGeom>
            <a:solidFill>
              <a:srgbClr val="767D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íṧlidè">
              <a:extLst>
                <a:ext uri="{FF2B5EF4-FFF2-40B4-BE49-F238E27FC236}">
                  <a16:creationId xmlns:a16="http://schemas.microsoft.com/office/drawing/2014/main" id="{AF435819-6FEC-4D00-A6E4-7309C5358331}"/>
                </a:ext>
              </a:extLst>
            </p:cNvPr>
            <p:cNvSpPr/>
            <p:nvPr/>
          </p:nvSpPr>
          <p:spPr bwMode="auto">
            <a:xfrm>
              <a:off x="7473099" y="3425492"/>
              <a:ext cx="1042660" cy="1871730"/>
            </a:xfrm>
            <a:custGeom>
              <a:avLst/>
              <a:gdLst>
                <a:gd name="T0" fmla="*/ 38 w 662"/>
                <a:gd name="T1" fmla="*/ 698 h 1190"/>
                <a:gd name="T2" fmla="*/ 60 w 662"/>
                <a:gd name="T3" fmla="*/ 356 h 1190"/>
                <a:gd name="T4" fmla="*/ 40 w 662"/>
                <a:gd name="T5" fmla="*/ 274 h 1190"/>
                <a:gd name="T6" fmla="*/ 81 w 662"/>
                <a:gd name="T7" fmla="*/ 179 h 1190"/>
                <a:gd name="T8" fmla="*/ 83 w 662"/>
                <a:gd name="T9" fmla="*/ 143 h 1190"/>
                <a:gd name="T10" fmla="*/ 39 w 662"/>
                <a:gd name="T11" fmla="*/ 97 h 1190"/>
                <a:gd name="T12" fmla="*/ 3 w 662"/>
                <a:gd name="T13" fmla="*/ 15 h 1190"/>
                <a:gd name="T14" fmla="*/ 38 w 662"/>
                <a:gd name="T15" fmla="*/ 10 h 1190"/>
                <a:gd name="T16" fmla="*/ 76 w 662"/>
                <a:gd name="T17" fmla="*/ 12 h 1190"/>
                <a:gd name="T18" fmla="*/ 180 w 662"/>
                <a:gd name="T19" fmla="*/ 19 h 1190"/>
                <a:gd name="T20" fmla="*/ 235 w 662"/>
                <a:gd name="T21" fmla="*/ 27 h 1190"/>
                <a:gd name="T22" fmla="*/ 344 w 662"/>
                <a:gd name="T23" fmla="*/ 24 h 1190"/>
                <a:gd name="T24" fmla="*/ 393 w 662"/>
                <a:gd name="T25" fmla="*/ 20 h 1190"/>
                <a:gd name="T26" fmla="*/ 496 w 662"/>
                <a:gd name="T27" fmla="*/ 85 h 1190"/>
                <a:gd name="T28" fmla="*/ 556 w 662"/>
                <a:gd name="T29" fmla="*/ 194 h 1190"/>
                <a:gd name="T30" fmla="*/ 607 w 662"/>
                <a:gd name="T31" fmla="*/ 285 h 1190"/>
                <a:gd name="T32" fmla="*/ 636 w 662"/>
                <a:gd name="T33" fmla="*/ 373 h 1190"/>
                <a:gd name="T34" fmla="*/ 657 w 662"/>
                <a:gd name="T35" fmla="*/ 450 h 1190"/>
                <a:gd name="T36" fmla="*/ 662 w 662"/>
                <a:gd name="T37" fmla="*/ 484 h 1190"/>
                <a:gd name="T38" fmla="*/ 650 w 662"/>
                <a:gd name="T39" fmla="*/ 518 h 1190"/>
                <a:gd name="T40" fmla="*/ 575 w 662"/>
                <a:gd name="T41" fmla="*/ 632 h 1190"/>
                <a:gd name="T42" fmla="*/ 454 w 662"/>
                <a:gd name="T43" fmla="*/ 796 h 1190"/>
                <a:gd name="T44" fmla="*/ 433 w 662"/>
                <a:gd name="T45" fmla="*/ 873 h 1190"/>
                <a:gd name="T46" fmla="*/ 390 w 662"/>
                <a:gd name="T47" fmla="*/ 1190 h 1190"/>
                <a:gd name="T48" fmla="*/ 243 w 662"/>
                <a:gd name="T49" fmla="*/ 1141 h 1190"/>
                <a:gd name="T50" fmla="*/ 167 w 662"/>
                <a:gd name="T51" fmla="*/ 1129 h 1190"/>
                <a:gd name="T52" fmla="*/ 139 w 662"/>
                <a:gd name="T53" fmla="*/ 1128 h 1190"/>
                <a:gd name="T54" fmla="*/ 95 w 662"/>
                <a:gd name="T55" fmla="*/ 1125 h 1190"/>
                <a:gd name="T56" fmla="*/ 50 w 662"/>
                <a:gd name="T57" fmla="*/ 1023 h 1190"/>
                <a:gd name="T58" fmla="*/ 39 w 662"/>
                <a:gd name="T59" fmla="*/ 871 h 1190"/>
                <a:gd name="T60" fmla="*/ 38 w 662"/>
                <a:gd name="T61" fmla="*/ 698 h 1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62" h="1190">
                  <a:moveTo>
                    <a:pt x="38" y="698"/>
                  </a:moveTo>
                  <a:cubicBezTo>
                    <a:pt x="32" y="582"/>
                    <a:pt x="6" y="459"/>
                    <a:pt x="60" y="356"/>
                  </a:cubicBezTo>
                  <a:cubicBezTo>
                    <a:pt x="73" y="330"/>
                    <a:pt x="26" y="299"/>
                    <a:pt x="40" y="274"/>
                  </a:cubicBezTo>
                  <a:cubicBezTo>
                    <a:pt x="58" y="245"/>
                    <a:pt x="72" y="212"/>
                    <a:pt x="81" y="179"/>
                  </a:cubicBezTo>
                  <a:cubicBezTo>
                    <a:pt x="84" y="167"/>
                    <a:pt x="86" y="155"/>
                    <a:pt x="83" y="143"/>
                  </a:cubicBezTo>
                  <a:cubicBezTo>
                    <a:pt x="78" y="122"/>
                    <a:pt x="57" y="109"/>
                    <a:pt x="39" y="97"/>
                  </a:cubicBezTo>
                  <a:cubicBezTo>
                    <a:pt x="20" y="82"/>
                    <a:pt x="10" y="39"/>
                    <a:pt x="3" y="15"/>
                  </a:cubicBezTo>
                  <a:cubicBezTo>
                    <a:pt x="0" y="2"/>
                    <a:pt x="17" y="6"/>
                    <a:pt x="38" y="10"/>
                  </a:cubicBezTo>
                  <a:cubicBezTo>
                    <a:pt x="52" y="13"/>
                    <a:pt x="67" y="15"/>
                    <a:pt x="76" y="12"/>
                  </a:cubicBezTo>
                  <a:cubicBezTo>
                    <a:pt x="108" y="0"/>
                    <a:pt x="148" y="8"/>
                    <a:pt x="180" y="19"/>
                  </a:cubicBezTo>
                  <a:cubicBezTo>
                    <a:pt x="197" y="26"/>
                    <a:pt x="216" y="26"/>
                    <a:pt x="235" y="27"/>
                  </a:cubicBezTo>
                  <a:cubicBezTo>
                    <a:pt x="272" y="28"/>
                    <a:pt x="308" y="29"/>
                    <a:pt x="344" y="24"/>
                  </a:cubicBezTo>
                  <a:cubicBezTo>
                    <a:pt x="361" y="22"/>
                    <a:pt x="377" y="19"/>
                    <a:pt x="393" y="20"/>
                  </a:cubicBezTo>
                  <a:cubicBezTo>
                    <a:pt x="435" y="22"/>
                    <a:pt x="471" y="51"/>
                    <a:pt x="496" y="85"/>
                  </a:cubicBezTo>
                  <a:cubicBezTo>
                    <a:pt x="520" y="118"/>
                    <a:pt x="536" y="158"/>
                    <a:pt x="556" y="194"/>
                  </a:cubicBezTo>
                  <a:cubicBezTo>
                    <a:pt x="573" y="224"/>
                    <a:pt x="593" y="253"/>
                    <a:pt x="607" y="285"/>
                  </a:cubicBezTo>
                  <a:cubicBezTo>
                    <a:pt x="620" y="313"/>
                    <a:pt x="628" y="343"/>
                    <a:pt x="636" y="373"/>
                  </a:cubicBezTo>
                  <a:cubicBezTo>
                    <a:pt x="657" y="450"/>
                    <a:pt x="657" y="450"/>
                    <a:pt x="657" y="450"/>
                  </a:cubicBezTo>
                  <a:cubicBezTo>
                    <a:pt x="660" y="461"/>
                    <a:pt x="662" y="472"/>
                    <a:pt x="662" y="484"/>
                  </a:cubicBezTo>
                  <a:cubicBezTo>
                    <a:pt x="661" y="496"/>
                    <a:pt x="655" y="507"/>
                    <a:pt x="650" y="518"/>
                  </a:cubicBezTo>
                  <a:cubicBezTo>
                    <a:pt x="629" y="559"/>
                    <a:pt x="604" y="597"/>
                    <a:pt x="575" y="632"/>
                  </a:cubicBezTo>
                  <a:cubicBezTo>
                    <a:pt x="532" y="685"/>
                    <a:pt x="479" y="733"/>
                    <a:pt x="454" y="796"/>
                  </a:cubicBezTo>
                  <a:cubicBezTo>
                    <a:pt x="444" y="821"/>
                    <a:pt x="438" y="847"/>
                    <a:pt x="433" y="873"/>
                  </a:cubicBezTo>
                  <a:cubicBezTo>
                    <a:pt x="413" y="978"/>
                    <a:pt x="398" y="1084"/>
                    <a:pt x="390" y="1190"/>
                  </a:cubicBezTo>
                  <a:cubicBezTo>
                    <a:pt x="343" y="1168"/>
                    <a:pt x="294" y="1152"/>
                    <a:pt x="243" y="1141"/>
                  </a:cubicBezTo>
                  <a:cubicBezTo>
                    <a:pt x="218" y="1136"/>
                    <a:pt x="193" y="1132"/>
                    <a:pt x="167" y="1129"/>
                  </a:cubicBezTo>
                  <a:cubicBezTo>
                    <a:pt x="159" y="1128"/>
                    <a:pt x="149" y="1128"/>
                    <a:pt x="139" y="1128"/>
                  </a:cubicBezTo>
                  <a:cubicBezTo>
                    <a:pt x="124" y="1129"/>
                    <a:pt x="108" y="1129"/>
                    <a:pt x="95" y="1125"/>
                  </a:cubicBezTo>
                  <a:cubicBezTo>
                    <a:pt x="59" y="1115"/>
                    <a:pt x="55" y="1055"/>
                    <a:pt x="50" y="1023"/>
                  </a:cubicBezTo>
                  <a:cubicBezTo>
                    <a:pt x="41" y="973"/>
                    <a:pt x="40" y="922"/>
                    <a:pt x="39" y="871"/>
                  </a:cubicBezTo>
                  <a:cubicBezTo>
                    <a:pt x="39" y="813"/>
                    <a:pt x="41" y="756"/>
                    <a:pt x="38" y="698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ïş1iďê">
              <a:extLst>
                <a:ext uri="{FF2B5EF4-FFF2-40B4-BE49-F238E27FC236}">
                  <a16:creationId xmlns:a16="http://schemas.microsoft.com/office/drawing/2014/main" id="{59EBD3D9-9912-44BE-B8FE-A01025CDC314}"/>
                </a:ext>
              </a:extLst>
            </p:cNvPr>
            <p:cNvSpPr/>
            <p:nvPr/>
          </p:nvSpPr>
          <p:spPr bwMode="auto">
            <a:xfrm>
              <a:off x="5754536" y="4098584"/>
              <a:ext cx="660445" cy="983642"/>
            </a:xfrm>
            <a:custGeom>
              <a:avLst/>
              <a:gdLst>
                <a:gd name="T0" fmla="*/ 347 w 419"/>
                <a:gd name="T1" fmla="*/ 54 h 625"/>
                <a:gd name="T2" fmla="*/ 419 w 419"/>
                <a:gd name="T3" fmla="*/ 336 h 625"/>
                <a:gd name="T4" fmla="*/ 416 w 419"/>
                <a:gd name="T5" fmla="*/ 338 h 625"/>
                <a:gd name="T6" fmla="*/ 406 w 419"/>
                <a:gd name="T7" fmla="*/ 346 h 625"/>
                <a:gd name="T8" fmla="*/ 382 w 419"/>
                <a:gd name="T9" fmla="*/ 365 h 625"/>
                <a:gd name="T10" fmla="*/ 376 w 419"/>
                <a:gd name="T11" fmla="*/ 374 h 625"/>
                <a:gd name="T12" fmla="*/ 376 w 419"/>
                <a:gd name="T13" fmla="*/ 392 h 625"/>
                <a:gd name="T14" fmla="*/ 313 w 419"/>
                <a:gd name="T15" fmla="*/ 397 h 625"/>
                <a:gd name="T16" fmla="*/ 262 w 419"/>
                <a:gd name="T17" fmla="*/ 407 h 625"/>
                <a:gd name="T18" fmla="*/ 232 w 419"/>
                <a:gd name="T19" fmla="*/ 474 h 625"/>
                <a:gd name="T20" fmla="*/ 229 w 419"/>
                <a:gd name="T21" fmla="*/ 501 h 625"/>
                <a:gd name="T22" fmla="*/ 227 w 419"/>
                <a:gd name="T23" fmla="*/ 526 h 625"/>
                <a:gd name="T24" fmla="*/ 226 w 419"/>
                <a:gd name="T25" fmla="*/ 610 h 625"/>
                <a:gd name="T26" fmla="*/ 227 w 419"/>
                <a:gd name="T27" fmla="*/ 625 h 625"/>
                <a:gd name="T28" fmla="*/ 46 w 419"/>
                <a:gd name="T29" fmla="*/ 557 h 625"/>
                <a:gd name="T30" fmla="*/ 11 w 419"/>
                <a:gd name="T31" fmla="*/ 529 h 625"/>
                <a:gd name="T32" fmla="*/ 2 w 419"/>
                <a:gd name="T33" fmla="*/ 487 h 625"/>
                <a:gd name="T34" fmla="*/ 3 w 419"/>
                <a:gd name="T35" fmla="*/ 481 h 625"/>
                <a:gd name="T36" fmla="*/ 12 w 419"/>
                <a:gd name="T37" fmla="*/ 447 h 625"/>
                <a:gd name="T38" fmla="*/ 89 w 419"/>
                <a:gd name="T39" fmla="*/ 316 h 625"/>
                <a:gd name="T40" fmla="*/ 126 w 419"/>
                <a:gd name="T41" fmla="*/ 262 h 625"/>
                <a:gd name="T42" fmla="*/ 133 w 419"/>
                <a:gd name="T43" fmla="*/ 234 h 625"/>
                <a:gd name="T44" fmla="*/ 210 w 419"/>
                <a:gd name="T45" fmla="*/ 137 h 625"/>
                <a:gd name="T46" fmla="*/ 221 w 419"/>
                <a:gd name="T47" fmla="*/ 109 h 625"/>
                <a:gd name="T48" fmla="*/ 238 w 419"/>
                <a:gd name="T49" fmla="*/ 90 h 625"/>
                <a:gd name="T50" fmla="*/ 247 w 419"/>
                <a:gd name="T51" fmla="*/ 83 h 625"/>
                <a:gd name="T52" fmla="*/ 328 w 419"/>
                <a:gd name="T53" fmla="*/ 13 h 625"/>
                <a:gd name="T54" fmla="*/ 343 w 419"/>
                <a:gd name="T55" fmla="*/ 0 h 625"/>
                <a:gd name="T56" fmla="*/ 347 w 419"/>
                <a:gd name="T57" fmla="*/ 54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9" h="625">
                  <a:moveTo>
                    <a:pt x="347" y="54"/>
                  </a:moveTo>
                  <a:cubicBezTo>
                    <a:pt x="364" y="150"/>
                    <a:pt x="382" y="246"/>
                    <a:pt x="419" y="336"/>
                  </a:cubicBezTo>
                  <a:cubicBezTo>
                    <a:pt x="418" y="337"/>
                    <a:pt x="417" y="338"/>
                    <a:pt x="416" y="338"/>
                  </a:cubicBezTo>
                  <a:cubicBezTo>
                    <a:pt x="413" y="341"/>
                    <a:pt x="410" y="344"/>
                    <a:pt x="406" y="346"/>
                  </a:cubicBezTo>
                  <a:cubicBezTo>
                    <a:pt x="398" y="352"/>
                    <a:pt x="389" y="357"/>
                    <a:pt x="382" y="365"/>
                  </a:cubicBezTo>
                  <a:cubicBezTo>
                    <a:pt x="379" y="368"/>
                    <a:pt x="377" y="371"/>
                    <a:pt x="376" y="374"/>
                  </a:cubicBezTo>
                  <a:cubicBezTo>
                    <a:pt x="374" y="380"/>
                    <a:pt x="374" y="387"/>
                    <a:pt x="376" y="392"/>
                  </a:cubicBezTo>
                  <a:cubicBezTo>
                    <a:pt x="357" y="401"/>
                    <a:pt x="335" y="398"/>
                    <a:pt x="313" y="397"/>
                  </a:cubicBezTo>
                  <a:cubicBezTo>
                    <a:pt x="295" y="397"/>
                    <a:pt x="277" y="397"/>
                    <a:pt x="262" y="407"/>
                  </a:cubicBezTo>
                  <a:cubicBezTo>
                    <a:pt x="242" y="422"/>
                    <a:pt x="236" y="449"/>
                    <a:pt x="232" y="474"/>
                  </a:cubicBezTo>
                  <a:cubicBezTo>
                    <a:pt x="231" y="483"/>
                    <a:pt x="230" y="492"/>
                    <a:pt x="229" y="501"/>
                  </a:cubicBezTo>
                  <a:cubicBezTo>
                    <a:pt x="228" y="509"/>
                    <a:pt x="227" y="517"/>
                    <a:pt x="227" y="526"/>
                  </a:cubicBezTo>
                  <a:cubicBezTo>
                    <a:pt x="225" y="554"/>
                    <a:pt x="225" y="582"/>
                    <a:pt x="226" y="610"/>
                  </a:cubicBezTo>
                  <a:cubicBezTo>
                    <a:pt x="226" y="615"/>
                    <a:pt x="227" y="620"/>
                    <a:pt x="227" y="625"/>
                  </a:cubicBezTo>
                  <a:cubicBezTo>
                    <a:pt x="162" y="624"/>
                    <a:pt x="102" y="590"/>
                    <a:pt x="46" y="557"/>
                  </a:cubicBezTo>
                  <a:cubicBezTo>
                    <a:pt x="33" y="549"/>
                    <a:pt x="20" y="541"/>
                    <a:pt x="11" y="529"/>
                  </a:cubicBezTo>
                  <a:cubicBezTo>
                    <a:pt x="4" y="516"/>
                    <a:pt x="0" y="502"/>
                    <a:pt x="2" y="487"/>
                  </a:cubicBezTo>
                  <a:cubicBezTo>
                    <a:pt x="2" y="485"/>
                    <a:pt x="2" y="483"/>
                    <a:pt x="3" y="481"/>
                  </a:cubicBezTo>
                  <a:cubicBezTo>
                    <a:pt x="4" y="469"/>
                    <a:pt x="8" y="458"/>
                    <a:pt x="12" y="447"/>
                  </a:cubicBezTo>
                  <a:cubicBezTo>
                    <a:pt x="29" y="399"/>
                    <a:pt x="55" y="355"/>
                    <a:pt x="89" y="316"/>
                  </a:cubicBezTo>
                  <a:cubicBezTo>
                    <a:pt x="103" y="299"/>
                    <a:pt x="119" y="283"/>
                    <a:pt x="126" y="262"/>
                  </a:cubicBezTo>
                  <a:cubicBezTo>
                    <a:pt x="129" y="253"/>
                    <a:pt x="130" y="243"/>
                    <a:pt x="133" y="234"/>
                  </a:cubicBezTo>
                  <a:cubicBezTo>
                    <a:pt x="146" y="194"/>
                    <a:pt x="194" y="176"/>
                    <a:pt x="210" y="137"/>
                  </a:cubicBezTo>
                  <a:cubicBezTo>
                    <a:pt x="214" y="128"/>
                    <a:pt x="216" y="118"/>
                    <a:pt x="221" y="109"/>
                  </a:cubicBezTo>
                  <a:cubicBezTo>
                    <a:pt x="226" y="102"/>
                    <a:pt x="231" y="96"/>
                    <a:pt x="238" y="90"/>
                  </a:cubicBezTo>
                  <a:cubicBezTo>
                    <a:pt x="241" y="88"/>
                    <a:pt x="244" y="86"/>
                    <a:pt x="247" y="83"/>
                  </a:cubicBezTo>
                  <a:cubicBezTo>
                    <a:pt x="275" y="61"/>
                    <a:pt x="302" y="38"/>
                    <a:pt x="328" y="13"/>
                  </a:cubicBezTo>
                  <a:cubicBezTo>
                    <a:pt x="333" y="9"/>
                    <a:pt x="338" y="4"/>
                    <a:pt x="343" y="0"/>
                  </a:cubicBezTo>
                  <a:cubicBezTo>
                    <a:pt x="342" y="18"/>
                    <a:pt x="343" y="36"/>
                    <a:pt x="347" y="54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í$ļiḋe">
              <a:extLst>
                <a:ext uri="{FF2B5EF4-FFF2-40B4-BE49-F238E27FC236}">
                  <a16:creationId xmlns:a16="http://schemas.microsoft.com/office/drawing/2014/main" id="{35B48011-3220-4368-ADB5-7C8F1E988144}"/>
                </a:ext>
              </a:extLst>
            </p:cNvPr>
            <p:cNvSpPr/>
            <p:nvPr/>
          </p:nvSpPr>
          <p:spPr bwMode="auto">
            <a:xfrm>
              <a:off x="6295539" y="3598332"/>
              <a:ext cx="705412" cy="1800065"/>
            </a:xfrm>
            <a:custGeom>
              <a:avLst/>
              <a:gdLst>
                <a:gd name="T0" fmla="*/ 407 w 448"/>
                <a:gd name="T1" fmla="*/ 88 h 1144"/>
                <a:gd name="T2" fmla="*/ 389 w 448"/>
                <a:gd name="T3" fmla="*/ 105 h 1144"/>
                <a:gd name="T4" fmla="*/ 387 w 448"/>
                <a:gd name="T5" fmla="*/ 107 h 1144"/>
                <a:gd name="T6" fmla="*/ 381 w 448"/>
                <a:gd name="T7" fmla="*/ 113 h 1144"/>
                <a:gd name="T8" fmla="*/ 351 w 448"/>
                <a:gd name="T9" fmla="*/ 148 h 1144"/>
                <a:gd name="T10" fmla="*/ 350 w 448"/>
                <a:gd name="T11" fmla="*/ 149 h 1144"/>
                <a:gd name="T12" fmla="*/ 343 w 448"/>
                <a:gd name="T13" fmla="*/ 272 h 1144"/>
                <a:gd name="T14" fmla="*/ 352 w 448"/>
                <a:gd name="T15" fmla="*/ 428 h 1144"/>
                <a:gd name="T16" fmla="*/ 343 w 448"/>
                <a:gd name="T17" fmla="*/ 643 h 1144"/>
                <a:gd name="T18" fmla="*/ 344 w 448"/>
                <a:gd name="T19" fmla="*/ 692 h 1144"/>
                <a:gd name="T20" fmla="*/ 349 w 448"/>
                <a:gd name="T21" fmla="*/ 772 h 1144"/>
                <a:gd name="T22" fmla="*/ 358 w 448"/>
                <a:gd name="T23" fmla="*/ 859 h 1144"/>
                <a:gd name="T24" fmla="*/ 364 w 448"/>
                <a:gd name="T25" fmla="*/ 926 h 1144"/>
                <a:gd name="T26" fmla="*/ 367 w 448"/>
                <a:gd name="T27" fmla="*/ 961 h 1144"/>
                <a:gd name="T28" fmla="*/ 369 w 448"/>
                <a:gd name="T29" fmla="*/ 1002 h 1144"/>
                <a:gd name="T30" fmla="*/ 369 w 448"/>
                <a:gd name="T31" fmla="*/ 1027 h 1144"/>
                <a:gd name="T32" fmla="*/ 369 w 448"/>
                <a:gd name="T33" fmla="*/ 1042 h 1144"/>
                <a:gd name="T34" fmla="*/ 368 w 448"/>
                <a:gd name="T35" fmla="*/ 1070 h 1144"/>
                <a:gd name="T36" fmla="*/ 366 w 448"/>
                <a:gd name="T37" fmla="*/ 1106 h 1144"/>
                <a:gd name="T38" fmla="*/ 353 w 448"/>
                <a:gd name="T39" fmla="*/ 1143 h 1144"/>
                <a:gd name="T40" fmla="*/ 351 w 448"/>
                <a:gd name="T41" fmla="*/ 1144 h 1144"/>
                <a:gd name="T42" fmla="*/ 338 w 448"/>
                <a:gd name="T43" fmla="*/ 1143 h 1144"/>
                <a:gd name="T44" fmla="*/ 69 w 448"/>
                <a:gd name="T45" fmla="*/ 1138 h 1144"/>
                <a:gd name="T46" fmla="*/ 75 w 448"/>
                <a:gd name="T47" fmla="*/ 1097 h 1144"/>
                <a:gd name="T48" fmla="*/ 77 w 448"/>
                <a:gd name="T49" fmla="*/ 1078 h 1144"/>
                <a:gd name="T50" fmla="*/ 80 w 448"/>
                <a:gd name="T51" fmla="*/ 1056 h 1144"/>
                <a:gd name="T52" fmla="*/ 82 w 448"/>
                <a:gd name="T53" fmla="*/ 1032 h 1144"/>
                <a:gd name="T54" fmla="*/ 88 w 448"/>
                <a:gd name="T55" fmla="*/ 970 h 1144"/>
                <a:gd name="T56" fmla="*/ 93 w 448"/>
                <a:gd name="T57" fmla="*/ 880 h 1144"/>
                <a:gd name="T58" fmla="*/ 94 w 448"/>
                <a:gd name="T59" fmla="*/ 836 h 1144"/>
                <a:gd name="T60" fmla="*/ 95 w 448"/>
                <a:gd name="T61" fmla="*/ 782 h 1144"/>
                <a:gd name="T62" fmla="*/ 95 w 448"/>
                <a:gd name="T63" fmla="*/ 730 h 1144"/>
                <a:gd name="T64" fmla="*/ 94 w 448"/>
                <a:gd name="T65" fmla="*/ 713 h 1144"/>
                <a:gd name="T66" fmla="*/ 92 w 448"/>
                <a:gd name="T67" fmla="*/ 697 h 1144"/>
                <a:gd name="T68" fmla="*/ 80 w 448"/>
                <a:gd name="T69" fmla="*/ 664 h 1144"/>
                <a:gd name="T70" fmla="*/ 77 w 448"/>
                <a:gd name="T71" fmla="*/ 657 h 1144"/>
                <a:gd name="T72" fmla="*/ 76 w 448"/>
                <a:gd name="T73" fmla="*/ 654 h 1144"/>
                <a:gd name="T74" fmla="*/ 131 w 448"/>
                <a:gd name="T75" fmla="*/ 579 h 1144"/>
                <a:gd name="T76" fmla="*/ 187 w 448"/>
                <a:gd name="T77" fmla="*/ 440 h 1144"/>
                <a:gd name="T78" fmla="*/ 118 w 448"/>
                <a:gd name="T79" fmla="*/ 317 h 1144"/>
                <a:gd name="T80" fmla="*/ 78 w 448"/>
                <a:gd name="T81" fmla="*/ 310 h 1144"/>
                <a:gd name="T82" fmla="*/ 24 w 448"/>
                <a:gd name="T83" fmla="*/ 294 h 1144"/>
                <a:gd name="T84" fmla="*/ 0 w 448"/>
                <a:gd name="T85" fmla="*/ 318 h 1144"/>
                <a:gd name="T86" fmla="*/ 9 w 448"/>
                <a:gd name="T87" fmla="*/ 283 h 1144"/>
                <a:gd name="T88" fmla="*/ 14 w 448"/>
                <a:gd name="T89" fmla="*/ 283 h 1144"/>
                <a:gd name="T90" fmla="*/ 14 w 448"/>
                <a:gd name="T91" fmla="*/ 279 h 1144"/>
                <a:gd name="T92" fmla="*/ 23 w 448"/>
                <a:gd name="T93" fmla="*/ 265 h 1144"/>
                <a:gd name="T94" fmla="*/ 83 w 448"/>
                <a:gd name="T95" fmla="*/ 224 h 1144"/>
                <a:gd name="T96" fmla="*/ 93 w 448"/>
                <a:gd name="T97" fmla="*/ 194 h 1144"/>
                <a:gd name="T98" fmla="*/ 157 w 448"/>
                <a:gd name="T99" fmla="*/ 136 h 1144"/>
                <a:gd name="T100" fmla="*/ 198 w 448"/>
                <a:gd name="T101" fmla="*/ 60 h 1144"/>
                <a:gd name="T102" fmla="*/ 246 w 448"/>
                <a:gd name="T103" fmla="*/ 20 h 1144"/>
                <a:gd name="T104" fmla="*/ 251 w 448"/>
                <a:gd name="T105" fmla="*/ 18 h 1144"/>
                <a:gd name="T106" fmla="*/ 358 w 448"/>
                <a:gd name="T107" fmla="*/ 0 h 1144"/>
                <a:gd name="T108" fmla="*/ 423 w 448"/>
                <a:gd name="T109" fmla="*/ 8 h 1144"/>
                <a:gd name="T110" fmla="*/ 430 w 448"/>
                <a:gd name="T111" fmla="*/ 12 h 1144"/>
                <a:gd name="T112" fmla="*/ 407 w 448"/>
                <a:gd name="T113" fmla="*/ 88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8" h="1144">
                  <a:moveTo>
                    <a:pt x="407" y="88"/>
                  </a:moveTo>
                  <a:cubicBezTo>
                    <a:pt x="401" y="94"/>
                    <a:pt x="395" y="99"/>
                    <a:pt x="389" y="105"/>
                  </a:cubicBezTo>
                  <a:cubicBezTo>
                    <a:pt x="387" y="107"/>
                    <a:pt x="387" y="107"/>
                    <a:pt x="387" y="107"/>
                  </a:cubicBezTo>
                  <a:cubicBezTo>
                    <a:pt x="381" y="113"/>
                    <a:pt x="381" y="113"/>
                    <a:pt x="381" y="113"/>
                  </a:cubicBezTo>
                  <a:cubicBezTo>
                    <a:pt x="369" y="123"/>
                    <a:pt x="359" y="135"/>
                    <a:pt x="351" y="148"/>
                  </a:cubicBezTo>
                  <a:cubicBezTo>
                    <a:pt x="350" y="149"/>
                    <a:pt x="350" y="149"/>
                    <a:pt x="350" y="149"/>
                  </a:cubicBezTo>
                  <a:cubicBezTo>
                    <a:pt x="329" y="185"/>
                    <a:pt x="337" y="230"/>
                    <a:pt x="343" y="272"/>
                  </a:cubicBezTo>
                  <a:cubicBezTo>
                    <a:pt x="350" y="323"/>
                    <a:pt x="353" y="376"/>
                    <a:pt x="352" y="428"/>
                  </a:cubicBezTo>
                  <a:cubicBezTo>
                    <a:pt x="351" y="500"/>
                    <a:pt x="343" y="571"/>
                    <a:pt x="343" y="643"/>
                  </a:cubicBezTo>
                  <a:cubicBezTo>
                    <a:pt x="343" y="660"/>
                    <a:pt x="343" y="676"/>
                    <a:pt x="344" y="692"/>
                  </a:cubicBezTo>
                  <a:cubicBezTo>
                    <a:pt x="345" y="719"/>
                    <a:pt x="347" y="745"/>
                    <a:pt x="349" y="772"/>
                  </a:cubicBezTo>
                  <a:cubicBezTo>
                    <a:pt x="352" y="801"/>
                    <a:pt x="355" y="830"/>
                    <a:pt x="358" y="859"/>
                  </a:cubicBezTo>
                  <a:cubicBezTo>
                    <a:pt x="360" y="881"/>
                    <a:pt x="362" y="904"/>
                    <a:pt x="364" y="926"/>
                  </a:cubicBezTo>
                  <a:cubicBezTo>
                    <a:pt x="365" y="938"/>
                    <a:pt x="366" y="949"/>
                    <a:pt x="367" y="961"/>
                  </a:cubicBezTo>
                  <a:cubicBezTo>
                    <a:pt x="368" y="974"/>
                    <a:pt x="368" y="988"/>
                    <a:pt x="369" y="1002"/>
                  </a:cubicBezTo>
                  <a:cubicBezTo>
                    <a:pt x="369" y="1010"/>
                    <a:pt x="369" y="1019"/>
                    <a:pt x="369" y="1027"/>
                  </a:cubicBezTo>
                  <a:cubicBezTo>
                    <a:pt x="369" y="1032"/>
                    <a:pt x="369" y="1037"/>
                    <a:pt x="369" y="1042"/>
                  </a:cubicBezTo>
                  <a:cubicBezTo>
                    <a:pt x="369" y="1051"/>
                    <a:pt x="369" y="1061"/>
                    <a:pt x="368" y="1070"/>
                  </a:cubicBezTo>
                  <a:cubicBezTo>
                    <a:pt x="368" y="1082"/>
                    <a:pt x="367" y="1094"/>
                    <a:pt x="366" y="1106"/>
                  </a:cubicBezTo>
                  <a:cubicBezTo>
                    <a:pt x="365" y="1119"/>
                    <a:pt x="362" y="1133"/>
                    <a:pt x="353" y="1143"/>
                  </a:cubicBezTo>
                  <a:cubicBezTo>
                    <a:pt x="353" y="1143"/>
                    <a:pt x="352" y="1144"/>
                    <a:pt x="351" y="1144"/>
                  </a:cubicBezTo>
                  <a:cubicBezTo>
                    <a:pt x="338" y="1143"/>
                    <a:pt x="338" y="1143"/>
                    <a:pt x="338" y="1143"/>
                  </a:cubicBezTo>
                  <a:cubicBezTo>
                    <a:pt x="249" y="1132"/>
                    <a:pt x="159" y="1130"/>
                    <a:pt x="69" y="1138"/>
                  </a:cubicBezTo>
                  <a:cubicBezTo>
                    <a:pt x="71" y="1124"/>
                    <a:pt x="73" y="1111"/>
                    <a:pt x="75" y="1097"/>
                  </a:cubicBezTo>
                  <a:cubicBezTo>
                    <a:pt x="76" y="1091"/>
                    <a:pt x="76" y="1084"/>
                    <a:pt x="77" y="1078"/>
                  </a:cubicBezTo>
                  <a:cubicBezTo>
                    <a:pt x="78" y="1071"/>
                    <a:pt x="79" y="1063"/>
                    <a:pt x="80" y="1056"/>
                  </a:cubicBezTo>
                  <a:cubicBezTo>
                    <a:pt x="81" y="1048"/>
                    <a:pt x="81" y="1040"/>
                    <a:pt x="82" y="1032"/>
                  </a:cubicBezTo>
                  <a:cubicBezTo>
                    <a:pt x="84" y="1011"/>
                    <a:pt x="86" y="991"/>
                    <a:pt x="88" y="970"/>
                  </a:cubicBezTo>
                  <a:cubicBezTo>
                    <a:pt x="90" y="940"/>
                    <a:pt x="92" y="910"/>
                    <a:pt x="93" y="880"/>
                  </a:cubicBezTo>
                  <a:cubicBezTo>
                    <a:pt x="94" y="865"/>
                    <a:pt x="94" y="851"/>
                    <a:pt x="94" y="836"/>
                  </a:cubicBezTo>
                  <a:cubicBezTo>
                    <a:pt x="95" y="818"/>
                    <a:pt x="95" y="800"/>
                    <a:pt x="95" y="782"/>
                  </a:cubicBezTo>
                  <a:cubicBezTo>
                    <a:pt x="95" y="765"/>
                    <a:pt x="95" y="748"/>
                    <a:pt x="95" y="730"/>
                  </a:cubicBezTo>
                  <a:cubicBezTo>
                    <a:pt x="95" y="724"/>
                    <a:pt x="94" y="719"/>
                    <a:pt x="94" y="713"/>
                  </a:cubicBezTo>
                  <a:cubicBezTo>
                    <a:pt x="93" y="708"/>
                    <a:pt x="93" y="703"/>
                    <a:pt x="92" y="697"/>
                  </a:cubicBezTo>
                  <a:cubicBezTo>
                    <a:pt x="89" y="686"/>
                    <a:pt x="85" y="674"/>
                    <a:pt x="80" y="664"/>
                  </a:cubicBezTo>
                  <a:cubicBezTo>
                    <a:pt x="79" y="661"/>
                    <a:pt x="78" y="660"/>
                    <a:pt x="77" y="657"/>
                  </a:cubicBezTo>
                  <a:cubicBezTo>
                    <a:pt x="77" y="656"/>
                    <a:pt x="76" y="655"/>
                    <a:pt x="76" y="654"/>
                  </a:cubicBezTo>
                  <a:cubicBezTo>
                    <a:pt x="99" y="634"/>
                    <a:pt x="115" y="606"/>
                    <a:pt x="131" y="579"/>
                  </a:cubicBezTo>
                  <a:cubicBezTo>
                    <a:pt x="157" y="535"/>
                    <a:pt x="183" y="490"/>
                    <a:pt x="187" y="440"/>
                  </a:cubicBezTo>
                  <a:cubicBezTo>
                    <a:pt x="191" y="389"/>
                    <a:pt x="166" y="333"/>
                    <a:pt x="118" y="317"/>
                  </a:cubicBezTo>
                  <a:cubicBezTo>
                    <a:pt x="105" y="313"/>
                    <a:pt x="91" y="312"/>
                    <a:pt x="78" y="310"/>
                  </a:cubicBezTo>
                  <a:cubicBezTo>
                    <a:pt x="65" y="308"/>
                    <a:pt x="39" y="303"/>
                    <a:pt x="24" y="294"/>
                  </a:cubicBezTo>
                  <a:cubicBezTo>
                    <a:pt x="16" y="302"/>
                    <a:pt x="8" y="310"/>
                    <a:pt x="0" y="318"/>
                  </a:cubicBezTo>
                  <a:cubicBezTo>
                    <a:pt x="0" y="306"/>
                    <a:pt x="3" y="294"/>
                    <a:pt x="9" y="283"/>
                  </a:cubicBezTo>
                  <a:cubicBezTo>
                    <a:pt x="14" y="283"/>
                    <a:pt x="14" y="283"/>
                    <a:pt x="14" y="283"/>
                  </a:cubicBezTo>
                  <a:cubicBezTo>
                    <a:pt x="14" y="282"/>
                    <a:pt x="14" y="281"/>
                    <a:pt x="14" y="279"/>
                  </a:cubicBezTo>
                  <a:cubicBezTo>
                    <a:pt x="14" y="275"/>
                    <a:pt x="17" y="270"/>
                    <a:pt x="23" y="265"/>
                  </a:cubicBezTo>
                  <a:cubicBezTo>
                    <a:pt x="42" y="249"/>
                    <a:pt x="71" y="245"/>
                    <a:pt x="83" y="224"/>
                  </a:cubicBezTo>
                  <a:cubicBezTo>
                    <a:pt x="88" y="215"/>
                    <a:pt x="89" y="204"/>
                    <a:pt x="93" y="194"/>
                  </a:cubicBezTo>
                  <a:cubicBezTo>
                    <a:pt x="104" y="167"/>
                    <a:pt x="137" y="158"/>
                    <a:pt x="157" y="136"/>
                  </a:cubicBezTo>
                  <a:cubicBezTo>
                    <a:pt x="177" y="114"/>
                    <a:pt x="182" y="84"/>
                    <a:pt x="198" y="60"/>
                  </a:cubicBezTo>
                  <a:cubicBezTo>
                    <a:pt x="210" y="42"/>
                    <a:pt x="227" y="29"/>
                    <a:pt x="246" y="20"/>
                  </a:cubicBezTo>
                  <a:cubicBezTo>
                    <a:pt x="248" y="19"/>
                    <a:pt x="249" y="18"/>
                    <a:pt x="251" y="18"/>
                  </a:cubicBezTo>
                  <a:cubicBezTo>
                    <a:pt x="284" y="4"/>
                    <a:pt x="324" y="0"/>
                    <a:pt x="358" y="0"/>
                  </a:cubicBezTo>
                  <a:cubicBezTo>
                    <a:pt x="371" y="0"/>
                    <a:pt x="406" y="1"/>
                    <a:pt x="423" y="8"/>
                  </a:cubicBezTo>
                  <a:cubicBezTo>
                    <a:pt x="426" y="9"/>
                    <a:pt x="428" y="10"/>
                    <a:pt x="430" y="12"/>
                  </a:cubicBezTo>
                  <a:cubicBezTo>
                    <a:pt x="448" y="32"/>
                    <a:pt x="420" y="73"/>
                    <a:pt x="407" y="88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iṩliḋè">
              <a:extLst>
                <a:ext uri="{FF2B5EF4-FFF2-40B4-BE49-F238E27FC236}">
                  <a16:creationId xmlns:a16="http://schemas.microsoft.com/office/drawing/2014/main" id="{F714267D-29CD-4BD1-8CAC-DF5E441F1DCD}"/>
                </a:ext>
              </a:extLst>
            </p:cNvPr>
            <p:cNvSpPr/>
            <p:nvPr/>
          </p:nvSpPr>
          <p:spPr bwMode="auto">
            <a:xfrm>
              <a:off x="6181717" y="4008651"/>
              <a:ext cx="571918" cy="642178"/>
            </a:xfrm>
            <a:custGeom>
              <a:avLst/>
              <a:gdLst>
                <a:gd name="T0" fmla="*/ 82 w 363"/>
                <a:gd name="T1" fmla="*/ 19 h 408"/>
                <a:gd name="T2" fmla="*/ 269 w 363"/>
                <a:gd name="T3" fmla="*/ 39 h 408"/>
                <a:gd name="T4" fmla="*/ 339 w 363"/>
                <a:gd name="T5" fmla="*/ 106 h 408"/>
                <a:gd name="T6" fmla="*/ 360 w 363"/>
                <a:gd name="T7" fmla="*/ 250 h 408"/>
                <a:gd name="T8" fmla="*/ 348 w 363"/>
                <a:gd name="T9" fmla="*/ 323 h 408"/>
                <a:gd name="T10" fmla="*/ 287 w 363"/>
                <a:gd name="T11" fmla="*/ 380 h 408"/>
                <a:gd name="T12" fmla="*/ 238 w 363"/>
                <a:gd name="T13" fmla="*/ 402 h 408"/>
                <a:gd name="T14" fmla="*/ 156 w 363"/>
                <a:gd name="T15" fmla="*/ 398 h 408"/>
                <a:gd name="T16" fmla="*/ 74 w 363"/>
                <a:gd name="T17" fmla="*/ 364 h 408"/>
                <a:gd name="T18" fmla="*/ 49 w 363"/>
                <a:gd name="T19" fmla="*/ 318 h 408"/>
                <a:gd name="T20" fmla="*/ 21 w 363"/>
                <a:gd name="T21" fmla="*/ 248 h 408"/>
                <a:gd name="T22" fmla="*/ 21 w 363"/>
                <a:gd name="T23" fmla="*/ 135 h 408"/>
                <a:gd name="T24" fmla="*/ 52 w 363"/>
                <a:gd name="T25" fmla="*/ 82 h 408"/>
                <a:gd name="T26" fmla="*/ 82 w 363"/>
                <a:gd name="T27" fmla="*/ 1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3" h="408">
                  <a:moveTo>
                    <a:pt x="82" y="19"/>
                  </a:moveTo>
                  <a:cubicBezTo>
                    <a:pt x="144" y="0"/>
                    <a:pt x="212" y="7"/>
                    <a:pt x="269" y="39"/>
                  </a:cubicBezTo>
                  <a:cubicBezTo>
                    <a:pt x="298" y="55"/>
                    <a:pt x="323" y="77"/>
                    <a:pt x="339" y="106"/>
                  </a:cubicBezTo>
                  <a:cubicBezTo>
                    <a:pt x="363" y="149"/>
                    <a:pt x="362" y="201"/>
                    <a:pt x="360" y="250"/>
                  </a:cubicBezTo>
                  <a:cubicBezTo>
                    <a:pt x="360" y="275"/>
                    <a:pt x="358" y="301"/>
                    <a:pt x="348" y="323"/>
                  </a:cubicBezTo>
                  <a:cubicBezTo>
                    <a:pt x="335" y="348"/>
                    <a:pt x="311" y="366"/>
                    <a:pt x="287" y="380"/>
                  </a:cubicBezTo>
                  <a:cubicBezTo>
                    <a:pt x="272" y="390"/>
                    <a:pt x="255" y="397"/>
                    <a:pt x="238" y="402"/>
                  </a:cubicBezTo>
                  <a:cubicBezTo>
                    <a:pt x="211" y="408"/>
                    <a:pt x="183" y="403"/>
                    <a:pt x="156" y="398"/>
                  </a:cubicBezTo>
                  <a:cubicBezTo>
                    <a:pt x="126" y="392"/>
                    <a:pt x="95" y="386"/>
                    <a:pt x="74" y="364"/>
                  </a:cubicBezTo>
                  <a:cubicBezTo>
                    <a:pt x="62" y="351"/>
                    <a:pt x="56" y="335"/>
                    <a:pt x="49" y="318"/>
                  </a:cubicBezTo>
                  <a:cubicBezTo>
                    <a:pt x="40" y="295"/>
                    <a:pt x="31" y="272"/>
                    <a:pt x="21" y="248"/>
                  </a:cubicBezTo>
                  <a:cubicBezTo>
                    <a:pt x="5" y="208"/>
                    <a:pt x="0" y="174"/>
                    <a:pt x="21" y="135"/>
                  </a:cubicBezTo>
                  <a:cubicBezTo>
                    <a:pt x="31" y="117"/>
                    <a:pt x="43" y="100"/>
                    <a:pt x="52" y="82"/>
                  </a:cubicBezTo>
                  <a:cubicBezTo>
                    <a:pt x="57" y="73"/>
                    <a:pt x="74" y="21"/>
                    <a:pt x="82" y="19"/>
                  </a:cubicBezTo>
                  <a:close/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ísļîḓê">
              <a:extLst>
                <a:ext uri="{FF2B5EF4-FFF2-40B4-BE49-F238E27FC236}">
                  <a16:creationId xmlns:a16="http://schemas.microsoft.com/office/drawing/2014/main" id="{2864C89B-641C-419A-A56B-123518F10CAF}"/>
                </a:ext>
              </a:extLst>
            </p:cNvPr>
            <p:cNvSpPr/>
            <p:nvPr/>
          </p:nvSpPr>
          <p:spPr bwMode="auto">
            <a:xfrm>
              <a:off x="3125402" y="4756219"/>
              <a:ext cx="5832997" cy="642178"/>
            </a:xfrm>
            <a:custGeom>
              <a:avLst/>
              <a:gdLst>
                <a:gd name="T0" fmla="*/ 3704 w 3704"/>
                <a:gd name="T1" fmla="*/ 236 h 408"/>
                <a:gd name="T2" fmla="*/ 3704 w 3704"/>
                <a:gd name="T3" fmla="*/ 355 h 408"/>
                <a:gd name="T4" fmla="*/ 3445 w 3704"/>
                <a:gd name="T5" fmla="*/ 406 h 408"/>
                <a:gd name="T6" fmla="*/ 2366 w 3704"/>
                <a:gd name="T7" fmla="*/ 406 h 408"/>
                <a:gd name="T8" fmla="*/ 2365 w 3704"/>
                <a:gd name="T9" fmla="*/ 408 h 408"/>
                <a:gd name="T10" fmla="*/ 2352 w 3704"/>
                <a:gd name="T11" fmla="*/ 406 h 408"/>
                <a:gd name="T12" fmla="*/ 433 w 3704"/>
                <a:gd name="T13" fmla="*/ 406 h 408"/>
                <a:gd name="T14" fmla="*/ 0 w 3704"/>
                <a:gd name="T15" fmla="*/ 289 h 408"/>
                <a:gd name="T16" fmla="*/ 0 w 3704"/>
                <a:gd name="T17" fmla="*/ 106 h 408"/>
                <a:gd name="T18" fmla="*/ 923 w 3704"/>
                <a:gd name="T19" fmla="*/ 0 h 408"/>
                <a:gd name="T20" fmla="*/ 924 w 3704"/>
                <a:gd name="T21" fmla="*/ 0 h 408"/>
                <a:gd name="T22" fmla="*/ 1461 w 3704"/>
                <a:gd name="T23" fmla="*/ 45 h 408"/>
                <a:gd name="T24" fmla="*/ 1600 w 3704"/>
                <a:gd name="T25" fmla="*/ 57 h 408"/>
                <a:gd name="T26" fmla="*/ 1672 w 3704"/>
                <a:gd name="T27" fmla="*/ 63 h 408"/>
                <a:gd name="T28" fmla="*/ 1822 w 3704"/>
                <a:gd name="T29" fmla="*/ 76 h 408"/>
                <a:gd name="T30" fmla="*/ 1899 w 3704"/>
                <a:gd name="T31" fmla="*/ 83 h 408"/>
                <a:gd name="T32" fmla="*/ 2011 w 3704"/>
                <a:gd name="T33" fmla="*/ 92 h 408"/>
                <a:gd name="T34" fmla="*/ 2027 w 3704"/>
                <a:gd name="T35" fmla="*/ 94 h 408"/>
                <a:gd name="T36" fmla="*/ 2107 w 3704"/>
                <a:gd name="T37" fmla="*/ 100 h 408"/>
                <a:gd name="T38" fmla="*/ 2217 w 3704"/>
                <a:gd name="T39" fmla="*/ 109 h 408"/>
                <a:gd name="T40" fmla="*/ 2371 w 3704"/>
                <a:gd name="T41" fmla="*/ 122 h 408"/>
                <a:gd name="T42" fmla="*/ 2628 w 3704"/>
                <a:gd name="T43" fmla="*/ 144 h 408"/>
                <a:gd name="T44" fmla="*/ 2808 w 3704"/>
                <a:gd name="T45" fmla="*/ 160 h 408"/>
                <a:gd name="T46" fmla="*/ 3105 w 3704"/>
                <a:gd name="T47" fmla="*/ 185 h 408"/>
                <a:gd name="T48" fmla="*/ 3161 w 3704"/>
                <a:gd name="T49" fmla="*/ 189 h 408"/>
                <a:gd name="T50" fmla="*/ 3167 w 3704"/>
                <a:gd name="T51" fmla="*/ 190 h 408"/>
                <a:gd name="T52" fmla="*/ 3173 w 3704"/>
                <a:gd name="T53" fmla="*/ 190 h 408"/>
                <a:gd name="T54" fmla="*/ 3247 w 3704"/>
                <a:gd name="T55" fmla="*/ 197 h 408"/>
                <a:gd name="T56" fmla="*/ 3329 w 3704"/>
                <a:gd name="T57" fmla="*/ 204 h 408"/>
                <a:gd name="T58" fmla="*/ 3338 w 3704"/>
                <a:gd name="T59" fmla="*/ 204 h 408"/>
                <a:gd name="T60" fmla="*/ 3704 w 3704"/>
                <a:gd name="T61" fmla="*/ 23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04" h="408">
                  <a:moveTo>
                    <a:pt x="3704" y="236"/>
                  </a:moveTo>
                  <a:cubicBezTo>
                    <a:pt x="3704" y="355"/>
                    <a:pt x="3704" y="355"/>
                    <a:pt x="3704" y="355"/>
                  </a:cubicBezTo>
                  <a:cubicBezTo>
                    <a:pt x="3622" y="389"/>
                    <a:pt x="3534" y="407"/>
                    <a:pt x="3445" y="406"/>
                  </a:cubicBezTo>
                  <a:cubicBezTo>
                    <a:pt x="2366" y="406"/>
                    <a:pt x="2366" y="406"/>
                    <a:pt x="2366" y="406"/>
                  </a:cubicBezTo>
                  <a:cubicBezTo>
                    <a:pt x="2366" y="407"/>
                    <a:pt x="2365" y="407"/>
                    <a:pt x="2365" y="408"/>
                  </a:cubicBezTo>
                  <a:cubicBezTo>
                    <a:pt x="2352" y="406"/>
                    <a:pt x="2352" y="406"/>
                    <a:pt x="2352" y="406"/>
                  </a:cubicBezTo>
                  <a:cubicBezTo>
                    <a:pt x="433" y="406"/>
                    <a:pt x="433" y="406"/>
                    <a:pt x="433" y="406"/>
                  </a:cubicBezTo>
                  <a:cubicBezTo>
                    <a:pt x="272" y="406"/>
                    <a:pt x="122" y="363"/>
                    <a:pt x="0" y="289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923" y="0"/>
                    <a:pt x="923" y="0"/>
                    <a:pt x="923" y="0"/>
                  </a:cubicBezTo>
                  <a:cubicBezTo>
                    <a:pt x="924" y="0"/>
                    <a:pt x="924" y="0"/>
                    <a:pt x="924" y="0"/>
                  </a:cubicBezTo>
                  <a:cubicBezTo>
                    <a:pt x="1461" y="45"/>
                    <a:pt x="1461" y="45"/>
                    <a:pt x="1461" y="45"/>
                  </a:cubicBezTo>
                  <a:cubicBezTo>
                    <a:pt x="1600" y="57"/>
                    <a:pt x="1600" y="57"/>
                    <a:pt x="1600" y="57"/>
                  </a:cubicBezTo>
                  <a:cubicBezTo>
                    <a:pt x="1672" y="63"/>
                    <a:pt x="1672" y="63"/>
                    <a:pt x="1672" y="63"/>
                  </a:cubicBezTo>
                  <a:cubicBezTo>
                    <a:pt x="1822" y="76"/>
                    <a:pt x="1822" y="76"/>
                    <a:pt x="1822" y="76"/>
                  </a:cubicBezTo>
                  <a:cubicBezTo>
                    <a:pt x="1899" y="83"/>
                    <a:pt x="1899" y="83"/>
                    <a:pt x="1899" y="83"/>
                  </a:cubicBezTo>
                  <a:cubicBezTo>
                    <a:pt x="2011" y="92"/>
                    <a:pt x="2011" y="92"/>
                    <a:pt x="2011" y="92"/>
                  </a:cubicBezTo>
                  <a:cubicBezTo>
                    <a:pt x="2027" y="94"/>
                    <a:pt x="2027" y="94"/>
                    <a:pt x="2027" y="94"/>
                  </a:cubicBezTo>
                  <a:cubicBezTo>
                    <a:pt x="2107" y="100"/>
                    <a:pt x="2107" y="100"/>
                    <a:pt x="2107" y="100"/>
                  </a:cubicBezTo>
                  <a:cubicBezTo>
                    <a:pt x="2217" y="109"/>
                    <a:pt x="2217" y="109"/>
                    <a:pt x="2217" y="109"/>
                  </a:cubicBezTo>
                  <a:cubicBezTo>
                    <a:pt x="2371" y="122"/>
                    <a:pt x="2371" y="122"/>
                    <a:pt x="2371" y="122"/>
                  </a:cubicBezTo>
                  <a:cubicBezTo>
                    <a:pt x="2628" y="144"/>
                    <a:pt x="2628" y="144"/>
                    <a:pt x="2628" y="144"/>
                  </a:cubicBezTo>
                  <a:cubicBezTo>
                    <a:pt x="2808" y="160"/>
                    <a:pt x="2808" y="160"/>
                    <a:pt x="2808" y="160"/>
                  </a:cubicBezTo>
                  <a:cubicBezTo>
                    <a:pt x="3105" y="185"/>
                    <a:pt x="3105" y="185"/>
                    <a:pt x="3105" y="185"/>
                  </a:cubicBezTo>
                  <a:cubicBezTo>
                    <a:pt x="3161" y="189"/>
                    <a:pt x="3161" y="189"/>
                    <a:pt x="3161" y="189"/>
                  </a:cubicBezTo>
                  <a:cubicBezTo>
                    <a:pt x="3167" y="190"/>
                    <a:pt x="3167" y="190"/>
                    <a:pt x="3167" y="190"/>
                  </a:cubicBezTo>
                  <a:cubicBezTo>
                    <a:pt x="3173" y="190"/>
                    <a:pt x="3173" y="190"/>
                    <a:pt x="3173" y="190"/>
                  </a:cubicBezTo>
                  <a:cubicBezTo>
                    <a:pt x="3247" y="197"/>
                    <a:pt x="3247" y="197"/>
                    <a:pt x="3247" y="197"/>
                  </a:cubicBezTo>
                  <a:cubicBezTo>
                    <a:pt x="3329" y="204"/>
                    <a:pt x="3329" y="204"/>
                    <a:pt x="3329" y="204"/>
                  </a:cubicBezTo>
                  <a:cubicBezTo>
                    <a:pt x="3338" y="204"/>
                    <a:pt x="3338" y="204"/>
                    <a:pt x="3338" y="204"/>
                  </a:cubicBezTo>
                  <a:cubicBezTo>
                    <a:pt x="3704" y="236"/>
                    <a:pt x="3704" y="236"/>
                    <a:pt x="3704" y="236"/>
                  </a:cubicBezTo>
                </a:path>
              </a:pathLst>
            </a:custGeom>
            <a:solidFill>
              <a:srgbClr val="504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iṩļîḋè">
              <a:extLst>
                <a:ext uri="{FF2B5EF4-FFF2-40B4-BE49-F238E27FC236}">
                  <a16:creationId xmlns:a16="http://schemas.microsoft.com/office/drawing/2014/main" id="{B8028FD0-CCC3-42DF-8DEE-282E81ADA5C8}"/>
                </a:ext>
              </a:extLst>
            </p:cNvPr>
            <p:cNvSpPr/>
            <p:nvPr/>
          </p:nvSpPr>
          <p:spPr bwMode="auto">
            <a:xfrm>
              <a:off x="5359674" y="4809617"/>
              <a:ext cx="1891403" cy="487606"/>
            </a:xfrm>
            <a:custGeom>
              <a:avLst/>
              <a:gdLst>
                <a:gd name="T0" fmla="*/ 1346 w 1346"/>
                <a:gd name="T1" fmla="*/ 221 h 347"/>
                <a:gd name="T2" fmla="*/ 49 w 1346"/>
                <a:gd name="T3" fmla="*/ 0 h 347"/>
                <a:gd name="T4" fmla="*/ 0 w 1346"/>
                <a:gd name="T5" fmla="*/ 254 h 347"/>
                <a:gd name="T6" fmla="*/ 594 w 1346"/>
                <a:gd name="T7" fmla="*/ 325 h 347"/>
                <a:gd name="T8" fmla="*/ 777 w 1346"/>
                <a:gd name="T9" fmla="*/ 347 h 347"/>
                <a:gd name="T10" fmla="*/ 1280 w 1346"/>
                <a:gd name="T11" fmla="*/ 249 h 347"/>
                <a:gd name="T12" fmla="*/ 1346 w 1346"/>
                <a:gd name="T13" fmla="*/ 22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6" h="347">
                  <a:moveTo>
                    <a:pt x="1346" y="221"/>
                  </a:moveTo>
                  <a:lnTo>
                    <a:pt x="49" y="0"/>
                  </a:lnTo>
                  <a:lnTo>
                    <a:pt x="0" y="254"/>
                  </a:lnTo>
                  <a:lnTo>
                    <a:pt x="594" y="325"/>
                  </a:lnTo>
                  <a:lnTo>
                    <a:pt x="777" y="347"/>
                  </a:lnTo>
                  <a:lnTo>
                    <a:pt x="1280" y="249"/>
                  </a:lnTo>
                  <a:lnTo>
                    <a:pt x="1346" y="221"/>
                  </a:lnTo>
                  <a:close/>
                </a:path>
              </a:pathLst>
            </a:custGeom>
            <a:solidFill>
              <a:srgbClr val="9C9C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iSḻîḋe">
              <a:extLst>
                <a:ext uri="{FF2B5EF4-FFF2-40B4-BE49-F238E27FC236}">
                  <a16:creationId xmlns:a16="http://schemas.microsoft.com/office/drawing/2014/main" id="{74C0D3EE-C27C-48AF-951B-B11A4A517096}"/>
                </a:ext>
              </a:extLst>
            </p:cNvPr>
            <p:cNvSpPr/>
            <p:nvPr/>
          </p:nvSpPr>
          <p:spPr bwMode="auto">
            <a:xfrm>
              <a:off x="5359674" y="4809617"/>
              <a:ext cx="1891403" cy="487606"/>
            </a:xfrm>
            <a:custGeom>
              <a:avLst/>
              <a:gdLst>
                <a:gd name="T0" fmla="*/ 1346 w 1346"/>
                <a:gd name="T1" fmla="*/ 221 h 347"/>
                <a:gd name="T2" fmla="*/ 49 w 1346"/>
                <a:gd name="T3" fmla="*/ 0 h 347"/>
                <a:gd name="T4" fmla="*/ 0 w 1346"/>
                <a:gd name="T5" fmla="*/ 254 h 347"/>
                <a:gd name="T6" fmla="*/ 594 w 1346"/>
                <a:gd name="T7" fmla="*/ 325 h 347"/>
                <a:gd name="T8" fmla="*/ 777 w 1346"/>
                <a:gd name="T9" fmla="*/ 347 h 347"/>
                <a:gd name="T10" fmla="*/ 1280 w 1346"/>
                <a:gd name="T11" fmla="*/ 249 h 347"/>
                <a:gd name="T12" fmla="*/ 1346 w 1346"/>
                <a:gd name="T13" fmla="*/ 22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6" h="347">
                  <a:moveTo>
                    <a:pt x="1346" y="221"/>
                  </a:moveTo>
                  <a:lnTo>
                    <a:pt x="49" y="0"/>
                  </a:lnTo>
                  <a:lnTo>
                    <a:pt x="0" y="254"/>
                  </a:lnTo>
                  <a:lnTo>
                    <a:pt x="594" y="325"/>
                  </a:lnTo>
                  <a:lnTo>
                    <a:pt x="777" y="347"/>
                  </a:lnTo>
                  <a:lnTo>
                    <a:pt x="1280" y="249"/>
                  </a:lnTo>
                  <a:lnTo>
                    <a:pt x="1346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îšḷîḍé">
              <a:extLst>
                <a:ext uri="{FF2B5EF4-FFF2-40B4-BE49-F238E27FC236}">
                  <a16:creationId xmlns:a16="http://schemas.microsoft.com/office/drawing/2014/main" id="{FE439A9D-C8C8-4FA6-925A-5ADA3A2878DA}"/>
                </a:ext>
              </a:extLst>
            </p:cNvPr>
            <p:cNvSpPr/>
            <p:nvPr/>
          </p:nvSpPr>
          <p:spPr bwMode="auto">
            <a:xfrm>
              <a:off x="6308186" y="5106114"/>
              <a:ext cx="951323" cy="233264"/>
            </a:xfrm>
            <a:custGeom>
              <a:avLst/>
              <a:gdLst>
                <a:gd name="T0" fmla="*/ 0 w 604"/>
                <a:gd name="T1" fmla="*/ 111 h 148"/>
                <a:gd name="T2" fmla="*/ 580 w 604"/>
                <a:gd name="T3" fmla="*/ 2 h 148"/>
                <a:gd name="T4" fmla="*/ 603 w 604"/>
                <a:gd name="T5" fmla="*/ 18 h 148"/>
                <a:gd name="T6" fmla="*/ 604 w 604"/>
                <a:gd name="T7" fmla="*/ 22 h 148"/>
                <a:gd name="T8" fmla="*/ 587 w 604"/>
                <a:gd name="T9" fmla="*/ 42 h 148"/>
                <a:gd name="T10" fmla="*/ 21 w 604"/>
                <a:gd name="T11" fmla="*/ 148 h 148"/>
                <a:gd name="T12" fmla="*/ 0 w 604"/>
                <a:gd name="T13" fmla="*/ 11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4" h="148">
                  <a:moveTo>
                    <a:pt x="0" y="111"/>
                  </a:moveTo>
                  <a:cubicBezTo>
                    <a:pt x="580" y="2"/>
                    <a:pt x="580" y="2"/>
                    <a:pt x="580" y="2"/>
                  </a:cubicBezTo>
                  <a:cubicBezTo>
                    <a:pt x="591" y="0"/>
                    <a:pt x="601" y="7"/>
                    <a:pt x="603" y="18"/>
                  </a:cubicBezTo>
                  <a:cubicBezTo>
                    <a:pt x="603" y="19"/>
                    <a:pt x="604" y="21"/>
                    <a:pt x="604" y="22"/>
                  </a:cubicBezTo>
                  <a:cubicBezTo>
                    <a:pt x="604" y="32"/>
                    <a:pt x="597" y="40"/>
                    <a:pt x="587" y="42"/>
                  </a:cubicBezTo>
                  <a:cubicBezTo>
                    <a:pt x="21" y="148"/>
                    <a:pt x="21" y="148"/>
                    <a:pt x="21" y="148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9C9C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i$ľiďè">
              <a:extLst>
                <a:ext uri="{FF2B5EF4-FFF2-40B4-BE49-F238E27FC236}">
                  <a16:creationId xmlns:a16="http://schemas.microsoft.com/office/drawing/2014/main" id="{F4CE1DDE-1E72-4E3C-BA2E-4F964B828B76}"/>
                </a:ext>
              </a:extLst>
            </p:cNvPr>
            <p:cNvSpPr/>
            <p:nvPr/>
          </p:nvSpPr>
          <p:spPr bwMode="auto">
            <a:xfrm>
              <a:off x="5990610" y="4610078"/>
              <a:ext cx="1333538" cy="536787"/>
            </a:xfrm>
            <a:custGeom>
              <a:avLst/>
              <a:gdLst>
                <a:gd name="T0" fmla="*/ 453 w 846"/>
                <a:gd name="T1" fmla="*/ 84 h 341"/>
                <a:gd name="T2" fmla="*/ 505 w 846"/>
                <a:gd name="T3" fmla="*/ 71 h 341"/>
                <a:gd name="T4" fmla="*/ 559 w 846"/>
                <a:gd name="T5" fmla="*/ 31 h 341"/>
                <a:gd name="T6" fmla="*/ 701 w 846"/>
                <a:gd name="T7" fmla="*/ 16 h 341"/>
                <a:gd name="T8" fmla="*/ 814 w 846"/>
                <a:gd name="T9" fmla="*/ 107 h 341"/>
                <a:gd name="T10" fmla="*/ 833 w 846"/>
                <a:gd name="T11" fmla="*/ 200 h 341"/>
                <a:gd name="T12" fmla="*/ 817 w 846"/>
                <a:gd name="T13" fmla="*/ 226 h 341"/>
                <a:gd name="T14" fmla="*/ 783 w 846"/>
                <a:gd name="T15" fmla="*/ 269 h 341"/>
                <a:gd name="T16" fmla="*/ 761 w 846"/>
                <a:gd name="T17" fmla="*/ 294 h 341"/>
                <a:gd name="T18" fmla="*/ 717 w 846"/>
                <a:gd name="T19" fmla="*/ 309 h 341"/>
                <a:gd name="T20" fmla="*/ 594 w 846"/>
                <a:gd name="T21" fmla="*/ 314 h 341"/>
                <a:gd name="T22" fmla="*/ 385 w 846"/>
                <a:gd name="T23" fmla="*/ 340 h 341"/>
                <a:gd name="T24" fmla="*/ 265 w 846"/>
                <a:gd name="T25" fmla="*/ 324 h 341"/>
                <a:gd name="T26" fmla="*/ 90 w 846"/>
                <a:gd name="T27" fmla="*/ 288 h 341"/>
                <a:gd name="T28" fmla="*/ 11 w 846"/>
                <a:gd name="T29" fmla="*/ 245 h 341"/>
                <a:gd name="T30" fmla="*/ 2 w 846"/>
                <a:gd name="T31" fmla="*/ 204 h 341"/>
                <a:gd name="T32" fmla="*/ 29 w 846"/>
                <a:gd name="T33" fmla="*/ 95 h 341"/>
                <a:gd name="T34" fmla="*/ 124 w 846"/>
                <a:gd name="T35" fmla="*/ 41 h 341"/>
                <a:gd name="T36" fmla="*/ 211 w 846"/>
                <a:gd name="T37" fmla="*/ 43 h 341"/>
                <a:gd name="T38" fmla="*/ 453 w 846"/>
                <a:gd name="T39" fmla="*/ 84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46" h="341">
                  <a:moveTo>
                    <a:pt x="453" y="84"/>
                  </a:moveTo>
                  <a:cubicBezTo>
                    <a:pt x="471" y="82"/>
                    <a:pt x="489" y="79"/>
                    <a:pt x="505" y="71"/>
                  </a:cubicBezTo>
                  <a:cubicBezTo>
                    <a:pt x="525" y="61"/>
                    <a:pt x="541" y="44"/>
                    <a:pt x="559" y="31"/>
                  </a:cubicBezTo>
                  <a:cubicBezTo>
                    <a:pt x="600" y="3"/>
                    <a:pt x="655" y="0"/>
                    <a:pt x="701" y="16"/>
                  </a:cubicBezTo>
                  <a:cubicBezTo>
                    <a:pt x="748" y="32"/>
                    <a:pt x="787" y="66"/>
                    <a:pt x="814" y="107"/>
                  </a:cubicBezTo>
                  <a:cubicBezTo>
                    <a:pt x="832" y="135"/>
                    <a:pt x="846" y="170"/>
                    <a:pt x="833" y="200"/>
                  </a:cubicBezTo>
                  <a:cubicBezTo>
                    <a:pt x="829" y="209"/>
                    <a:pt x="823" y="218"/>
                    <a:pt x="817" y="226"/>
                  </a:cubicBezTo>
                  <a:cubicBezTo>
                    <a:pt x="783" y="269"/>
                    <a:pt x="783" y="269"/>
                    <a:pt x="783" y="269"/>
                  </a:cubicBezTo>
                  <a:cubicBezTo>
                    <a:pt x="777" y="278"/>
                    <a:pt x="769" y="287"/>
                    <a:pt x="761" y="294"/>
                  </a:cubicBezTo>
                  <a:cubicBezTo>
                    <a:pt x="748" y="303"/>
                    <a:pt x="733" y="306"/>
                    <a:pt x="717" y="309"/>
                  </a:cubicBezTo>
                  <a:cubicBezTo>
                    <a:pt x="677" y="315"/>
                    <a:pt x="635" y="311"/>
                    <a:pt x="594" y="314"/>
                  </a:cubicBezTo>
                  <a:cubicBezTo>
                    <a:pt x="524" y="319"/>
                    <a:pt x="456" y="341"/>
                    <a:pt x="385" y="340"/>
                  </a:cubicBezTo>
                  <a:cubicBezTo>
                    <a:pt x="345" y="340"/>
                    <a:pt x="305" y="332"/>
                    <a:pt x="265" y="324"/>
                  </a:cubicBezTo>
                  <a:cubicBezTo>
                    <a:pt x="90" y="288"/>
                    <a:pt x="90" y="288"/>
                    <a:pt x="90" y="288"/>
                  </a:cubicBezTo>
                  <a:cubicBezTo>
                    <a:pt x="60" y="281"/>
                    <a:pt x="25" y="272"/>
                    <a:pt x="11" y="245"/>
                  </a:cubicBezTo>
                  <a:cubicBezTo>
                    <a:pt x="4" y="232"/>
                    <a:pt x="3" y="218"/>
                    <a:pt x="2" y="204"/>
                  </a:cubicBezTo>
                  <a:cubicBezTo>
                    <a:pt x="0" y="165"/>
                    <a:pt x="2" y="122"/>
                    <a:pt x="29" y="95"/>
                  </a:cubicBezTo>
                  <a:cubicBezTo>
                    <a:pt x="54" y="69"/>
                    <a:pt x="94" y="60"/>
                    <a:pt x="124" y="41"/>
                  </a:cubicBezTo>
                  <a:cubicBezTo>
                    <a:pt x="161" y="17"/>
                    <a:pt x="173" y="25"/>
                    <a:pt x="211" y="43"/>
                  </a:cubicBezTo>
                  <a:cubicBezTo>
                    <a:pt x="287" y="77"/>
                    <a:pt x="370" y="91"/>
                    <a:pt x="453" y="84"/>
                  </a:cubicBezTo>
                </a:path>
              </a:pathLst>
            </a:cu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ï$ļïḓê">
              <a:extLst>
                <a:ext uri="{FF2B5EF4-FFF2-40B4-BE49-F238E27FC236}">
                  <a16:creationId xmlns:a16="http://schemas.microsoft.com/office/drawing/2014/main" id="{46AEE71D-533B-4AB6-92A9-0F270D241288}"/>
                </a:ext>
              </a:extLst>
            </p:cNvPr>
            <p:cNvSpPr/>
            <p:nvPr/>
          </p:nvSpPr>
          <p:spPr bwMode="auto">
            <a:xfrm>
              <a:off x="5994826" y="4619914"/>
              <a:ext cx="1273114" cy="452475"/>
            </a:xfrm>
            <a:custGeom>
              <a:avLst/>
              <a:gdLst>
                <a:gd name="T0" fmla="*/ 643 w 809"/>
                <a:gd name="T1" fmla="*/ 0 h 288"/>
                <a:gd name="T2" fmla="*/ 557 w 809"/>
                <a:gd name="T3" fmla="*/ 25 h 288"/>
                <a:gd name="T4" fmla="*/ 535 w 809"/>
                <a:gd name="T5" fmla="*/ 43 h 288"/>
                <a:gd name="T6" fmla="*/ 503 w 809"/>
                <a:gd name="T7" fmla="*/ 65 h 288"/>
                <a:gd name="T8" fmla="*/ 451 w 809"/>
                <a:gd name="T9" fmla="*/ 78 h 288"/>
                <a:gd name="T10" fmla="*/ 407 w 809"/>
                <a:gd name="T11" fmla="*/ 80 h 288"/>
                <a:gd name="T12" fmla="*/ 285 w 809"/>
                <a:gd name="T13" fmla="*/ 64 h 288"/>
                <a:gd name="T14" fmla="*/ 209 w 809"/>
                <a:gd name="T15" fmla="*/ 37 h 288"/>
                <a:gd name="T16" fmla="*/ 161 w 809"/>
                <a:gd name="T17" fmla="*/ 20 h 288"/>
                <a:gd name="T18" fmla="*/ 122 w 809"/>
                <a:gd name="T19" fmla="*/ 35 h 288"/>
                <a:gd name="T20" fmla="*/ 27 w 809"/>
                <a:gd name="T21" fmla="*/ 89 h 288"/>
                <a:gd name="T22" fmla="*/ 0 w 809"/>
                <a:gd name="T23" fmla="*/ 163 h 288"/>
                <a:gd name="T24" fmla="*/ 0 w 809"/>
                <a:gd name="T25" fmla="*/ 177 h 288"/>
                <a:gd name="T26" fmla="*/ 0 w 809"/>
                <a:gd name="T27" fmla="*/ 198 h 288"/>
                <a:gd name="T28" fmla="*/ 9 w 809"/>
                <a:gd name="T29" fmla="*/ 239 h 288"/>
                <a:gd name="T30" fmla="*/ 88 w 809"/>
                <a:gd name="T31" fmla="*/ 282 h 288"/>
                <a:gd name="T32" fmla="*/ 119 w 809"/>
                <a:gd name="T33" fmla="*/ 288 h 288"/>
                <a:gd name="T34" fmla="*/ 129 w 809"/>
                <a:gd name="T35" fmla="*/ 264 h 288"/>
                <a:gd name="T36" fmla="*/ 210 w 809"/>
                <a:gd name="T37" fmla="*/ 176 h 288"/>
                <a:gd name="T38" fmla="*/ 426 w 809"/>
                <a:gd name="T39" fmla="*/ 109 h 288"/>
                <a:gd name="T40" fmla="*/ 544 w 809"/>
                <a:gd name="T41" fmla="*/ 123 h 288"/>
                <a:gd name="T42" fmla="*/ 605 w 809"/>
                <a:gd name="T43" fmla="*/ 136 h 288"/>
                <a:gd name="T44" fmla="*/ 618 w 809"/>
                <a:gd name="T45" fmla="*/ 137 h 288"/>
                <a:gd name="T46" fmla="*/ 742 w 809"/>
                <a:gd name="T47" fmla="*/ 110 h 288"/>
                <a:gd name="T48" fmla="*/ 809 w 809"/>
                <a:gd name="T49" fmla="*/ 97 h 288"/>
                <a:gd name="T50" fmla="*/ 699 w 809"/>
                <a:gd name="T51" fmla="*/ 10 h 288"/>
                <a:gd name="T52" fmla="*/ 643 w 809"/>
                <a:gd name="T53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09" h="288">
                  <a:moveTo>
                    <a:pt x="643" y="0"/>
                  </a:moveTo>
                  <a:cubicBezTo>
                    <a:pt x="612" y="0"/>
                    <a:pt x="582" y="8"/>
                    <a:pt x="557" y="25"/>
                  </a:cubicBezTo>
                  <a:cubicBezTo>
                    <a:pt x="549" y="31"/>
                    <a:pt x="542" y="37"/>
                    <a:pt x="535" y="43"/>
                  </a:cubicBezTo>
                  <a:cubicBezTo>
                    <a:pt x="525" y="51"/>
                    <a:pt x="515" y="59"/>
                    <a:pt x="503" y="65"/>
                  </a:cubicBezTo>
                  <a:cubicBezTo>
                    <a:pt x="487" y="73"/>
                    <a:pt x="469" y="76"/>
                    <a:pt x="451" y="78"/>
                  </a:cubicBezTo>
                  <a:cubicBezTo>
                    <a:pt x="436" y="79"/>
                    <a:pt x="422" y="80"/>
                    <a:pt x="407" y="80"/>
                  </a:cubicBezTo>
                  <a:cubicBezTo>
                    <a:pt x="366" y="80"/>
                    <a:pt x="325" y="74"/>
                    <a:pt x="285" y="64"/>
                  </a:cubicBezTo>
                  <a:cubicBezTo>
                    <a:pt x="259" y="57"/>
                    <a:pt x="234" y="48"/>
                    <a:pt x="209" y="37"/>
                  </a:cubicBezTo>
                  <a:cubicBezTo>
                    <a:pt x="188" y="27"/>
                    <a:pt x="175" y="20"/>
                    <a:pt x="161" y="20"/>
                  </a:cubicBezTo>
                  <a:cubicBezTo>
                    <a:pt x="150" y="20"/>
                    <a:pt x="138" y="25"/>
                    <a:pt x="122" y="35"/>
                  </a:cubicBezTo>
                  <a:cubicBezTo>
                    <a:pt x="92" y="54"/>
                    <a:pt x="52" y="63"/>
                    <a:pt x="27" y="89"/>
                  </a:cubicBezTo>
                  <a:cubicBezTo>
                    <a:pt x="8" y="108"/>
                    <a:pt x="2" y="135"/>
                    <a:pt x="0" y="163"/>
                  </a:cubicBezTo>
                  <a:cubicBezTo>
                    <a:pt x="0" y="168"/>
                    <a:pt x="0" y="173"/>
                    <a:pt x="0" y="177"/>
                  </a:cubicBezTo>
                  <a:cubicBezTo>
                    <a:pt x="0" y="184"/>
                    <a:pt x="0" y="191"/>
                    <a:pt x="0" y="198"/>
                  </a:cubicBezTo>
                  <a:cubicBezTo>
                    <a:pt x="1" y="212"/>
                    <a:pt x="2" y="226"/>
                    <a:pt x="9" y="239"/>
                  </a:cubicBezTo>
                  <a:cubicBezTo>
                    <a:pt x="23" y="266"/>
                    <a:pt x="58" y="275"/>
                    <a:pt x="88" y="282"/>
                  </a:cubicBezTo>
                  <a:cubicBezTo>
                    <a:pt x="119" y="288"/>
                    <a:pt x="119" y="288"/>
                    <a:pt x="119" y="288"/>
                  </a:cubicBezTo>
                  <a:cubicBezTo>
                    <a:pt x="120" y="280"/>
                    <a:pt x="124" y="272"/>
                    <a:pt x="129" y="264"/>
                  </a:cubicBezTo>
                  <a:cubicBezTo>
                    <a:pt x="152" y="232"/>
                    <a:pt x="178" y="201"/>
                    <a:pt x="210" y="176"/>
                  </a:cubicBezTo>
                  <a:cubicBezTo>
                    <a:pt x="271" y="129"/>
                    <a:pt x="348" y="109"/>
                    <a:pt x="426" y="109"/>
                  </a:cubicBezTo>
                  <a:cubicBezTo>
                    <a:pt x="466" y="109"/>
                    <a:pt x="506" y="114"/>
                    <a:pt x="544" y="123"/>
                  </a:cubicBezTo>
                  <a:cubicBezTo>
                    <a:pt x="564" y="128"/>
                    <a:pt x="584" y="135"/>
                    <a:pt x="605" y="136"/>
                  </a:cubicBezTo>
                  <a:cubicBezTo>
                    <a:pt x="609" y="137"/>
                    <a:pt x="613" y="137"/>
                    <a:pt x="618" y="137"/>
                  </a:cubicBezTo>
                  <a:cubicBezTo>
                    <a:pt x="660" y="137"/>
                    <a:pt x="701" y="120"/>
                    <a:pt x="742" y="110"/>
                  </a:cubicBezTo>
                  <a:cubicBezTo>
                    <a:pt x="764" y="104"/>
                    <a:pt x="787" y="100"/>
                    <a:pt x="809" y="97"/>
                  </a:cubicBezTo>
                  <a:cubicBezTo>
                    <a:pt x="782" y="58"/>
                    <a:pt x="744" y="25"/>
                    <a:pt x="699" y="10"/>
                  </a:cubicBezTo>
                  <a:cubicBezTo>
                    <a:pt x="681" y="3"/>
                    <a:pt x="662" y="0"/>
                    <a:pt x="643" y="0"/>
                  </a:cubicBezTo>
                </a:path>
              </a:pathLst>
            </a:custGeom>
            <a:solidFill>
              <a:srgbClr val="A56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ïśliďè">
              <a:extLst>
                <a:ext uri="{FF2B5EF4-FFF2-40B4-BE49-F238E27FC236}">
                  <a16:creationId xmlns:a16="http://schemas.microsoft.com/office/drawing/2014/main" id="{CD6B84E5-BEF6-4121-9BA2-96C4F451997A}"/>
                </a:ext>
              </a:extLst>
            </p:cNvPr>
            <p:cNvSpPr/>
            <p:nvPr/>
          </p:nvSpPr>
          <p:spPr bwMode="auto">
            <a:xfrm>
              <a:off x="6167665" y="4612888"/>
              <a:ext cx="2151366" cy="615479"/>
            </a:xfrm>
            <a:custGeom>
              <a:avLst/>
              <a:gdLst>
                <a:gd name="T0" fmla="*/ 1044 w 1366"/>
                <a:gd name="T1" fmla="*/ 27 h 391"/>
                <a:gd name="T2" fmla="*/ 894 w 1366"/>
                <a:gd name="T3" fmla="*/ 76 h 391"/>
                <a:gd name="T4" fmla="*/ 632 w 1366"/>
                <a:gd name="T5" fmla="*/ 114 h 391"/>
                <a:gd name="T6" fmla="*/ 495 w 1366"/>
                <a:gd name="T7" fmla="*/ 140 h 391"/>
                <a:gd name="T8" fmla="*/ 434 w 1366"/>
                <a:gd name="T9" fmla="*/ 127 h 391"/>
                <a:gd name="T10" fmla="*/ 100 w 1366"/>
                <a:gd name="T11" fmla="*/ 180 h 391"/>
                <a:gd name="T12" fmla="*/ 19 w 1366"/>
                <a:gd name="T13" fmla="*/ 268 h 391"/>
                <a:gd name="T14" fmla="*/ 33 w 1366"/>
                <a:gd name="T15" fmla="*/ 350 h 391"/>
                <a:gd name="T16" fmla="*/ 42 w 1366"/>
                <a:gd name="T17" fmla="*/ 356 h 391"/>
                <a:gd name="T18" fmla="*/ 156 w 1366"/>
                <a:gd name="T19" fmla="*/ 386 h 391"/>
                <a:gd name="T20" fmla="*/ 314 w 1366"/>
                <a:gd name="T21" fmla="*/ 376 h 391"/>
                <a:gd name="T22" fmla="*/ 546 w 1366"/>
                <a:gd name="T23" fmla="*/ 342 h 391"/>
                <a:gd name="T24" fmla="*/ 629 w 1366"/>
                <a:gd name="T25" fmla="*/ 329 h 391"/>
                <a:gd name="T26" fmla="*/ 944 w 1366"/>
                <a:gd name="T27" fmla="*/ 320 h 391"/>
                <a:gd name="T28" fmla="*/ 1236 w 1366"/>
                <a:gd name="T29" fmla="*/ 313 h 391"/>
                <a:gd name="T30" fmla="*/ 1296 w 1366"/>
                <a:gd name="T31" fmla="*/ 300 h 391"/>
                <a:gd name="T32" fmla="*/ 1356 w 1366"/>
                <a:gd name="T33" fmla="*/ 169 h 391"/>
                <a:gd name="T34" fmla="*/ 1264 w 1366"/>
                <a:gd name="T35" fmla="*/ 49 h 391"/>
                <a:gd name="T36" fmla="*/ 1144 w 1366"/>
                <a:gd name="T37" fmla="*/ 9 h 391"/>
                <a:gd name="T38" fmla="*/ 1044 w 1366"/>
                <a:gd name="T39" fmla="*/ 27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66" h="391">
                  <a:moveTo>
                    <a:pt x="1044" y="27"/>
                  </a:moveTo>
                  <a:cubicBezTo>
                    <a:pt x="995" y="46"/>
                    <a:pt x="945" y="65"/>
                    <a:pt x="894" y="76"/>
                  </a:cubicBezTo>
                  <a:cubicBezTo>
                    <a:pt x="808" y="95"/>
                    <a:pt x="717" y="92"/>
                    <a:pt x="632" y="114"/>
                  </a:cubicBezTo>
                  <a:cubicBezTo>
                    <a:pt x="587" y="125"/>
                    <a:pt x="542" y="144"/>
                    <a:pt x="495" y="140"/>
                  </a:cubicBezTo>
                  <a:cubicBezTo>
                    <a:pt x="474" y="139"/>
                    <a:pt x="454" y="132"/>
                    <a:pt x="434" y="127"/>
                  </a:cubicBezTo>
                  <a:cubicBezTo>
                    <a:pt x="321" y="99"/>
                    <a:pt x="192" y="108"/>
                    <a:pt x="100" y="180"/>
                  </a:cubicBezTo>
                  <a:cubicBezTo>
                    <a:pt x="68" y="205"/>
                    <a:pt x="42" y="236"/>
                    <a:pt x="19" y="268"/>
                  </a:cubicBezTo>
                  <a:cubicBezTo>
                    <a:pt x="0" y="295"/>
                    <a:pt x="6" y="332"/>
                    <a:pt x="33" y="350"/>
                  </a:cubicBezTo>
                  <a:cubicBezTo>
                    <a:pt x="36" y="353"/>
                    <a:pt x="39" y="354"/>
                    <a:pt x="42" y="356"/>
                  </a:cubicBezTo>
                  <a:cubicBezTo>
                    <a:pt x="78" y="372"/>
                    <a:pt x="117" y="383"/>
                    <a:pt x="156" y="386"/>
                  </a:cubicBezTo>
                  <a:cubicBezTo>
                    <a:pt x="209" y="391"/>
                    <a:pt x="261" y="383"/>
                    <a:pt x="314" y="376"/>
                  </a:cubicBezTo>
                  <a:cubicBezTo>
                    <a:pt x="391" y="365"/>
                    <a:pt x="469" y="354"/>
                    <a:pt x="546" y="342"/>
                  </a:cubicBezTo>
                  <a:cubicBezTo>
                    <a:pt x="574" y="337"/>
                    <a:pt x="601" y="333"/>
                    <a:pt x="629" y="329"/>
                  </a:cubicBezTo>
                  <a:cubicBezTo>
                    <a:pt x="734" y="316"/>
                    <a:pt x="839" y="318"/>
                    <a:pt x="944" y="320"/>
                  </a:cubicBezTo>
                  <a:cubicBezTo>
                    <a:pt x="1042" y="322"/>
                    <a:pt x="1139" y="324"/>
                    <a:pt x="1236" y="313"/>
                  </a:cubicBezTo>
                  <a:cubicBezTo>
                    <a:pt x="1257" y="311"/>
                    <a:pt x="1277" y="308"/>
                    <a:pt x="1296" y="300"/>
                  </a:cubicBezTo>
                  <a:cubicBezTo>
                    <a:pt x="1343" y="278"/>
                    <a:pt x="1366" y="220"/>
                    <a:pt x="1356" y="169"/>
                  </a:cubicBezTo>
                  <a:cubicBezTo>
                    <a:pt x="1347" y="118"/>
                    <a:pt x="1309" y="75"/>
                    <a:pt x="1264" y="49"/>
                  </a:cubicBezTo>
                  <a:cubicBezTo>
                    <a:pt x="1227" y="28"/>
                    <a:pt x="1186" y="19"/>
                    <a:pt x="1144" y="9"/>
                  </a:cubicBezTo>
                  <a:cubicBezTo>
                    <a:pt x="1105" y="0"/>
                    <a:pt x="1081" y="12"/>
                    <a:pt x="1044" y="27"/>
                  </a:cubicBezTo>
                </a:path>
              </a:pathLst>
            </a:cu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íšḻiďe">
              <a:extLst>
                <a:ext uri="{FF2B5EF4-FFF2-40B4-BE49-F238E27FC236}">
                  <a16:creationId xmlns:a16="http://schemas.microsoft.com/office/drawing/2014/main" id="{028265FF-33CF-4421-8160-2CF716484A99}"/>
                </a:ext>
              </a:extLst>
            </p:cNvPr>
            <p:cNvSpPr/>
            <p:nvPr/>
          </p:nvSpPr>
          <p:spPr bwMode="auto">
            <a:xfrm>
              <a:off x="8178511" y="4209595"/>
              <a:ext cx="352706" cy="868415"/>
            </a:xfrm>
            <a:custGeom>
              <a:avLst/>
              <a:gdLst>
                <a:gd name="T0" fmla="*/ 210 w 224"/>
                <a:gd name="T1" fmla="*/ 0 h 551"/>
                <a:gd name="T2" fmla="*/ 202 w 224"/>
                <a:gd name="T3" fmla="*/ 19 h 551"/>
                <a:gd name="T4" fmla="*/ 127 w 224"/>
                <a:gd name="T5" fmla="*/ 133 h 551"/>
                <a:gd name="T6" fmla="*/ 6 w 224"/>
                <a:gd name="T7" fmla="*/ 297 h 551"/>
                <a:gd name="T8" fmla="*/ 0 w 224"/>
                <a:gd name="T9" fmla="*/ 313 h 551"/>
                <a:gd name="T10" fmla="*/ 79 w 224"/>
                <a:gd name="T11" fmla="*/ 425 h 551"/>
                <a:gd name="T12" fmla="*/ 38 w 224"/>
                <a:gd name="T13" fmla="*/ 544 h 551"/>
                <a:gd name="T14" fmla="*/ 120 w 224"/>
                <a:gd name="T15" fmla="*/ 551 h 551"/>
                <a:gd name="T16" fmla="*/ 120 w 224"/>
                <a:gd name="T17" fmla="*/ 551 h 551"/>
                <a:gd name="T18" fmla="*/ 134 w 224"/>
                <a:gd name="T19" fmla="*/ 545 h 551"/>
                <a:gd name="T20" fmla="*/ 199 w 224"/>
                <a:gd name="T21" fmla="*/ 444 h 551"/>
                <a:gd name="T22" fmla="*/ 218 w 224"/>
                <a:gd name="T23" fmla="*/ 341 h 551"/>
                <a:gd name="T24" fmla="*/ 210 w 224"/>
                <a:gd name="T25" fmla="*/ 191 h 551"/>
                <a:gd name="T26" fmla="*/ 222 w 224"/>
                <a:gd name="T27" fmla="*/ 82 h 551"/>
                <a:gd name="T28" fmla="*/ 210 w 224"/>
                <a:gd name="T29" fmla="*/ 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551">
                  <a:moveTo>
                    <a:pt x="210" y="0"/>
                  </a:moveTo>
                  <a:cubicBezTo>
                    <a:pt x="208" y="6"/>
                    <a:pt x="205" y="13"/>
                    <a:pt x="202" y="19"/>
                  </a:cubicBezTo>
                  <a:cubicBezTo>
                    <a:pt x="181" y="60"/>
                    <a:pt x="156" y="98"/>
                    <a:pt x="127" y="133"/>
                  </a:cubicBezTo>
                  <a:cubicBezTo>
                    <a:pt x="84" y="186"/>
                    <a:pt x="31" y="234"/>
                    <a:pt x="6" y="297"/>
                  </a:cubicBezTo>
                  <a:cubicBezTo>
                    <a:pt x="4" y="302"/>
                    <a:pt x="2" y="308"/>
                    <a:pt x="0" y="313"/>
                  </a:cubicBezTo>
                  <a:cubicBezTo>
                    <a:pt x="39" y="340"/>
                    <a:pt x="71" y="379"/>
                    <a:pt x="79" y="425"/>
                  </a:cubicBezTo>
                  <a:cubicBezTo>
                    <a:pt x="88" y="468"/>
                    <a:pt x="72" y="517"/>
                    <a:pt x="38" y="544"/>
                  </a:cubicBezTo>
                  <a:cubicBezTo>
                    <a:pt x="120" y="551"/>
                    <a:pt x="120" y="551"/>
                    <a:pt x="120" y="551"/>
                  </a:cubicBezTo>
                  <a:cubicBezTo>
                    <a:pt x="120" y="551"/>
                    <a:pt x="120" y="551"/>
                    <a:pt x="120" y="551"/>
                  </a:cubicBezTo>
                  <a:cubicBezTo>
                    <a:pt x="125" y="549"/>
                    <a:pt x="130" y="547"/>
                    <a:pt x="134" y="545"/>
                  </a:cubicBezTo>
                  <a:cubicBezTo>
                    <a:pt x="170" y="526"/>
                    <a:pt x="187" y="483"/>
                    <a:pt x="199" y="444"/>
                  </a:cubicBezTo>
                  <a:cubicBezTo>
                    <a:pt x="208" y="410"/>
                    <a:pt x="217" y="376"/>
                    <a:pt x="218" y="341"/>
                  </a:cubicBezTo>
                  <a:cubicBezTo>
                    <a:pt x="220" y="291"/>
                    <a:pt x="208" y="241"/>
                    <a:pt x="210" y="191"/>
                  </a:cubicBezTo>
                  <a:cubicBezTo>
                    <a:pt x="211" y="155"/>
                    <a:pt x="220" y="119"/>
                    <a:pt x="222" y="82"/>
                  </a:cubicBezTo>
                  <a:cubicBezTo>
                    <a:pt x="224" y="55"/>
                    <a:pt x="222" y="25"/>
                    <a:pt x="21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iṩliḍè">
              <a:extLst>
                <a:ext uri="{FF2B5EF4-FFF2-40B4-BE49-F238E27FC236}">
                  <a16:creationId xmlns:a16="http://schemas.microsoft.com/office/drawing/2014/main" id="{97DD1385-A1C9-48D0-9D7F-9DC4BC3A6F1C}"/>
                </a:ext>
              </a:extLst>
            </p:cNvPr>
            <p:cNvSpPr/>
            <p:nvPr/>
          </p:nvSpPr>
          <p:spPr bwMode="auto">
            <a:xfrm>
              <a:off x="7658586" y="3907477"/>
              <a:ext cx="851553" cy="795345"/>
            </a:xfrm>
            <a:custGeom>
              <a:avLst/>
              <a:gdLst>
                <a:gd name="T0" fmla="*/ 175 w 540"/>
                <a:gd name="T1" fmla="*/ 0 h 505"/>
                <a:gd name="T2" fmla="*/ 170 w 540"/>
                <a:gd name="T3" fmla="*/ 3 h 505"/>
                <a:gd name="T4" fmla="*/ 166 w 540"/>
                <a:gd name="T5" fmla="*/ 70 h 505"/>
                <a:gd name="T6" fmla="*/ 166 w 540"/>
                <a:gd name="T7" fmla="*/ 178 h 505"/>
                <a:gd name="T8" fmla="*/ 151 w 540"/>
                <a:gd name="T9" fmla="*/ 211 h 505"/>
                <a:gd name="T10" fmla="*/ 160 w 540"/>
                <a:gd name="T11" fmla="*/ 307 h 505"/>
                <a:gd name="T12" fmla="*/ 145 w 540"/>
                <a:gd name="T13" fmla="*/ 365 h 505"/>
                <a:gd name="T14" fmla="*/ 139 w 540"/>
                <a:gd name="T15" fmla="*/ 437 h 505"/>
                <a:gd name="T16" fmla="*/ 100 w 540"/>
                <a:gd name="T17" fmla="*/ 447 h 505"/>
                <a:gd name="T18" fmla="*/ 4 w 540"/>
                <a:gd name="T19" fmla="*/ 505 h 505"/>
                <a:gd name="T20" fmla="*/ 81 w 540"/>
                <a:gd name="T21" fmla="*/ 481 h 505"/>
                <a:gd name="T22" fmla="*/ 97 w 540"/>
                <a:gd name="T23" fmla="*/ 475 h 505"/>
                <a:gd name="T24" fmla="*/ 171 w 540"/>
                <a:gd name="T25" fmla="*/ 454 h 505"/>
                <a:gd name="T26" fmla="*/ 197 w 540"/>
                <a:gd name="T27" fmla="*/ 457 h 505"/>
                <a:gd name="T28" fmla="*/ 317 w 540"/>
                <a:gd name="T29" fmla="*/ 497 h 505"/>
                <a:gd name="T30" fmla="*/ 330 w 540"/>
                <a:gd name="T31" fmla="*/ 505 h 505"/>
                <a:gd name="T32" fmla="*/ 336 w 540"/>
                <a:gd name="T33" fmla="*/ 489 h 505"/>
                <a:gd name="T34" fmla="*/ 457 w 540"/>
                <a:gd name="T35" fmla="*/ 325 h 505"/>
                <a:gd name="T36" fmla="*/ 532 w 540"/>
                <a:gd name="T37" fmla="*/ 211 h 505"/>
                <a:gd name="T38" fmla="*/ 540 w 540"/>
                <a:gd name="T39" fmla="*/ 192 h 505"/>
                <a:gd name="T40" fmla="*/ 528 w 540"/>
                <a:gd name="T41" fmla="*/ 170 h 505"/>
                <a:gd name="T42" fmla="*/ 469 w 540"/>
                <a:gd name="T43" fmla="*/ 101 h 505"/>
                <a:gd name="T44" fmla="*/ 425 w 540"/>
                <a:gd name="T45" fmla="*/ 27 h 505"/>
                <a:gd name="T46" fmla="*/ 375 w 540"/>
                <a:gd name="T47" fmla="*/ 10 h 505"/>
                <a:gd name="T48" fmla="*/ 235 w 540"/>
                <a:gd name="T49" fmla="*/ 46 h 505"/>
                <a:gd name="T50" fmla="*/ 234 w 540"/>
                <a:gd name="T51" fmla="*/ 46 h 505"/>
                <a:gd name="T52" fmla="*/ 203 w 540"/>
                <a:gd name="T53" fmla="*/ 23 h 505"/>
                <a:gd name="T54" fmla="*/ 175 w 540"/>
                <a:gd name="T55" fmla="*/ 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40" h="505">
                  <a:moveTo>
                    <a:pt x="175" y="0"/>
                  </a:moveTo>
                  <a:cubicBezTo>
                    <a:pt x="173" y="0"/>
                    <a:pt x="171" y="1"/>
                    <a:pt x="170" y="3"/>
                  </a:cubicBezTo>
                  <a:cubicBezTo>
                    <a:pt x="157" y="22"/>
                    <a:pt x="162" y="47"/>
                    <a:pt x="166" y="70"/>
                  </a:cubicBezTo>
                  <a:cubicBezTo>
                    <a:pt x="174" y="106"/>
                    <a:pt x="180" y="144"/>
                    <a:pt x="166" y="178"/>
                  </a:cubicBezTo>
                  <a:cubicBezTo>
                    <a:pt x="161" y="189"/>
                    <a:pt x="154" y="199"/>
                    <a:pt x="151" y="211"/>
                  </a:cubicBezTo>
                  <a:cubicBezTo>
                    <a:pt x="143" y="242"/>
                    <a:pt x="164" y="275"/>
                    <a:pt x="160" y="307"/>
                  </a:cubicBezTo>
                  <a:cubicBezTo>
                    <a:pt x="158" y="327"/>
                    <a:pt x="146" y="345"/>
                    <a:pt x="145" y="365"/>
                  </a:cubicBezTo>
                  <a:cubicBezTo>
                    <a:pt x="144" y="390"/>
                    <a:pt x="159" y="422"/>
                    <a:pt x="139" y="437"/>
                  </a:cubicBezTo>
                  <a:cubicBezTo>
                    <a:pt x="128" y="446"/>
                    <a:pt x="113" y="444"/>
                    <a:pt x="100" y="447"/>
                  </a:cubicBezTo>
                  <a:cubicBezTo>
                    <a:pt x="74" y="453"/>
                    <a:pt x="0" y="478"/>
                    <a:pt x="4" y="505"/>
                  </a:cubicBezTo>
                  <a:cubicBezTo>
                    <a:pt x="19" y="493"/>
                    <a:pt x="49" y="485"/>
                    <a:pt x="81" y="481"/>
                  </a:cubicBezTo>
                  <a:cubicBezTo>
                    <a:pt x="86" y="479"/>
                    <a:pt x="91" y="477"/>
                    <a:pt x="97" y="475"/>
                  </a:cubicBezTo>
                  <a:cubicBezTo>
                    <a:pt x="125" y="464"/>
                    <a:pt x="146" y="454"/>
                    <a:pt x="171" y="454"/>
                  </a:cubicBezTo>
                  <a:cubicBezTo>
                    <a:pt x="179" y="454"/>
                    <a:pt x="188" y="455"/>
                    <a:pt x="197" y="457"/>
                  </a:cubicBezTo>
                  <a:cubicBezTo>
                    <a:pt x="239" y="467"/>
                    <a:pt x="280" y="476"/>
                    <a:pt x="317" y="497"/>
                  </a:cubicBezTo>
                  <a:cubicBezTo>
                    <a:pt x="322" y="500"/>
                    <a:pt x="326" y="503"/>
                    <a:pt x="330" y="505"/>
                  </a:cubicBezTo>
                  <a:cubicBezTo>
                    <a:pt x="332" y="500"/>
                    <a:pt x="334" y="494"/>
                    <a:pt x="336" y="489"/>
                  </a:cubicBezTo>
                  <a:cubicBezTo>
                    <a:pt x="361" y="426"/>
                    <a:pt x="414" y="378"/>
                    <a:pt x="457" y="325"/>
                  </a:cubicBezTo>
                  <a:cubicBezTo>
                    <a:pt x="486" y="290"/>
                    <a:pt x="511" y="252"/>
                    <a:pt x="532" y="211"/>
                  </a:cubicBezTo>
                  <a:cubicBezTo>
                    <a:pt x="535" y="205"/>
                    <a:pt x="538" y="198"/>
                    <a:pt x="540" y="192"/>
                  </a:cubicBezTo>
                  <a:cubicBezTo>
                    <a:pt x="537" y="184"/>
                    <a:pt x="533" y="177"/>
                    <a:pt x="528" y="170"/>
                  </a:cubicBezTo>
                  <a:cubicBezTo>
                    <a:pt x="509" y="146"/>
                    <a:pt x="480" y="131"/>
                    <a:pt x="469" y="101"/>
                  </a:cubicBezTo>
                  <a:cubicBezTo>
                    <a:pt x="457" y="71"/>
                    <a:pt x="454" y="48"/>
                    <a:pt x="425" y="27"/>
                  </a:cubicBezTo>
                  <a:cubicBezTo>
                    <a:pt x="409" y="15"/>
                    <a:pt x="392" y="10"/>
                    <a:pt x="375" y="10"/>
                  </a:cubicBezTo>
                  <a:cubicBezTo>
                    <a:pt x="332" y="10"/>
                    <a:pt x="285" y="39"/>
                    <a:pt x="235" y="46"/>
                  </a:cubicBezTo>
                  <a:cubicBezTo>
                    <a:pt x="235" y="46"/>
                    <a:pt x="234" y="46"/>
                    <a:pt x="234" y="46"/>
                  </a:cubicBezTo>
                  <a:cubicBezTo>
                    <a:pt x="225" y="46"/>
                    <a:pt x="213" y="34"/>
                    <a:pt x="203" y="23"/>
                  </a:cubicBezTo>
                  <a:cubicBezTo>
                    <a:pt x="192" y="11"/>
                    <a:pt x="182" y="0"/>
                    <a:pt x="175" y="0"/>
                  </a:cubicBezTo>
                </a:path>
              </a:pathLst>
            </a:custGeom>
            <a:solidFill>
              <a:srgbClr val="4442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îṧḷïḑè">
              <a:extLst>
                <a:ext uri="{FF2B5EF4-FFF2-40B4-BE49-F238E27FC236}">
                  <a16:creationId xmlns:a16="http://schemas.microsoft.com/office/drawing/2014/main" id="{304373B6-D03C-4694-972E-825C2B95FD53}"/>
                </a:ext>
              </a:extLst>
            </p:cNvPr>
            <p:cNvSpPr/>
            <p:nvPr/>
          </p:nvSpPr>
          <p:spPr bwMode="auto">
            <a:xfrm>
              <a:off x="8073120" y="5066768"/>
              <a:ext cx="295093" cy="50587"/>
            </a:xfrm>
            <a:custGeom>
              <a:avLst/>
              <a:gdLst>
                <a:gd name="T0" fmla="*/ 20 w 187"/>
                <a:gd name="T1" fmla="*/ 26 h 32"/>
                <a:gd name="T2" fmla="*/ 1 w 187"/>
                <a:gd name="T3" fmla="*/ 28 h 32"/>
                <a:gd name="T4" fmla="*/ 0 w 187"/>
                <a:gd name="T5" fmla="*/ 32 h 32"/>
                <a:gd name="T6" fmla="*/ 20 w 187"/>
                <a:gd name="T7" fmla="*/ 26 h 32"/>
                <a:gd name="T8" fmla="*/ 105 w 187"/>
                <a:gd name="T9" fmla="*/ 0 h 32"/>
                <a:gd name="T10" fmla="*/ 86 w 187"/>
                <a:gd name="T11" fmla="*/ 12 h 32"/>
                <a:gd name="T12" fmla="*/ 55 w 187"/>
                <a:gd name="T13" fmla="*/ 21 h 32"/>
                <a:gd name="T14" fmla="*/ 187 w 187"/>
                <a:gd name="T15" fmla="*/ 7 h 32"/>
                <a:gd name="T16" fmla="*/ 187 w 187"/>
                <a:gd name="T17" fmla="*/ 7 h 32"/>
                <a:gd name="T18" fmla="*/ 105 w 187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7" h="32">
                  <a:moveTo>
                    <a:pt x="20" y="26"/>
                  </a:moveTo>
                  <a:cubicBezTo>
                    <a:pt x="14" y="27"/>
                    <a:pt x="7" y="27"/>
                    <a:pt x="1" y="28"/>
                  </a:cubicBezTo>
                  <a:cubicBezTo>
                    <a:pt x="0" y="29"/>
                    <a:pt x="0" y="30"/>
                    <a:pt x="0" y="32"/>
                  </a:cubicBezTo>
                  <a:cubicBezTo>
                    <a:pt x="6" y="29"/>
                    <a:pt x="13" y="28"/>
                    <a:pt x="20" y="26"/>
                  </a:cubicBezTo>
                  <a:moveTo>
                    <a:pt x="105" y="0"/>
                  </a:moveTo>
                  <a:cubicBezTo>
                    <a:pt x="99" y="4"/>
                    <a:pt x="93" y="8"/>
                    <a:pt x="86" y="12"/>
                  </a:cubicBezTo>
                  <a:cubicBezTo>
                    <a:pt x="76" y="16"/>
                    <a:pt x="66" y="19"/>
                    <a:pt x="55" y="21"/>
                  </a:cubicBezTo>
                  <a:cubicBezTo>
                    <a:pt x="100" y="18"/>
                    <a:pt x="152" y="18"/>
                    <a:pt x="187" y="7"/>
                  </a:cubicBezTo>
                  <a:cubicBezTo>
                    <a:pt x="187" y="7"/>
                    <a:pt x="187" y="7"/>
                    <a:pt x="187" y="7"/>
                  </a:cubicBezTo>
                  <a:cubicBezTo>
                    <a:pt x="105" y="0"/>
                    <a:pt x="105" y="0"/>
                    <a:pt x="105" y="0"/>
                  </a:cubicBezTo>
                </a:path>
              </a:pathLst>
            </a:custGeom>
            <a:solidFill>
              <a:srgbClr val="484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îsľiḓe">
              <a:extLst>
                <a:ext uri="{FF2B5EF4-FFF2-40B4-BE49-F238E27FC236}">
                  <a16:creationId xmlns:a16="http://schemas.microsoft.com/office/drawing/2014/main" id="{9D1ECEE5-A5E7-4A58-AA50-759CC3FA51BC}"/>
                </a:ext>
              </a:extLst>
            </p:cNvPr>
            <p:cNvSpPr/>
            <p:nvPr/>
          </p:nvSpPr>
          <p:spPr bwMode="auto">
            <a:xfrm>
              <a:off x="7786459" y="4622724"/>
              <a:ext cx="531167" cy="487606"/>
            </a:xfrm>
            <a:custGeom>
              <a:avLst/>
              <a:gdLst>
                <a:gd name="T0" fmla="*/ 90 w 337"/>
                <a:gd name="T1" fmla="*/ 0 h 310"/>
                <a:gd name="T2" fmla="*/ 16 w 337"/>
                <a:gd name="T3" fmla="*/ 21 h 310"/>
                <a:gd name="T4" fmla="*/ 0 w 337"/>
                <a:gd name="T5" fmla="*/ 27 h 310"/>
                <a:gd name="T6" fmla="*/ 54 w 337"/>
                <a:gd name="T7" fmla="*/ 23 h 310"/>
                <a:gd name="T8" fmla="*/ 95 w 337"/>
                <a:gd name="T9" fmla="*/ 26 h 310"/>
                <a:gd name="T10" fmla="*/ 201 w 337"/>
                <a:gd name="T11" fmla="*/ 86 h 310"/>
                <a:gd name="T12" fmla="*/ 238 w 337"/>
                <a:gd name="T13" fmla="*/ 153 h 310"/>
                <a:gd name="T14" fmla="*/ 235 w 337"/>
                <a:gd name="T15" fmla="*/ 214 h 310"/>
                <a:gd name="T16" fmla="*/ 183 w 337"/>
                <a:gd name="T17" fmla="*/ 310 h 310"/>
                <a:gd name="T18" fmla="*/ 202 w 337"/>
                <a:gd name="T19" fmla="*/ 308 h 310"/>
                <a:gd name="T20" fmla="*/ 237 w 337"/>
                <a:gd name="T21" fmla="*/ 303 h 310"/>
                <a:gd name="T22" fmla="*/ 268 w 337"/>
                <a:gd name="T23" fmla="*/ 294 h 310"/>
                <a:gd name="T24" fmla="*/ 287 w 337"/>
                <a:gd name="T25" fmla="*/ 282 h 310"/>
                <a:gd name="T26" fmla="*/ 328 w 337"/>
                <a:gd name="T27" fmla="*/ 163 h 310"/>
                <a:gd name="T28" fmla="*/ 249 w 337"/>
                <a:gd name="T29" fmla="*/ 51 h 310"/>
                <a:gd name="T30" fmla="*/ 236 w 337"/>
                <a:gd name="T31" fmla="*/ 43 h 310"/>
                <a:gd name="T32" fmla="*/ 116 w 337"/>
                <a:gd name="T33" fmla="*/ 3 h 310"/>
                <a:gd name="T34" fmla="*/ 90 w 337"/>
                <a:gd name="T35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7" h="310">
                  <a:moveTo>
                    <a:pt x="90" y="0"/>
                  </a:moveTo>
                  <a:cubicBezTo>
                    <a:pt x="65" y="0"/>
                    <a:pt x="44" y="10"/>
                    <a:pt x="16" y="21"/>
                  </a:cubicBezTo>
                  <a:cubicBezTo>
                    <a:pt x="10" y="23"/>
                    <a:pt x="5" y="25"/>
                    <a:pt x="0" y="27"/>
                  </a:cubicBezTo>
                  <a:cubicBezTo>
                    <a:pt x="18" y="25"/>
                    <a:pt x="37" y="23"/>
                    <a:pt x="54" y="23"/>
                  </a:cubicBezTo>
                  <a:cubicBezTo>
                    <a:pt x="70" y="23"/>
                    <a:pt x="85" y="24"/>
                    <a:pt x="95" y="26"/>
                  </a:cubicBezTo>
                  <a:cubicBezTo>
                    <a:pt x="136" y="34"/>
                    <a:pt x="173" y="56"/>
                    <a:pt x="201" y="86"/>
                  </a:cubicBezTo>
                  <a:cubicBezTo>
                    <a:pt x="219" y="105"/>
                    <a:pt x="234" y="128"/>
                    <a:pt x="238" y="153"/>
                  </a:cubicBezTo>
                  <a:cubicBezTo>
                    <a:pt x="242" y="174"/>
                    <a:pt x="239" y="194"/>
                    <a:pt x="235" y="214"/>
                  </a:cubicBezTo>
                  <a:cubicBezTo>
                    <a:pt x="231" y="242"/>
                    <a:pt x="190" y="281"/>
                    <a:pt x="183" y="310"/>
                  </a:cubicBezTo>
                  <a:cubicBezTo>
                    <a:pt x="189" y="309"/>
                    <a:pt x="196" y="309"/>
                    <a:pt x="202" y="308"/>
                  </a:cubicBezTo>
                  <a:cubicBezTo>
                    <a:pt x="213" y="306"/>
                    <a:pt x="225" y="304"/>
                    <a:pt x="237" y="303"/>
                  </a:cubicBezTo>
                  <a:cubicBezTo>
                    <a:pt x="248" y="301"/>
                    <a:pt x="258" y="298"/>
                    <a:pt x="268" y="294"/>
                  </a:cubicBezTo>
                  <a:cubicBezTo>
                    <a:pt x="275" y="290"/>
                    <a:pt x="281" y="286"/>
                    <a:pt x="287" y="282"/>
                  </a:cubicBezTo>
                  <a:cubicBezTo>
                    <a:pt x="321" y="255"/>
                    <a:pt x="337" y="206"/>
                    <a:pt x="328" y="163"/>
                  </a:cubicBezTo>
                  <a:cubicBezTo>
                    <a:pt x="320" y="117"/>
                    <a:pt x="288" y="78"/>
                    <a:pt x="249" y="51"/>
                  </a:cubicBezTo>
                  <a:cubicBezTo>
                    <a:pt x="245" y="49"/>
                    <a:pt x="241" y="46"/>
                    <a:pt x="236" y="43"/>
                  </a:cubicBezTo>
                  <a:cubicBezTo>
                    <a:pt x="199" y="22"/>
                    <a:pt x="158" y="13"/>
                    <a:pt x="116" y="3"/>
                  </a:cubicBezTo>
                  <a:cubicBezTo>
                    <a:pt x="107" y="1"/>
                    <a:pt x="98" y="0"/>
                    <a:pt x="90" y="0"/>
                  </a:cubicBezTo>
                </a:path>
              </a:pathLst>
            </a:custGeom>
            <a:solidFill>
              <a:srgbClr val="9C63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ïṩľïďê">
              <a:extLst>
                <a:ext uri="{FF2B5EF4-FFF2-40B4-BE49-F238E27FC236}">
                  <a16:creationId xmlns:a16="http://schemas.microsoft.com/office/drawing/2014/main" id="{CEF93C17-F361-4DEC-BAD3-8284201CBDC2}"/>
                </a:ext>
              </a:extLst>
            </p:cNvPr>
            <p:cNvSpPr/>
            <p:nvPr/>
          </p:nvSpPr>
          <p:spPr bwMode="auto">
            <a:xfrm>
              <a:off x="7678259" y="3852673"/>
              <a:ext cx="874036" cy="1264682"/>
            </a:xfrm>
            <a:custGeom>
              <a:avLst/>
              <a:gdLst>
                <a:gd name="T0" fmla="*/ 528 w 555"/>
                <a:gd name="T1" fmla="*/ 205 h 803"/>
                <a:gd name="T2" fmla="*/ 552 w 555"/>
                <a:gd name="T3" fmla="*/ 309 h 803"/>
                <a:gd name="T4" fmla="*/ 540 w 555"/>
                <a:gd name="T5" fmla="*/ 418 h 803"/>
                <a:gd name="T6" fmla="*/ 548 w 555"/>
                <a:gd name="T7" fmla="*/ 568 h 803"/>
                <a:gd name="T8" fmla="*/ 529 w 555"/>
                <a:gd name="T9" fmla="*/ 671 h 803"/>
                <a:gd name="T10" fmla="*/ 464 w 555"/>
                <a:gd name="T11" fmla="*/ 772 h 803"/>
                <a:gd name="T12" fmla="*/ 263 w 555"/>
                <a:gd name="T13" fmla="*/ 803 h 803"/>
                <a:gd name="T14" fmla="*/ 316 w 555"/>
                <a:gd name="T15" fmla="*/ 703 h 803"/>
                <a:gd name="T16" fmla="*/ 319 w 555"/>
                <a:gd name="T17" fmla="*/ 642 h 803"/>
                <a:gd name="T18" fmla="*/ 282 w 555"/>
                <a:gd name="T19" fmla="*/ 575 h 803"/>
                <a:gd name="T20" fmla="*/ 176 w 555"/>
                <a:gd name="T21" fmla="*/ 515 h 803"/>
                <a:gd name="T22" fmla="*/ 4 w 555"/>
                <a:gd name="T23" fmla="*/ 540 h 803"/>
                <a:gd name="T24" fmla="*/ 100 w 555"/>
                <a:gd name="T25" fmla="*/ 482 h 803"/>
                <a:gd name="T26" fmla="*/ 139 w 555"/>
                <a:gd name="T27" fmla="*/ 472 h 803"/>
                <a:gd name="T28" fmla="*/ 145 w 555"/>
                <a:gd name="T29" fmla="*/ 400 h 803"/>
                <a:gd name="T30" fmla="*/ 160 w 555"/>
                <a:gd name="T31" fmla="*/ 342 h 803"/>
                <a:gd name="T32" fmla="*/ 151 w 555"/>
                <a:gd name="T33" fmla="*/ 246 h 803"/>
                <a:gd name="T34" fmla="*/ 166 w 555"/>
                <a:gd name="T35" fmla="*/ 213 h 803"/>
                <a:gd name="T36" fmla="*/ 166 w 555"/>
                <a:gd name="T37" fmla="*/ 105 h 803"/>
                <a:gd name="T38" fmla="*/ 170 w 555"/>
                <a:gd name="T39" fmla="*/ 38 h 803"/>
                <a:gd name="T40" fmla="*/ 225 w 555"/>
                <a:gd name="T41" fmla="*/ 10 h 803"/>
                <a:gd name="T42" fmla="*/ 425 w 555"/>
                <a:gd name="T43" fmla="*/ 62 h 803"/>
                <a:gd name="T44" fmla="*/ 469 w 555"/>
                <a:gd name="T45" fmla="*/ 136 h 803"/>
                <a:gd name="T46" fmla="*/ 528 w 555"/>
                <a:gd name="T47" fmla="*/ 205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55" h="803">
                  <a:moveTo>
                    <a:pt x="528" y="205"/>
                  </a:moveTo>
                  <a:cubicBezTo>
                    <a:pt x="550" y="234"/>
                    <a:pt x="555" y="273"/>
                    <a:pt x="552" y="309"/>
                  </a:cubicBezTo>
                  <a:cubicBezTo>
                    <a:pt x="550" y="346"/>
                    <a:pt x="541" y="382"/>
                    <a:pt x="540" y="418"/>
                  </a:cubicBezTo>
                  <a:cubicBezTo>
                    <a:pt x="538" y="468"/>
                    <a:pt x="550" y="518"/>
                    <a:pt x="548" y="568"/>
                  </a:cubicBezTo>
                  <a:cubicBezTo>
                    <a:pt x="547" y="603"/>
                    <a:pt x="538" y="637"/>
                    <a:pt x="529" y="671"/>
                  </a:cubicBezTo>
                  <a:cubicBezTo>
                    <a:pt x="517" y="710"/>
                    <a:pt x="500" y="753"/>
                    <a:pt x="464" y="772"/>
                  </a:cubicBezTo>
                  <a:cubicBezTo>
                    <a:pt x="415" y="797"/>
                    <a:pt x="314" y="783"/>
                    <a:pt x="263" y="803"/>
                  </a:cubicBezTo>
                  <a:cubicBezTo>
                    <a:pt x="267" y="774"/>
                    <a:pt x="312" y="732"/>
                    <a:pt x="316" y="703"/>
                  </a:cubicBezTo>
                  <a:cubicBezTo>
                    <a:pt x="320" y="683"/>
                    <a:pt x="323" y="663"/>
                    <a:pt x="319" y="642"/>
                  </a:cubicBezTo>
                  <a:cubicBezTo>
                    <a:pt x="315" y="617"/>
                    <a:pt x="300" y="594"/>
                    <a:pt x="282" y="575"/>
                  </a:cubicBezTo>
                  <a:cubicBezTo>
                    <a:pt x="254" y="545"/>
                    <a:pt x="217" y="523"/>
                    <a:pt x="176" y="515"/>
                  </a:cubicBezTo>
                  <a:cubicBezTo>
                    <a:pt x="136" y="508"/>
                    <a:pt x="36" y="514"/>
                    <a:pt x="4" y="540"/>
                  </a:cubicBezTo>
                  <a:cubicBezTo>
                    <a:pt x="0" y="513"/>
                    <a:pt x="74" y="488"/>
                    <a:pt x="100" y="482"/>
                  </a:cubicBezTo>
                  <a:cubicBezTo>
                    <a:pt x="113" y="479"/>
                    <a:pt x="128" y="481"/>
                    <a:pt x="139" y="472"/>
                  </a:cubicBezTo>
                  <a:cubicBezTo>
                    <a:pt x="159" y="457"/>
                    <a:pt x="144" y="425"/>
                    <a:pt x="145" y="400"/>
                  </a:cubicBezTo>
                  <a:cubicBezTo>
                    <a:pt x="146" y="380"/>
                    <a:pt x="158" y="362"/>
                    <a:pt x="160" y="342"/>
                  </a:cubicBezTo>
                  <a:cubicBezTo>
                    <a:pt x="164" y="310"/>
                    <a:pt x="143" y="277"/>
                    <a:pt x="151" y="246"/>
                  </a:cubicBezTo>
                  <a:cubicBezTo>
                    <a:pt x="154" y="234"/>
                    <a:pt x="161" y="224"/>
                    <a:pt x="166" y="213"/>
                  </a:cubicBezTo>
                  <a:cubicBezTo>
                    <a:pt x="180" y="179"/>
                    <a:pt x="174" y="141"/>
                    <a:pt x="166" y="105"/>
                  </a:cubicBezTo>
                  <a:cubicBezTo>
                    <a:pt x="162" y="82"/>
                    <a:pt x="157" y="57"/>
                    <a:pt x="170" y="38"/>
                  </a:cubicBezTo>
                  <a:cubicBezTo>
                    <a:pt x="181" y="20"/>
                    <a:pt x="204" y="13"/>
                    <a:pt x="225" y="10"/>
                  </a:cubicBezTo>
                  <a:cubicBezTo>
                    <a:pt x="296" y="0"/>
                    <a:pt x="368" y="19"/>
                    <a:pt x="425" y="62"/>
                  </a:cubicBezTo>
                  <a:cubicBezTo>
                    <a:pt x="454" y="83"/>
                    <a:pt x="458" y="106"/>
                    <a:pt x="469" y="136"/>
                  </a:cubicBezTo>
                  <a:cubicBezTo>
                    <a:pt x="480" y="166"/>
                    <a:pt x="509" y="181"/>
                    <a:pt x="528" y="205"/>
                  </a:cubicBezTo>
                  <a:close/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ïṩḻíḋé">
              <a:extLst>
                <a:ext uri="{FF2B5EF4-FFF2-40B4-BE49-F238E27FC236}">
                  <a16:creationId xmlns:a16="http://schemas.microsoft.com/office/drawing/2014/main" id="{35D1F4B3-51C2-480C-A751-F11935A24704}"/>
                </a:ext>
              </a:extLst>
            </p:cNvPr>
            <p:cNvSpPr/>
            <p:nvPr/>
          </p:nvSpPr>
          <p:spPr bwMode="auto">
            <a:xfrm>
              <a:off x="4333876" y="3662971"/>
              <a:ext cx="2045975" cy="1690459"/>
            </a:xfrm>
            <a:custGeom>
              <a:avLst/>
              <a:gdLst>
                <a:gd name="T0" fmla="*/ 4 w 1299"/>
                <a:gd name="T1" fmla="*/ 137 h 1074"/>
                <a:gd name="T2" fmla="*/ 221 w 1299"/>
                <a:gd name="T3" fmla="*/ 940 h 1074"/>
                <a:gd name="T4" fmla="*/ 265 w 1299"/>
                <a:gd name="T5" fmla="*/ 977 h 1074"/>
                <a:gd name="T6" fmla="*/ 1244 w 1299"/>
                <a:gd name="T7" fmla="*/ 1071 h 1074"/>
                <a:gd name="T8" fmla="*/ 1299 w 1299"/>
                <a:gd name="T9" fmla="*/ 1026 h 1074"/>
                <a:gd name="T10" fmla="*/ 1298 w 1299"/>
                <a:gd name="T11" fmla="*/ 1009 h 1074"/>
                <a:gd name="T12" fmla="*/ 1059 w 1299"/>
                <a:gd name="T13" fmla="*/ 40 h 1074"/>
                <a:gd name="T14" fmla="*/ 1007 w 1299"/>
                <a:gd name="T15" fmla="*/ 2 h 1074"/>
                <a:gd name="T16" fmla="*/ 49 w 1299"/>
                <a:gd name="T17" fmla="*/ 73 h 1074"/>
                <a:gd name="T18" fmla="*/ 2 w 1299"/>
                <a:gd name="T19" fmla="*/ 127 h 1074"/>
                <a:gd name="T20" fmla="*/ 4 w 1299"/>
                <a:gd name="T21" fmla="*/ 137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9" h="1074">
                  <a:moveTo>
                    <a:pt x="4" y="137"/>
                  </a:moveTo>
                  <a:cubicBezTo>
                    <a:pt x="221" y="940"/>
                    <a:pt x="221" y="940"/>
                    <a:pt x="221" y="940"/>
                  </a:cubicBezTo>
                  <a:cubicBezTo>
                    <a:pt x="227" y="961"/>
                    <a:pt x="244" y="975"/>
                    <a:pt x="265" y="977"/>
                  </a:cubicBezTo>
                  <a:cubicBezTo>
                    <a:pt x="1244" y="1071"/>
                    <a:pt x="1244" y="1071"/>
                    <a:pt x="1244" y="1071"/>
                  </a:cubicBezTo>
                  <a:cubicBezTo>
                    <a:pt x="1272" y="1074"/>
                    <a:pt x="1296" y="1054"/>
                    <a:pt x="1299" y="1026"/>
                  </a:cubicBezTo>
                  <a:cubicBezTo>
                    <a:pt x="1299" y="1020"/>
                    <a:pt x="1299" y="1015"/>
                    <a:pt x="1298" y="1009"/>
                  </a:cubicBezTo>
                  <a:cubicBezTo>
                    <a:pt x="1059" y="40"/>
                    <a:pt x="1059" y="40"/>
                    <a:pt x="1059" y="40"/>
                  </a:cubicBezTo>
                  <a:cubicBezTo>
                    <a:pt x="1054" y="16"/>
                    <a:pt x="1031" y="0"/>
                    <a:pt x="1007" y="2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21" y="76"/>
                    <a:pt x="0" y="100"/>
                    <a:pt x="2" y="127"/>
                  </a:cubicBezTo>
                  <a:cubicBezTo>
                    <a:pt x="3" y="130"/>
                    <a:pt x="3" y="134"/>
                    <a:pt x="4" y="137"/>
                  </a:cubicBezTo>
                  <a:close/>
                </a:path>
              </a:pathLst>
            </a:custGeom>
            <a:solidFill>
              <a:srgbClr val="9C9C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îšľiďé">
              <a:extLst>
                <a:ext uri="{FF2B5EF4-FFF2-40B4-BE49-F238E27FC236}">
                  <a16:creationId xmlns:a16="http://schemas.microsoft.com/office/drawing/2014/main" id="{8E0816CF-0259-45FC-9427-45ED74975B7F}"/>
                </a:ext>
              </a:extLst>
            </p:cNvPr>
            <p:cNvSpPr/>
            <p:nvPr/>
          </p:nvSpPr>
          <p:spPr bwMode="auto">
            <a:xfrm>
              <a:off x="7227188" y="3781008"/>
              <a:ext cx="338654" cy="34286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iṧḷidê">
              <a:extLst>
                <a:ext uri="{FF2B5EF4-FFF2-40B4-BE49-F238E27FC236}">
                  <a16:creationId xmlns:a16="http://schemas.microsoft.com/office/drawing/2014/main" id="{74A373AF-BE0E-4DBE-8063-7E50DEAB6694}"/>
                </a:ext>
              </a:extLst>
            </p:cNvPr>
            <p:cNvSpPr/>
            <p:nvPr/>
          </p:nvSpPr>
          <p:spPr bwMode="auto">
            <a:xfrm>
              <a:off x="7453426" y="3625030"/>
              <a:ext cx="147547" cy="254342"/>
            </a:xfrm>
            <a:custGeom>
              <a:avLst/>
              <a:gdLst>
                <a:gd name="T0" fmla="*/ 53 w 94"/>
                <a:gd name="T1" fmla="*/ 10 h 162"/>
                <a:gd name="T2" fmla="*/ 9 w 94"/>
                <a:gd name="T3" fmla="*/ 105 h 162"/>
                <a:gd name="T4" fmla="*/ 0 w 94"/>
                <a:gd name="T5" fmla="*/ 120 h 162"/>
                <a:gd name="T6" fmla="*/ 42 w 94"/>
                <a:gd name="T7" fmla="*/ 162 h 162"/>
                <a:gd name="T8" fmla="*/ 88 w 94"/>
                <a:gd name="T9" fmla="*/ 34 h 162"/>
                <a:gd name="T10" fmla="*/ 53 w 94"/>
                <a:gd name="T11" fmla="*/ 1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" h="162">
                  <a:moveTo>
                    <a:pt x="53" y="10"/>
                  </a:moveTo>
                  <a:cubicBezTo>
                    <a:pt x="53" y="10"/>
                    <a:pt x="75" y="77"/>
                    <a:pt x="9" y="105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42" y="162"/>
                    <a:pt x="42" y="162"/>
                    <a:pt x="42" y="162"/>
                  </a:cubicBezTo>
                  <a:cubicBezTo>
                    <a:pt x="42" y="162"/>
                    <a:pt x="94" y="67"/>
                    <a:pt x="88" y="34"/>
                  </a:cubicBezTo>
                  <a:cubicBezTo>
                    <a:pt x="88" y="34"/>
                    <a:pt x="80" y="0"/>
                    <a:pt x="53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išḷïḑê">
              <a:extLst>
                <a:ext uri="{FF2B5EF4-FFF2-40B4-BE49-F238E27FC236}">
                  <a16:creationId xmlns:a16="http://schemas.microsoft.com/office/drawing/2014/main" id="{5ABD457C-D1C6-48C9-A1F5-4204813EF123}"/>
                </a:ext>
              </a:extLst>
            </p:cNvPr>
            <p:cNvSpPr/>
            <p:nvPr/>
          </p:nvSpPr>
          <p:spPr bwMode="auto">
            <a:xfrm>
              <a:off x="7252482" y="3797871"/>
              <a:ext cx="327413" cy="326007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iś1ïḋè">
              <a:extLst>
                <a:ext uri="{FF2B5EF4-FFF2-40B4-BE49-F238E27FC236}">
                  <a16:creationId xmlns:a16="http://schemas.microsoft.com/office/drawing/2014/main" id="{9FBA2AF2-290C-4997-94D7-9A6B8226F369}"/>
                </a:ext>
              </a:extLst>
            </p:cNvPr>
            <p:cNvSpPr/>
            <p:nvPr/>
          </p:nvSpPr>
          <p:spPr bwMode="auto">
            <a:xfrm>
              <a:off x="7384571" y="3374904"/>
              <a:ext cx="233264" cy="327413"/>
            </a:xfrm>
            <a:custGeom>
              <a:avLst/>
              <a:gdLst>
                <a:gd name="T0" fmla="*/ 132 w 148"/>
                <a:gd name="T1" fmla="*/ 208 h 208"/>
                <a:gd name="T2" fmla="*/ 115 w 148"/>
                <a:gd name="T3" fmla="*/ 181 h 208"/>
                <a:gd name="T4" fmla="*/ 91 w 148"/>
                <a:gd name="T5" fmla="*/ 178 h 208"/>
                <a:gd name="T6" fmla="*/ 73 w 148"/>
                <a:gd name="T7" fmla="*/ 61 h 208"/>
                <a:gd name="T8" fmla="*/ 68 w 148"/>
                <a:gd name="T9" fmla="*/ 61 h 208"/>
                <a:gd name="T10" fmla="*/ 44 w 148"/>
                <a:gd name="T11" fmla="*/ 59 h 208"/>
                <a:gd name="T12" fmla="*/ 0 w 148"/>
                <a:gd name="T13" fmla="*/ 13 h 208"/>
                <a:gd name="T14" fmla="*/ 0 w 148"/>
                <a:gd name="T15" fmla="*/ 0 h 208"/>
                <a:gd name="T16" fmla="*/ 115 w 148"/>
                <a:gd name="T17" fmla="*/ 71 h 208"/>
                <a:gd name="T18" fmla="*/ 132 w 148"/>
                <a:gd name="T1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208">
                  <a:moveTo>
                    <a:pt x="132" y="208"/>
                  </a:moveTo>
                  <a:cubicBezTo>
                    <a:pt x="115" y="181"/>
                    <a:pt x="115" y="181"/>
                    <a:pt x="115" y="181"/>
                  </a:cubicBezTo>
                  <a:cubicBezTo>
                    <a:pt x="91" y="178"/>
                    <a:pt x="91" y="178"/>
                    <a:pt x="91" y="178"/>
                  </a:cubicBezTo>
                  <a:cubicBezTo>
                    <a:pt x="96" y="88"/>
                    <a:pt x="73" y="61"/>
                    <a:pt x="73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2" y="7"/>
                    <a:pt x="96" y="37"/>
                    <a:pt x="115" y="71"/>
                  </a:cubicBezTo>
                  <a:cubicBezTo>
                    <a:pt x="148" y="132"/>
                    <a:pt x="132" y="208"/>
                    <a:pt x="132" y="208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ïśļíḋe">
              <a:extLst>
                <a:ext uri="{FF2B5EF4-FFF2-40B4-BE49-F238E27FC236}">
                  <a16:creationId xmlns:a16="http://schemas.microsoft.com/office/drawing/2014/main" id="{7B272685-835F-42BB-A99E-5CC5A7BEF026}"/>
                </a:ext>
              </a:extLst>
            </p:cNvPr>
            <p:cNvSpPr/>
            <p:nvPr/>
          </p:nvSpPr>
          <p:spPr bwMode="auto">
            <a:xfrm>
              <a:off x="7474504" y="3433923"/>
              <a:ext cx="18268" cy="33725"/>
            </a:xfrm>
            <a:custGeom>
              <a:avLst/>
              <a:gdLst>
                <a:gd name="T0" fmla="*/ 5 w 11"/>
                <a:gd name="T1" fmla="*/ 0 h 21"/>
                <a:gd name="T2" fmla="*/ 0 w 11"/>
                <a:gd name="T3" fmla="*/ 20 h 21"/>
                <a:gd name="T4" fmla="*/ 9 w 11"/>
                <a:gd name="T5" fmla="*/ 21 h 21"/>
                <a:gd name="T6" fmla="*/ 9 w 11"/>
                <a:gd name="T7" fmla="*/ 6 h 21"/>
                <a:gd name="T8" fmla="*/ 11 w 11"/>
                <a:gd name="T9" fmla="*/ 6 h 21"/>
                <a:gd name="T10" fmla="*/ 9 w 11"/>
                <a:gd name="T11" fmla="*/ 6 h 21"/>
                <a:gd name="T12" fmla="*/ 9 w 11"/>
                <a:gd name="T13" fmla="*/ 6 h 21"/>
                <a:gd name="T14" fmla="*/ 9 w 11"/>
                <a:gd name="T15" fmla="*/ 6 h 21"/>
                <a:gd name="T16" fmla="*/ 9 w 11"/>
                <a:gd name="T17" fmla="*/ 6 h 21"/>
                <a:gd name="T18" fmla="*/ 7 w 11"/>
                <a:gd name="T19" fmla="*/ 2 h 21"/>
                <a:gd name="T20" fmla="*/ 5 w 11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21">
                  <a:moveTo>
                    <a:pt x="5" y="0"/>
                  </a:moveTo>
                  <a:cubicBezTo>
                    <a:pt x="3" y="7"/>
                    <a:pt x="2" y="13"/>
                    <a:pt x="0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8" y="4"/>
                    <a:pt x="7" y="2"/>
                  </a:cubicBezTo>
                  <a:cubicBezTo>
                    <a:pt x="6" y="2"/>
                    <a:pt x="6" y="1"/>
                    <a:pt x="5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îṡļiḋé">
              <a:extLst>
                <a:ext uri="{FF2B5EF4-FFF2-40B4-BE49-F238E27FC236}">
                  <a16:creationId xmlns:a16="http://schemas.microsoft.com/office/drawing/2014/main" id="{01E99A1F-0423-43F7-BBF3-C4C65A1C4DF2}"/>
                </a:ext>
              </a:extLst>
            </p:cNvPr>
            <p:cNvSpPr/>
            <p:nvPr/>
          </p:nvSpPr>
          <p:spPr bwMode="auto">
            <a:xfrm>
              <a:off x="7471693" y="3469053"/>
              <a:ext cx="12647" cy="4216"/>
            </a:xfrm>
            <a:custGeom>
              <a:avLst/>
              <a:gdLst>
                <a:gd name="T0" fmla="*/ 1 w 8"/>
                <a:gd name="T1" fmla="*/ 0 h 3"/>
                <a:gd name="T2" fmla="*/ 0 w 8"/>
                <a:gd name="T3" fmla="*/ 2 h 3"/>
                <a:gd name="T4" fmla="*/ 8 w 8"/>
                <a:gd name="T5" fmla="*/ 3 h 3"/>
                <a:gd name="T6" fmla="*/ 8 w 8"/>
                <a:gd name="T7" fmla="*/ 0 h 3"/>
                <a:gd name="T8" fmla="*/ 1 w 8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1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A46A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iṩlïdê">
              <a:extLst>
                <a:ext uri="{FF2B5EF4-FFF2-40B4-BE49-F238E27FC236}">
                  <a16:creationId xmlns:a16="http://schemas.microsoft.com/office/drawing/2014/main" id="{C8BBC124-3C96-4FB2-B3E5-516AF24E7200}"/>
                </a:ext>
              </a:extLst>
            </p:cNvPr>
            <p:cNvSpPr/>
            <p:nvPr/>
          </p:nvSpPr>
          <p:spPr bwMode="auto">
            <a:xfrm>
              <a:off x="7484341" y="3469053"/>
              <a:ext cx="11242" cy="4216"/>
            </a:xfrm>
            <a:custGeom>
              <a:avLst/>
              <a:gdLst>
                <a:gd name="T0" fmla="*/ 0 w 7"/>
                <a:gd name="T1" fmla="*/ 0 h 3"/>
                <a:gd name="T2" fmla="*/ 0 w 7"/>
                <a:gd name="T3" fmla="*/ 3 h 3"/>
                <a:gd name="T4" fmla="*/ 7 w 7"/>
                <a:gd name="T5" fmla="*/ 3 h 3"/>
                <a:gd name="T6" fmla="*/ 7 w 7"/>
                <a:gd name="T7" fmla="*/ 1 h 3"/>
                <a:gd name="T8" fmla="*/ 5 w 7"/>
                <a:gd name="T9" fmla="*/ 1 h 3"/>
                <a:gd name="T10" fmla="*/ 0 w 7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íŝľíḓe">
              <a:extLst>
                <a:ext uri="{FF2B5EF4-FFF2-40B4-BE49-F238E27FC236}">
                  <a16:creationId xmlns:a16="http://schemas.microsoft.com/office/drawing/2014/main" id="{9B08A59A-D3AE-4BA5-95B4-2686B794DB22}"/>
                </a:ext>
              </a:extLst>
            </p:cNvPr>
            <p:cNvSpPr/>
            <p:nvPr/>
          </p:nvSpPr>
          <p:spPr bwMode="auto">
            <a:xfrm>
              <a:off x="7473099" y="3428302"/>
              <a:ext cx="22483" cy="42156"/>
            </a:xfrm>
            <a:custGeom>
              <a:avLst/>
              <a:gdLst>
                <a:gd name="T0" fmla="*/ 7 w 14"/>
                <a:gd name="T1" fmla="*/ 0 h 27"/>
                <a:gd name="T2" fmla="*/ 6 w 14"/>
                <a:gd name="T3" fmla="*/ 4 h 27"/>
                <a:gd name="T4" fmla="*/ 8 w 14"/>
                <a:gd name="T5" fmla="*/ 6 h 27"/>
                <a:gd name="T6" fmla="*/ 10 w 14"/>
                <a:gd name="T7" fmla="*/ 10 h 27"/>
                <a:gd name="T8" fmla="*/ 10 w 14"/>
                <a:gd name="T9" fmla="*/ 10 h 27"/>
                <a:gd name="T10" fmla="*/ 10 w 14"/>
                <a:gd name="T11" fmla="*/ 10 h 27"/>
                <a:gd name="T12" fmla="*/ 10 w 14"/>
                <a:gd name="T13" fmla="*/ 10 h 27"/>
                <a:gd name="T14" fmla="*/ 12 w 14"/>
                <a:gd name="T15" fmla="*/ 10 h 27"/>
                <a:gd name="T16" fmla="*/ 10 w 14"/>
                <a:gd name="T17" fmla="*/ 10 h 27"/>
                <a:gd name="T18" fmla="*/ 10 w 14"/>
                <a:gd name="T19" fmla="*/ 25 h 27"/>
                <a:gd name="T20" fmla="*/ 1 w 14"/>
                <a:gd name="T21" fmla="*/ 24 h 27"/>
                <a:gd name="T22" fmla="*/ 0 w 14"/>
                <a:gd name="T23" fmla="*/ 26 h 27"/>
                <a:gd name="T24" fmla="*/ 7 w 14"/>
                <a:gd name="T25" fmla="*/ 26 h 27"/>
                <a:gd name="T26" fmla="*/ 12 w 14"/>
                <a:gd name="T27" fmla="*/ 27 h 27"/>
                <a:gd name="T28" fmla="*/ 14 w 14"/>
                <a:gd name="T29" fmla="*/ 27 h 27"/>
                <a:gd name="T30" fmla="*/ 14 w 14"/>
                <a:gd name="T31" fmla="*/ 10 h 27"/>
                <a:gd name="T32" fmla="*/ 14 w 14"/>
                <a:gd name="T33" fmla="*/ 10 h 27"/>
                <a:gd name="T34" fmla="*/ 10 w 14"/>
                <a:gd name="T35" fmla="*/ 3 h 27"/>
                <a:gd name="T36" fmla="*/ 7 w 14"/>
                <a:gd name="T3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7">
                  <a:moveTo>
                    <a:pt x="7" y="0"/>
                  </a:moveTo>
                  <a:cubicBezTo>
                    <a:pt x="7" y="1"/>
                    <a:pt x="6" y="3"/>
                    <a:pt x="6" y="4"/>
                  </a:cubicBezTo>
                  <a:cubicBezTo>
                    <a:pt x="7" y="5"/>
                    <a:pt x="7" y="6"/>
                    <a:pt x="8" y="6"/>
                  </a:cubicBezTo>
                  <a:cubicBezTo>
                    <a:pt x="9" y="8"/>
                    <a:pt x="10" y="9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7"/>
                    <a:pt x="12" y="5"/>
                    <a:pt x="10" y="3"/>
                  </a:cubicBezTo>
                  <a:cubicBezTo>
                    <a:pt x="9" y="2"/>
                    <a:pt x="8" y="1"/>
                    <a:pt x="7" y="0"/>
                  </a:cubicBezTo>
                </a:path>
              </a:pathLst>
            </a:custGeom>
            <a:solidFill>
              <a:srgbClr val="437F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iSḻiḋê">
              <a:extLst>
                <a:ext uri="{FF2B5EF4-FFF2-40B4-BE49-F238E27FC236}">
                  <a16:creationId xmlns:a16="http://schemas.microsoft.com/office/drawing/2014/main" id="{30D1A408-5670-4C58-A66A-EC6AE50D4735}"/>
                </a:ext>
              </a:extLst>
            </p:cNvPr>
            <p:cNvSpPr/>
            <p:nvPr/>
          </p:nvSpPr>
          <p:spPr bwMode="auto">
            <a:xfrm>
              <a:off x="7568653" y="3499968"/>
              <a:ext cx="28104" cy="193918"/>
            </a:xfrm>
            <a:custGeom>
              <a:avLst/>
              <a:gdLst>
                <a:gd name="T0" fmla="*/ 0 w 17"/>
                <a:gd name="T1" fmla="*/ 0 h 123"/>
                <a:gd name="T2" fmla="*/ 0 w 17"/>
                <a:gd name="T3" fmla="*/ 101 h 123"/>
                <a:gd name="T4" fmla="*/ 13 w 17"/>
                <a:gd name="T5" fmla="*/ 123 h 123"/>
                <a:gd name="T6" fmla="*/ 15 w 17"/>
                <a:gd name="T7" fmla="*/ 115 h 123"/>
                <a:gd name="T8" fmla="*/ 17 w 17"/>
                <a:gd name="T9" fmla="*/ 83 h 123"/>
                <a:gd name="T10" fmla="*/ 0 w 17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23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4" y="121"/>
                    <a:pt x="14" y="118"/>
                    <a:pt x="15" y="115"/>
                  </a:cubicBezTo>
                  <a:cubicBezTo>
                    <a:pt x="16" y="107"/>
                    <a:pt x="17" y="96"/>
                    <a:pt x="17" y="83"/>
                  </a:cubicBezTo>
                  <a:cubicBezTo>
                    <a:pt x="17" y="59"/>
                    <a:pt x="13" y="28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íŝļïḋé">
              <a:extLst>
                <a:ext uri="{FF2B5EF4-FFF2-40B4-BE49-F238E27FC236}">
                  <a16:creationId xmlns:a16="http://schemas.microsoft.com/office/drawing/2014/main" id="{D0BE43F7-7564-47F4-A19C-DC5F197BBA4F}"/>
                </a:ext>
              </a:extLst>
            </p:cNvPr>
            <p:cNvSpPr/>
            <p:nvPr/>
          </p:nvSpPr>
          <p:spPr bwMode="auto">
            <a:xfrm>
              <a:off x="7589730" y="3634867"/>
              <a:ext cx="11242" cy="75881"/>
            </a:xfrm>
            <a:custGeom>
              <a:avLst/>
              <a:gdLst>
                <a:gd name="T0" fmla="*/ 5 w 7"/>
                <a:gd name="T1" fmla="*/ 0 h 49"/>
                <a:gd name="T2" fmla="*/ 2 w 7"/>
                <a:gd name="T3" fmla="*/ 43 h 49"/>
                <a:gd name="T4" fmla="*/ 1 w 7"/>
                <a:gd name="T5" fmla="*/ 42 h 49"/>
                <a:gd name="T6" fmla="*/ 0 w 7"/>
                <a:gd name="T7" fmla="*/ 45 h 49"/>
                <a:gd name="T8" fmla="*/ 2 w 7"/>
                <a:gd name="T9" fmla="*/ 49 h 49"/>
                <a:gd name="T10" fmla="*/ 3 w 7"/>
                <a:gd name="T11" fmla="*/ 44 h 49"/>
                <a:gd name="T12" fmla="*/ 7 w 7"/>
                <a:gd name="T13" fmla="*/ 4 h 49"/>
                <a:gd name="T14" fmla="*/ 5 w 7"/>
                <a:gd name="T1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9">
                  <a:moveTo>
                    <a:pt x="5" y="0"/>
                  </a:moveTo>
                  <a:cubicBezTo>
                    <a:pt x="5" y="26"/>
                    <a:pt x="2" y="43"/>
                    <a:pt x="2" y="43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0" y="44"/>
                    <a:pt x="0" y="45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7" y="28"/>
                    <a:pt x="7" y="4"/>
                  </a:cubicBezTo>
                  <a:cubicBezTo>
                    <a:pt x="7" y="3"/>
                    <a:pt x="6" y="2"/>
                    <a:pt x="5" y="0"/>
                  </a:cubicBezTo>
                </a:path>
              </a:pathLst>
            </a:custGeom>
            <a:solidFill>
              <a:srgbClr val="7278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ïŝļîḑé">
              <a:extLst>
                <a:ext uri="{FF2B5EF4-FFF2-40B4-BE49-F238E27FC236}">
                  <a16:creationId xmlns:a16="http://schemas.microsoft.com/office/drawing/2014/main" id="{D02DE4E9-33B3-423D-8ED6-06CBAFA7FE7B}"/>
                </a:ext>
              </a:extLst>
            </p:cNvPr>
            <p:cNvSpPr/>
            <p:nvPr/>
          </p:nvSpPr>
          <p:spPr bwMode="auto">
            <a:xfrm>
              <a:off x="7563032" y="3473269"/>
              <a:ext cx="39346" cy="167220"/>
            </a:xfrm>
            <a:custGeom>
              <a:avLst/>
              <a:gdLst>
                <a:gd name="T0" fmla="*/ 0 w 25"/>
                <a:gd name="T1" fmla="*/ 0 h 106"/>
                <a:gd name="T2" fmla="*/ 0 w 25"/>
                <a:gd name="T3" fmla="*/ 5 h 106"/>
                <a:gd name="T4" fmla="*/ 2 w 25"/>
                <a:gd name="T5" fmla="*/ 8 h 106"/>
                <a:gd name="T6" fmla="*/ 22 w 25"/>
                <a:gd name="T7" fmla="*/ 102 h 106"/>
                <a:gd name="T8" fmla="*/ 24 w 25"/>
                <a:gd name="T9" fmla="*/ 106 h 106"/>
                <a:gd name="T10" fmla="*/ 25 w 25"/>
                <a:gd name="T11" fmla="*/ 100 h 106"/>
                <a:gd name="T12" fmla="*/ 4 w 25"/>
                <a:gd name="T13" fmla="*/ 7 h 106"/>
                <a:gd name="T14" fmla="*/ 0 w 25"/>
                <a:gd name="T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06"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7"/>
                    <a:pt x="2" y="8"/>
                  </a:cubicBezTo>
                  <a:cubicBezTo>
                    <a:pt x="19" y="40"/>
                    <a:pt x="23" y="75"/>
                    <a:pt x="22" y="102"/>
                  </a:cubicBezTo>
                  <a:cubicBezTo>
                    <a:pt x="23" y="104"/>
                    <a:pt x="24" y="105"/>
                    <a:pt x="24" y="106"/>
                  </a:cubicBezTo>
                  <a:cubicBezTo>
                    <a:pt x="24" y="104"/>
                    <a:pt x="25" y="102"/>
                    <a:pt x="25" y="100"/>
                  </a:cubicBezTo>
                  <a:cubicBezTo>
                    <a:pt x="24" y="73"/>
                    <a:pt x="20" y="38"/>
                    <a:pt x="4" y="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C4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íşḷiḓe">
              <a:extLst>
                <a:ext uri="{FF2B5EF4-FFF2-40B4-BE49-F238E27FC236}">
                  <a16:creationId xmlns:a16="http://schemas.microsoft.com/office/drawing/2014/main" id="{562D6A5E-01D6-4539-AF3D-946A5A1BCB1B}"/>
                </a:ext>
              </a:extLst>
            </p:cNvPr>
            <p:cNvSpPr/>
            <p:nvPr/>
          </p:nvSpPr>
          <p:spPr bwMode="auto">
            <a:xfrm>
              <a:off x="7563032" y="3658755"/>
              <a:ext cx="28104" cy="46372"/>
            </a:xfrm>
            <a:custGeom>
              <a:avLst/>
              <a:gdLst>
                <a:gd name="T0" fmla="*/ 0 w 18"/>
                <a:gd name="T1" fmla="*/ 0 h 29"/>
                <a:gd name="T2" fmla="*/ 0 w 18"/>
                <a:gd name="T3" fmla="*/ 1 h 29"/>
                <a:gd name="T4" fmla="*/ 17 w 18"/>
                <a:gd name="T5" fmla="*/ 29 h 29"/>
                <a:gd name="T6" fmla="*/ 18 w 18"/>
                <a:gd name="T7" fmla="*/ 26 h 29"/>
                <a:gd name="T8" fmla="*/ 2 w 18"/>
                <a:gd name="T9" fmla="*/ 0 h 29"/>
                <a:gd name="T10" fmla="*/ 0 w 18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9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8" y="27"/>
                    <a:pt x="18" y="2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DE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îsliḓé">
              <a:extLst>
                <a:ext uri="{FF2B5EF4-FFF2-40B4-BE49-F238E27FC236}">
                  <a16:creationId xmlns:a16="http://schemas.microsoft.com/office/drawing/2014/main" id="{071D5603-228C-432B-AD3B-EC339F87C240}"/>
                </a:ext>
              </a:extLst>
            </p:cNvPr>
            <p:cNvSpPr/>
            <p:nvPr/>
          </p:nvSpPr>
          <p:spPr bwMode="auto">
            <a:xfrm>
              <a:off x="7563032" y="3481700"/>
              <a:ext cx="36535" cy="220617"/>
            </a:xfrm>
            <a:custGeom>
              <a:avLst/>
              <a:gdLst>
                <a:gd name="T0" fmla="*/ 17 w 23"/>
                <a:gd name="T1" fmla="*/ 135 h 140"/>
                <a:gd name="T2" fmla="*/ 4 w 23"/>
                <a:gd name="T3" fmla="*/ 113 h 140"/>
                <a:gd name="T4" fmla="*/ 4 w 23"/>
                <a:gd name="T5" fmla="*/ 12 h 140"/>
                <a:gd name="T6" fmla="*/ 21 w 23"/>
                <a:gd name="T7" fmla="*/ 95 h 140"/>
                <a:gd name="T8" fmla="*/ 19 w 23"/>
                <a:gd name="T9" fmla="*/ 127 h 140"/>
                <a:gd name="T10" fmla="*/ 17 w 23"/>
                <a:gd name="T11" fmla="*/ 135 h 140"/>
                <a:gd name="T12" fmla="*/ 0 w 23"/>
                <a:gd name="T13" fmla="*/ 0 h 140"/>
                <a:gd name="T14" fmla="*/ 0 w 23"/>
                <a:gd name="T15" fmla="*/ 113 h 140"/>
                <a:gd name="T16" fmla="*/ 2 w 23"/>
                <a:gd name="T17" fmla="*/ 113 h 140"/>
                <a:gd name="T18" fmla="*/ 18 w 23"/>
                <a:gd name="T19" fmla="*/ 139 h 140"/>
                <a:gd name="T20" fmla="*/ 19 w 23"/>
                <a:gd name="T21" fmla="*/ 140 h 140"/>
                <a:gd name="T22" fmla="*/ 22 w 23"/>
                <a:gd name="T23" fmla="*/ 97 h 140"/>
                <a:gd name="T24" fmla="*/ 2 w 23"/>
                <a:gd name="T25" fmla="*/ 3 h 140"/>
                <a:gd name="T26" fmla="*/ 0 w 23"/>
                <a:gd name="T2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40">
                  <a:moveTo>
                    <a:pt x="17" y="135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7" y="40"/>
                    <a:pt x="21" y="71"/>
                    <a:pt x="21" y="95"/>
                  </a:cubicBezTo>
                  <a:cubicBezTo>
                    <a:pt x="21" y="108"/>
                    <a:pt x="20" y="119"/>
                    <a:pt x="19" y="127"/>
                  </a:cubicBezTo>
                  <a:cubicBezTo>
                    <a:pt x="18" y="130"/>
                    <a:pt x="18" y="133"/>
                    <a:pt x="17" y="135"/>
                  </a:cubicBezTo>
                  <a:moveTo>
                    <a:pt x="0" y="0"/>
                  </a:moveTo>
                  <a:cubicBezTo>
                    <a:pt x="0" y="113"/>
                    <a:pt x="0" y="113"/>
                    <a:pt x="0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22" y="123"/>
                    <a:pt x="22" y="97"/>
                  </a:cubicBezTo>
                  <a:cubicBezTo>
                    <a:pt x="23" y="70"/>
                    <a:pt x="19" y="35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437F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iṡľîḋe">
              <a:extLst>
                <a:ext uri="{FF2B5EF4-FFF2-40B4-BE49-F238E27FC236}">
                  <a16:creationId xmlns:a16="http://schemas.microsoft.com/office/drawing/2014/main" id="{AB80A713-D402-416C-AE82-9715EE761260}"/>
                </a:ext>
              </a:extLst>
            </p:cNvPr>
            <p:cNvSpPr/>
            <p:nvPr/>
          </p:nvSpPr>
          <p:spPr bwMode="auto">
            <a:xfrm>
              <a:off x="6903992" y="3716369"/>
              <a:ext cx="254342" cy="335844"/>
            </a:xfrm>
            <a:custGeom>
              <a:avLst/>
              <a:gdLst>
                <a:gd name="T0" fmla="*/ 28 w 161"/>
                <a:gd name="T1" fmla="*/ 16 h 214"/>
                <a:gd name="T2" fmla="*/ 130 w 161"/>
                <a:gd name="T3" fmla="*/ 78 h 214"/>
                <a:gd name="T4" fmla="*/ 133 w 161"/>
                <a:gd name="T5" fmla="*/ 198 h 214"/>
                <a:gd name="T6" fmla="*/ 30 w 161"/>
                <a:gd name="T7" fmla="*/ 136 h 214"/>
                <a:gd name="T8" fmla="*/ 28 w 161"/>
                <a:gd name="T9" fmla="*/ 16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214">
                  <a:moveTo>
                    <a:pt x="28" y="16"/>
                  </a:moveTo>
                  <a:cubicBezTo>
                    <a:pt x="55" y="0"/>
                    <a:pt x="101" y="28"/>
                    <a:pt x="130" y="78"/>
                  </a:cubicBezTo>
                  <a:cubicBezTo>
                    <a:pt x="159" y="129"/>
                    <a:pt x="161" y="182"/>
                    <a:pt x="133" y="198"/>
                  </a:cubicBezTo>
                  <a:cubicBezTo>
                    <a:pt x="105" y="214"/>
                    <a:pt x="60" y="186"/>
                    <a:pt x="30" y="136"/>
                  </a:cubicBezTo>
                  <a:cubicBezTo>
                    <a:pt x="1" y="86"/>
                    <a:pt x="0" y="32"/>
                    <a:pt x="28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iṥ1îďè">
              <a:extLst>
                <a:ext uri="{FF2B5EF4-FFF2-40B4-BE49-F238E27FC236}">
                  <a16:creationId xmlns:a16="http://schemas.microsoft.com/office/drawing/2014/main" id="{FA3D52D0-181D-43DA-A9F4-8287B1AD85F2}"/>
                </a:ext>
              </a:extLst>
            </p:cNvPr>
            <p:cNvSpPr/>
            <p:nvPr/>
          </p:nvSpPr>
          <p:spPr bwMode="auto">
            <a:xfrm>
              <a:off x="6853404" y="3721990"/>
              <a:ext cx="304929" cy="330223"/>
            </a:xfrm>
            <a:custGeom>
              <a:avLst/>
              <a:gdLst>
                <a:gd name="T0" fmla="*/ 129 w 194"/>
                <a:gd name="T1" fmla="*/ 94 h 210"/>
                <a:gd name="T2" fmla="*/ 166 w 194"/>
                <a:gd name="T3" fmla="*/ 194 h 210"/>
                <a:gd name="T4" fmla="*/ 29 w 194"/>
                <a:gd name="T5" fmla="*/ 152 h 210"/>
                <a:gd name="T6" fmla="*/ 54 w 194"/>
                <a:gd name="T7" fmla="*/ 16 h 210"/>
                <a:gd name="T8" fmla="*/ 129 w 194"/>
                <a:gd name="T9" fmla="*/ 9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210">
                  <a:moveTo>
                    <a:pt x="129" y="94"/>
                  </a:moveTo>
                  <a:cubicBezTo>
                    <a:pt x="158" y="145"/>
                    <a:pt x="194" y="178"/>
                    <a:pt x="166" y="194"/>
                  </a:cubicBezTo>
                  <a:cubicBezTo>
                    <a:pt x="139" y="210"/>
                    <a:pt x="58" y="202"/>
                    <a:pt x="29" y="152"/>
                  </a:cubicBezTo>
                  <a:cubicBezTo>
                    <a:pt x="0" y="102"/>
                    <a:pt x="26" y="32"/>
                    <a:pt x="54" y="16"/>
                  </a:cubicBezTo>
                  <a:cubicBezTo>
                    <a:pt x="82" y="0"/>
                    <a:pt x="100" y="44"/>
                    <a:pt x="129" y="94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is1îďè">
              <a:extLst>
                <a:ext uri="{FF2B5EF4-FFF2-40B4-BE49-F238E27FC236}">
                  <a16:creationId xmlns:a16="http://schemas.microsoft.com/office/drawing/2014/main" id="{28109B45-15F5-40A1-9247-B27312B319C8}"/>
                </a:ext>
              </a:extLst>
            </p:cNvPr>
            <p:cNvSpPr/>
            <p:nvPr/>
          </p:nvSpPr>
          <p:spPr bwMode="auto">
            <a:xfrm>
              <a:off x="6577985" y="3348206"/>
              <a:ext cx="112416" cy="281040"/>
            </a:xfrm>
            <a:custGeom>
              <a:avLst/>
              <a:gdLst>
                <a:gd name="T0" fmla="*/ 54 w 71"/>
                <a:gd name="T1" fmla="*/ 155 h 179"/>
                <a:gd name="T2" fmla="*/ 48 w 71"/>
                <a:gd name="T3" fmla="*/ 155 h 179"/>
                <a:gd name="T4" fmla="*/ 66 w 71"/>
                <a:gd name="T5" fmla="*/ 179 h 179"/>
                <a:gd name="T6" fmla="*/ 66 w 71"/>
                <a:gd name="T7" fmla="*/ 179 h 179"/>
                <a:gd name="T8" fmla="*/ 71 w 71"/>
                <a:gd name="T9" fmla="*/ 177 h 179"/>
                <a:gd name="T10" fmla="*/ 54 w 71"/>
                <a:gd name="T11" fmla="*/ 155 h 179"/>
                <a:gd name="T12" fmla="*/ 0 w 71"/>
                <a:gd name="T13" fmla="*/ 0 h 179"/>
                <a:gd name="T14" fmla="*/ 25 w 71"/>
                <a:gd name="T15" fmla="*/ 113 h 179"/>
                <a:gd name="T16" fmla="*/ 25 w 71"/>
                <a:gd name="T17" fmla="*/ 105 h 179"/>
                <a:gd name="T18" fmla="*/ 0 w 71"/>
                <a:gd name="T19" fmla="*/ 0 h 179"/>
                <a:gd name="T20" fmla="*/ 0 w 71"/>
                <a:gd name="T21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79">
                  <a:moveTo>
                    <a:pt x="54" y="155"/>
                  </a:moveTo>
                  <a:cubicBezTo>
                    <a:pt x="48" y="155"/>
                    <a:pt x="48" y="155"/>
                    <a:pt x="48" y="155"/>
                  </a:cubicBezTo>
                  <a:cubicBezTo>
                    <a:pt x="54" y="164"/>
                    <a:pt x="59" y="172"/>
                    <a:pt x="66" y="179"/>
                  </a:cubicBezTo>
                  <a:cubicBezTo>
                    <a:pt x="66" y="179"/>
                    <a:pt x="66" y="179"/>
                    <a:pt x="66" y="179"/>
                  </a:cubicBezTo>
                  <a:cubicBezTo>
                    <a:pt x="68" y="178"/>
                    <a:pt x="69" y="178"/>
                    <a:pt x="71" y="177"/>
                  </a:cubicBezTo>
                  <a:cubicBezTo>
                    <a:pt x="65" y="170"/>
                    <a:pt x="59" y="163"/>
                    <a:pt x="54" y="155"/>
                  </a:cubicBezTo>
                  <a:moveTo>
                    <a:pt x="0" y="0"/>
                  </a:moveTo>
                  <a:cubicBezTo>
                    <a:pt x="0" y="40"/>
                    <a:pt x="9" y="78"/>
                    <a:pt x="25" y="113"/>
                  </a:cubicBezTo>
                  <a:cubicBezTo>
                    <a:pt x="25" y="105"/>
                    <a:pt x="25" y="105"/>
                    <a:pt x="25" y="105"/>
                  </a:cubicBezTo>
                  <a:cubicBezTo>
                    <a:pt x="10" y="73"/>
                    <a:pt x="2" y="38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íṥ1îdê">
              <a:extLst>
                <a:ext uri="{FF2B5EF4-FFF2-40B4-BE49-F238E27FC236}">
                  <a16:creationId xmlns:a16="http://schemas.microsoft.com/office/drawing/2014/main" id="{5962DAC0-7844-44D1-BC4F-4292D079F10B}"/>
                </a:ext>
              </a:extLst>
            </p:cNvPr>
            <p:cNvSpPr/>
            <p:nvPr/>
          </p:nvSpPr>
          <p:spPr bwMode="auto">
            <a:xfrm>
              <a:off x="6618736" y="3512614"/>
              <a:ext cx="44966" cy="78691"/>
            </a:xfrm>
            <a:custGeom>
              <a:avLst/>
              <a:gdLst>
                <a:gd name="T0" fmla="*/ 0 w 29"/>
                <a:gd name="T1" fmla="*/ 0 h 50"/>
                <a:gd name="T2" fmla="*/ 0 w 29"/>
                <a:gd name="T3" fmla="*/ 8 h 50"/>
                <a:gd name="T4" fmla="*/ 23 w 29"/>
                <a:gd name="T5" fmla="*/ 50 h 50"/>
                <a:gd name="T6" fmla="*/ 29 w 29"/>
                <a:gd name="T7" fmla="*/ 50 h 50"/>
                <a:gd name="T8" fmla="*/ 0 w 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0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6" y="23"/>
                    <a:pt x="14" y="37"/>
                    <a:pt x="2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17" y="35"/>
                    <a:pt x="8" y="18"/>
                    <a:pt x="0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ísľîḍe">
              <a:extLst>
                <a:ext uri="{FF2B5EF4-FFF2-40B4-BE49-F238E27FC236}">
                  <a16:creationId xmlns:a16="http://schemas.microsoft.com/office/drawing/2014/main" id="{28F6A554-89F9-49C1-A537-C8B7AC62426A}"/>
                </a:ext>
              </a:extLst>
            </p:cNvPr>
            <p:cNvSpPr/>
            <p:nvPr/>
          </p:nvSpPr>
          <p:spPr bwMode="auto">
            <a:xfrm>
              <a:off x="6895560" y="3766956"/>
              <a:ext cx="19673" cy="12647"/>
            </a:xfrm>
            <a:custGeom>
              <a:avLst/>
              <a:gdLst>
                <a:gd name="T0" fmla="*/ 6 w 13"/>
                <a:gd name="T1" fmla="*/ 0 h 8"/>
                <a:gd name="T2" fmla="*/ 6 w 13"/>
                <a:gd name="T3" fmla="*/ 0 h 8"/>
                <a:gd name="T4" fmla="*/ 0 w 13"/>
                <a:gd name="T5" fmla="*/ 5 h 8"/>
                <a:gd name="T6" fmla="*/ 8 w 13"/>
                <a:gd name="T7" fmla="*/ 8 h 8"/>
                <a:gd name="T8" fmla="*/ 13 w 13"/>
                <a:gd name="T9" fmla="*/ 1 h 8"/>
                <a:gd name="T10" fmla="*/ 6 w 13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8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" y="6"/>
                    <a:pt x="5" y="7"/>
                    <a:pt x="8" y="8"/>
                  </a:cubicBezTo>
                  <a:cubicBezTo>
                    <a:pt x="9" y="6"/>
                    <a:pt x="11" y="3"/>
                    <a:pt x="13" y="1"/>
                  </a:cubicBezTo>
                  <a:cubicBezTo>
                    <a:pt x="10" y="1"/>
                    <a:pt x="8" y="0"/>
                    <a:pt x="6" y="0"/>
                  </a:cubicBezTo>
                </a:path>
              </a:pathLst>
            </a:custGeom>
            <a:solidFill>
              <a:srgbClr val="6A70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îs1iďê">
              <a:extLst>
                <a:ext uri="{FF2B5EF4-FFF2-40B4-BE49-F238E27FC236}">
                  <a16:creationId xmlns:a16="http://schemas.microsoft.com/office/drawing/2014/main" id="{145898CB-8B45-48E1-BC83-641548115404}"/>
                </a:ext>
              </a:extLst>
            </p:cNvPr>
            <p:cNvSpPr/>
            <p:nvPr/>
          </p:nvSpPr>
          <p:spPr bwMode="auto">
            <a:xfrm>
              <a:off x="6681970" y="3626436"/>
              <a:ext cx="222022" cy="147547"/>
            </a:xfrm>
            <a:custGeom>
              <a:avLst/>
              <a:gdLst>
                <a:gd name="T0" fmla="*/ 5 w 141"/>
                <a:gd name="T1" fmla="*/ 0 h 94"/>
                <a:gd name="T2" fmla="*/ 0 w 141"/>
                <a:gd name="T3" fmla="*/ 2 h 94"/>
                <a:gd name="T4" fmla="*/ 0 w 141"/>
                <a:gd name="T5" fmla="*/ 2 h 94"/>
                <a:gd name="T6" fmla="*/ 135 w 141"/>
                <a:gd name="T7" fmla="*/ 94 h 94"/>
                <a:gd name="T8" fmla="*/ 141 w 141"/>
                <a:gd name="T9" fmla="*/ 89 h 94"/>
                <a:gd name="T10" fmla="*/ 141 w 141"/>
                <a:gd name="T11" fmla="*/ 89 h 94"/>
                <a:gd name="T12" fmla="*/ 5 w 141"/>
                <a:gd name="T1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94">
                  <a:moveTo>
                    <a:pt x="5" y="0"/>
                  </a:moveTo>
                  <a:cubicBezTo>
                    <a:pt x="3" y="1"/>
                    <a:pt x="2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5" y="45"/>
                    <a:pt x="81" y="77"/>
                    <a:pt x="135" y="94"/>
                  </a:cubicBezTo>
                  <a:cubicBezTo>
                    <a:pt x="141" y="89"/>
                    <a:pt x="141" y="89"/>
                    <a:pt x="141" y="89"/>
                  </a:cubicBezTo>
                  <a:cubicBezTo>
                    <a:pt x="141" y="89"/>
                    <a:pt x="141" y="89"/>
                    <a:pt x="141" y="89"/>
                  </a:cubicBezTo>
                  <a:cubicBezTo>
                    <a:pt x="88" y="72"/>
                    <a:pt x="40" y="41"/>
                    <a:pt x="5" y="0"/>
                  </a:cubicBezTo>
                </a:path>
              </a:pathLst>
            </a:custGeom>
            <a:solidFill>
              <a:srgbClr val="4442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iṡľîḑe">
              <a:extLst>
                <a:ext uri="{FF2B5EF4-FFF2-40B4-BE49-F238E27FC236}">
                  <a16:creationId xmlns:a16="http://schemas.microsoft.com/office/drawing/2014/main" id="{381418BF-2B6D-4D05-9D72-FE80FD447466}"/>
                </a:ext>
              </a:extLst>
            </p:cNvPr>
            <p:cNvSpPr/>
            <p:nvPr/>
          </p:nvSpPr>
          <p:spPr bwMode="auto">
            <a:xfrm>
              <a:off x="7068401" y="3781008"/>
              <a:ext cx="37941" cy="14052"/>
            </a:xfrm>
            <a:custGeom>
              <a:avLst/>
              <a:gdLst>
                <a:gd name="T0" fmla="*/ 23 w 24"/>
                <a:gd name="T1" fmla="*/ 0 h 9"/>
                <a:gd name="T2" fmla="*/ 0 w 24"/>
                <a:gd name="T3" fmla="*/ 2 h 9"/>
                <a:gd name="T4" fmla="*/ 7 w 24"/>
                <a:gd name="T5" fmla="*/ 9 h 9"/>
                <a:gd name="T6" fmla="*/ 24 w 24"/>
                <a:gd name="T7" fmla="*/ 7 h 9"/>
                <a:gd name="T8" fmla="*/ 23 w 2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9">
                  <a:moveTo>
                    <a:pt x="23" y="0"/>
                  </a:moveTo>
                  <a:cubicBezTo>
                    <a:pt x="15" y="1"/>
                    <a:pt x="8" y="2"/>
                    <a:pt x="0" y="2"/>
                  </a:cubicBezTo>
                  <a:cubicBezTo>
                    <a:pt x="2" y="4"/>
                    <a:pt x="4" y="7"/>
                    <a:pt x="7" y="9"/>
                  </a:cubicBezTo>
                  <a:cubicBezTo>
                    <a:pt x="12" y="8"/>
                    <a:pt x="18" y="8"/>
                    <a:pt x="24" y="7"/>
                  </a:cubicBezTo>
                  <a:cubicBezTo>
                    <a:pt x="24" y="4"/>
                    <a:pt x="23" y="2"/>
                    <a:pt x="23" y="0"/>
                  </a:cubicBezTo>
                </a:path>
              </a:pathLst>
            </a:custGeom>
            <a:solidFill>
              <a:srgbClr val="6A70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îṧ1iďé">
              <a:extLst>
                <a:ext uri="{FF2B5EF4-FFF2-40B4-BE49-F238E27FC236}">
                  <a16:creationId xmlns:a16="http://schemas.microsoft.com/office/drawing/2014/main" id="{2EDBC23A-145A-4A4F-A2AC-D7AE5025377E}"/>
                </a:ext>
              </a:extLst>
            </p:cNvPr>
            <p:cNvSpPr/>
            <p:nvPr/>
          </p:nvSpPr>
          <p:spPr bwMode="auto">
            <a:xfrm>
              <a:off x="7104936" y="3734636"/>
              <a:ext cx="137710" cy="57614"/>
            </a:xfrm>
            <a:custGeom>
              <a:avLst/>
              <a:gdLst>
                <a:gd name="T0" fmla="*/ 88 w 88"/>
                <a:gd name="T1" fmla="*/ 0 h 36"/>
                <a:gd name="T2" fmla="*/ 0 w 88"/>
                <a:gd name="T3" fmla="*/ 29 h 36"/>
                <a:gd name="T4" fmla="*/ 1 w 88"/>
                <a:gd name="T5" fmla="*/ 36 h 36"/>
                <a:gd name="T6" fmla="*/ 88 w 8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36">
                  <a:moveTo>
                    <a:pt x="88" y="0"/>
                  </a:moveTo>
                  <a:cubicBezTo>
                    <a:pt x="61" y="14"/>
                    <a:pt x="31" y="24"/>
                    <a:pt x="0" y="29"/>
                  </a:cubicBezTo>
                  <a:cubicBezTo>
                    <a:pt x="0" y="31"/>
                    <a:pt x="1" y="33"/>
                    <a:pt x="1" y="36"/>
                  </a:cubicBezTo>
                  <a:cubicBezTo>
                    <a:pt x="33" y="30"/>
                    <a:pt x="62" y="17"/>
                    <a:pt x="88" y="0"/>
                  </a:cubicBezTo>
                </a:path>
              </a:pathLst>
            </a:custGeom>
            <a:solidFill>
              <a:srgbClr val="9C63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is1ïďe">
              <a:extLst>
                <a:ext uri="{FF2B5EF4-FFF2-40B4-BE49-F238E27FC236}">
                  <a16:creationId xmlns:a16="http://schemas.microsoft.com/office/drawing/2014/main" id="{2E732180-3ED9-463A-AE6B-E3F1570A9745}"/>
                </a:ext>
              </a:extLst>
            </p:cNvPr>
            <p:cNvSpPr/>
            <p:nvPr/>
          </p:nvSpPr>
          <p:spPr bwMode="auto">
            <a:xfrm>
              <a:off x="7005166" y="3783819"/>
              <a:ext cx="74476" cy="14052"/>
            </a:xfrm>
            <a:custGeom>
              <a:avLst/>
              <a:gdLst>
                <a:gd name="T0" fmla="*/ 40 w 47"/>
                <a:gd name="T1" fmla="*/ 0 h 9"/>
                <a:gd name="T2" fmla="*/ 20 w 47"/>
                <a:gd name="T3" fmla="*/ 1 h 9"/>
                <a:gd name="T4" fmla="*/ 0 w 47"/>
                <a:gd name="T5" fmla="*/ 0 h 9"/>
                <a:gd name="T6" fmla="*/ 5 w 47"/>
                <a:gd name="T7" fmla="*/ 8 h 9"/>
                <a:gd name="T8" fmla="*/ 20 w 47"/>
                <a:gd name="T9" fmla="*/ 9 h 9"/>
                <a:gd name="T10" fmla="*/ 47 w 47"/>
                <a:gd name="T11" fmla="*/ 7 h 9"/>
                <a:gd name="T12" fmla="*/ 40 w 47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">
                  <a:moveTo>
                    <a:pt x="40" y="0"/>
                  </a:moveTo>
                  <a:cubicBezTo>
                    <a:pt x="33" y="0"/>
                    <a:pt x="27" y="1"/>
                    <a:pt x="20" y="1"/>
                  </a:cubicBezTo>
                  <a:cubicBezTo>
                    <a:pt x="13" y="1"/>
                    <a:pt x="7" y="0"/>
                    <a:pt x="0" y="0"/>
                  </a:cubicBezTo>
                  <a:cubicBezTo>
                    <a:pt x="2" y="3"/>
                    <a:pt x="4" y="5"/>
                    <a:pt x="5" y="8"/>
                  </a:cubicBezTo>
                  <a:cubicBezTo>
                    <a:pt x="10" y="8"/>
                    <a:pt x="15" y="9"/>
                    <a:pt x="20" y="9"/>
                  </a:cubicBezTo>
                  <a:cubicBezTo>
                    <a:pt x="29" y="9"/>
                    <a:pt x="38" y="8"/>
                    <a:pt x="47" y="7"/>
                  </a:cubicBezTo>
                  <a:cubicBezTo>
                    <a:pt x="44" y="5"/>
                    <a:pt x="42" y="2"/>
                    <a:pt x="4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íṡľîḋe">
              <a:extLst>
                <a:ext uri="{FF2B5EF4-FFF2-40B4-BE49-F238E27FC236}">
                  <a16:creationId xmlns:a16="http://schemas.microsoft.com/office/drawing/2014/main" id="{67CFF62B-B1AE-4A27-97F5-839CBCB5DB3B}"/>
                </a:ext>
              </a:extLst>
            </p:cNvPr>
            <p:cNvSpPr/>
            <p:nvPr/>
          </p:nvSpPr>
          <p:spPr bwMode="auto">
            <a:xfrm>
              <a:off x="6908208" y="3768361"/>
              <a:ext cx="105391" cy="28104"/>
            </a:xfrm>
            <a:custGeom>
              <a:avLst/>
              <a:gdLst>
                <a:gd name="T0" fmla="*/ 5 w 67"/>
                <a:gd name="T1" fmla="*/ 0 h 18"/>
                <a:gd name="T2" fmla="*/ 0 w 67"/>
                <a:gd name="T3" fmla="*/ 7 h 18"/>
                <a:gd name="T4" fmla="*/ 67 w 67"/>
                <a:gd name="T5" fmla="*/ 18 h 18"/>
                <a:gd name="T6" fmla="*/ 62 w 67"/>
                <a:gd name="T7" fmla="*/ 10 h 18"/>
                <a:gd name="T8" fmla="*/ 5 w 6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18">
                  <a:moveTo>
                    <a:pt x="5" y="0"/>
                  </a:moveTo>
                  <a:cubicBezTo>
                    <a:pt x="3" y="2"/>
                    <a:pt x="1" y="5"/>
                    <a:pt x="0" y="7"/>
                  </a:cubicBezTo>
                  <a:cubicBezTo>
                    <a:pt x="21" y="13"/>
                    <a:pt x="44" y="17"/>
                    <a:pt x="67" y="18"/>
                  </a:cubicBezTo>
                  <a:cubicBezTo>
                    <a:pt x="66" y="15"/>
                    <a:pt x="64" y="13"/>
                    <a:pt x="62" y="10"/>
                  </a:cubicBezTo>
                  <a:cubicBezTo>
                    <a:pt x="42" y="9"/>
                    <a:pt x="23" y="5"/>
                    <a:pt x="5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îṩlïďé">
              <a:extLst>
                <a:ext uri="{FF2B5EF4-FFF2-40B4-BE49-F238E27FC236}">
                  <a16:creationId xmlns:a16="http://schemas.microsoft.com/office/drawing/2014/main" id="{220ACE80-2B4C-4880-962C-01FF8C06DA3F}"/>
                </a:ext>
              </a:extLst>
            </p:cNvPr>
            <p:cNvSpPr/>
            <p:nvPr/>
          </p:nvSpPr>
          <p:spPr bwMode="auto">
            <a:xfrm>
              <a:off x="6576580" y="2867627"/>
              <a:ext cx="919003" cy="917598"/>
            </a:xfrm>
            <a:prstGeom prst="ellipse">
              <a:avLst/>
            </a:prstGeom>
            <a:solidFill>
              <a:srgbClr val="AE6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0" name="ís1iḍé">
              <a:extLst>
                <a:ext uri="{FF2B5EF4-FFF2-40B4-BE49-F238E27FC236}">
                  <a16:creationId xmlns:a16="http://schemas.microsoft.com/office/drawing/2014/main" id="{D38C9150-E3DF-4945-ACC4-5650DE2D9526}"/>
                </a:ext>
              </a:extLst>
            </p:cNvPr>
            <p:cNvSpPr/>
            <p:nvPr/>
          </p:nvSpPr>
          <p:spPr bwMode="auto">
            <a:xfrm>
              <a:off x="6385472" y="2524757"/>
              <a:ext cx="1211285" cy="831880"/>
            </a:xfrm>
            <a:custGeom>
              <a:avLst/>
              <a:gdLst>
                <a:gd name="T0" fmla="*/ 388 w 769"/>
                <a:gd name="T1" fmla="*/ 380 h 529"/>
                <a:gd name="T2" fmla="*/ 475 w 769"/>
                <a:gd name="T3" fmla="*/ 449 h 529"/>
                <a:gd name="T4" fmla="*/ 626 w 769"/>
                <a:gd name="T5" fmla="*/ 456 h 529"/>
                <a:gd name="T6" fmla="*/ 711 w 769"/>
                <a:gd name="T7" fmla="*/ 447 h 529"/>
                <a:gd name="T8" fmla="*/ 724 w 769"/>
                <a:gd name="T9" fmla="*/ 449 h 529"/>
                <a:gd name="T10" fmla="*/ 735 w 769"/>
                <a:gd name="T11" fmla="*/ 435 h 529"/>
                <a:gd name="T12" fmla="*/ 702 w 769"/>
                <a:gd name="T13" fmla="*/ 124 h 529"/>
                <a:gd name="T14" fmla="*/ 651 w 769"/>
                <a:gd name="T15" fmla="*/ 60 h 529"/>
                <a:gd name="T16" fmla="*/ 593 w 769"/>
                <a:gd name="T17" fmla="*/ 30 h 529"/>
                <a:gd name="T18" fmla="*/ 477 w 769"/>
                <a:gd name="T19" fmla="*/ 2 h 529"/>
                <a:gd name="T20" fmla="*/ 456 w 769"/>
                <a:gd name="T21" fmla="*/ 1 h 529"/>
                <a:gd name="T22" fmla="*/ 429 w 769"/>
                <a:gd name="T23" fmla="*/ 12 h 529"/>
                <a:gd name="T24" fmla="*/ 310 w 769"/>
                <a:gd name="T25" fmla="*/ 45 h 529"/>
                <a:gd name="T26" fmla="*/ 269 w 769"/>
                <a:gd name="T27" fmla="*/ 45 h 529"/>
                <a:gd name="T28" fmla="*/ 147 w 769"/>
                <a:gd name="T29" fmla="*/ 70 h 529"/>
                <a:gd name="T30" fmla="*/ 74 w 769"/>
                <a:gd name="T31" fmla="*/ 255 h 529"/>
                <a:gd name="T32" fmla="*/ 2 w 769"/>
                <a:gd name="T33" fmla="*/ 366 h 529"/>
                <a:gd name="T34" fmla="*/ 4 w 769"/>
                <a:gd name="T35" fmla="*/ 406 h 529"/>
                <a:gd name="T36" fmla="*/ 156 w 769"/>
                <a:gd name="T37" fmla="*/ 528 h 529"/>
                <a:gd name="T38" fmla="*/ 187 w 769"/>
                <a:gd name="T39" fmla="*/ 522 h 529"/>
                <a:gd name="T40" fmla="*/ 204 w 769"/>
                <a:gd name="T41" fmla="*/ 506 h 529"/>
                <a:gd name="T42" fmla="*/ 388 w 769"/>
                <a:gd name="T43" fmla="*/ 38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9" h="529">
                  <a:moveTo>
                    <a:pt x="388" y="380"/>
                  </a:moveTo>
                  <a:cubicBezTo>
                    <a:pt x="423" y="393"/>
                    <a:pt x="443" y="429"/>
                    <a:pt x="475" y="449"/>
                  </a:cubicBezTo>
                  <a:cubicBezTo>
                    <a:pt x="519" y="477"/>
                    <a:pt x="576" y="470"/>
                    <a:pt x="626" y="456"/>
                  </a:cubicBezTo>
                  <a:cubicBezTo>
                    <a:pt x="654" y="448"/>
                    <a:pt x="683" y="439"/>
                    <a:pt x="711" y="447"/>
                  </a:cubicBezTo>
                  <a:cubicBezTo>
                    <a:pt x="715" y="449"/>
                    <a:pt x="719" y="450"/>
                    <a:pt x="724" y="449"/>
                  </a:cubicBezTo>
                  <a:cubicBezTo>
                    <a:pt x="730" y="447"/>
                    <a:pt x="733" y="441"/>
                    <a:pt x="735" y="435"/>
                  </a:cubicBezTo>
                  <a:cubicBezTo>
                    <a:pt x="769" y="333"/>
                    <a:pt x="754" y="218"/>
                    <a:pt x="702" y="124"/>
                  </a:cubicBezTo>
                  <a:cubicBezTo>
                    <a:pt x="689" y="100"/>
                    <a:pt x="673" y="76"/>
                    <a:pt x="651" y="60"/>
                  </a:cubicBezTo>
                  <a:cubicBezTo>
                    <a:pt x="634" y="46"/>
                    <a:pt x="613" y="38"/>
                    <a:pt x="593" y="30"/>
                  </a:cubicBezTo>
                  <a:cubicBezTo>
                    <a:pt x="555" y="17"/>
                    <a:pt x="517" y="7"/>
                    <a:pt x="477" y="2"/>
                  </a:cubicBezTo>
                  <a:cubicBezTo>
                    <a:pt x="470" y="0"/>
                    <a:pt x="463" y="0"/>
                    <a:pt x="456" y="1"/>
                  </a:cubicBezTo>
                  <a:cubicBezTo>
                    <a:pt x="447" y="3"/>
                    <a:pt x="438" y="8"/>
                    <a:pt x="429" y="12"/>
                  </a:cubicBezTo>
                  <a:cubicBezTo>
                    <a:pt x="393" y="32"/>
                    <a:pt x="352" y="43"/>
                    <a:pt x="310" y="45"/>
                  </a:cubicBezTo>
                  <a:cubicBezTo>
                    <a:pt x="297" y="45"/>
                    <a:pt x="283" y="45"/>
                    <a:pt x="269" y="45"/>
                  </a:cubicBezTo>
                  <a:cubicBezTo>
                    <a:pt x="225" y="44"/>
                    <a:pt x="180" y="42"/>
                    <a:pt x="147" y="70"/>
                  </a:cubicBezTo>
                  <a:cubicBezTo>
                    <a:pt x="95" y="113"/>
                    <a:pt x="108" y="197"/>
                    <a:pt x="74" y="255"/>
                  </a:cubicBezTo>
                  <a:cubicBezTo>
                    <a:pt x="52" y="294"/>
                    <a:pt x="9" y="322"/>
                    <a:pt x="2" y="366"/>
                  </a:cubicBezTo>
                  <a:cubicBezTo>
                    <a:pt x="0" y="380"/>
                    <a:pt x="1" y="393"/>
                    <a:pt x="4" y="406"/>
                  </a:cubicBezTo>
                  <a:cubicBezTo>
                    <a:pt x="21" y="474"/>
                    <a:pt x="86" y="527"/>
                    <a:pt x="156" y="528"/>
                  </a:cubicBezTo>
                  <a:cubicBezTo>
                    <a:pt x="167" y="529"/>
                    <a:pt x="178" y="526"/>
                    <a:pt x="187" y="522"/>
                  </a:cubicBezTo>
                  <a:cubicBezTo>
                    <a:pt x="193" y="517"/>
                    <a:pt x="199" y="512"/>
                    <a:pt x="204" y="506"/>
                  </a:cubicBezTo>
                  <a:cubicBezTo>
                    <a:pt x="249" y="452"/>
                    <a:pt x="302" y="348"/>
                    <a:pt x="388" y="380"/>
                  </a:cubicBezTo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1" name="ïṧḻiďe">
              <a:extLst>
                <a:ext uri="{FF2B5EF4-FFF2-40B4-BE49-F238E27FC236}">
                  <a16:creationId xmlns:a16="http://schemas.microsoft.com/office/drawing/2014/main" id="{3E7D67C0-8146-4F8F-8EF4-7472C57B3C5B}"/>
                </a:ext>
              </a:extLst>
            </p:cNvPr>
            <p:cNvSpPr/>
            <p:nvPr/>
          </p:nvSpPr>
          <p:spPr bwMode="auto">
            <a:xfrm>
              <a:off x="7571463" y="3009552"/>
              <a:ext cx="0" cy="15458"/>
            </a:xfrm>
            <a:custGeom>
              <a:avLst/>
              <a:gdLst>
                <a:gd name="T0" fmla="*/ 0 h 10"/>
                <a:gd name="T1" fmla="*/ 10 h 10"/>
                <a:gd name="T2" fmla="*/ 10 h 10"/>
                <a:gd name="T3" fmla="*/ 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0">
                  <a:moveTo>
                    <a:pt x="0" y="0"/>
                  </a:moveTo>
                  <a:cubicBezTo>
                    <a:pt x="0" y="3"/>
                    <a:pt x="0" y="6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6"/>
                    <a:pt x="0" y="3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2" name="îSlïḑè">
              <a:extLst>
                <a:ext uri="{FF2B5EF4-FFF2-40B4-BE49-F238E27FC236}">
                  <a16:creationId xmlns:a16="http://schemas.microsoft.com/office/drawing/2014/main" id="{98324BB8-F814-45D8-9BC2-2945D050A2E2}"/>
                </a:ext>
              </a:extLst>
            </p:cNvPr>
            <p:cNvSpPr/>
            <p:nvPr/>
          </p:nvSpPr>
          <p:spPr bwMode="auto">
            <a:xfrm>
              <a:off x="7565842" y="3025009"/>
              <a:ext cx="5621" cy="74476"/>
            </a:xfrm>
            <a:custGeom>
              <a:avLst/>
              <a:gdLst>
                <a:gd name="T0" fmla="*/ 3 w 3"/>
                <a:gd name="T1" fmla="*/ 0 h 47"/>
                <a:gd name="T2" fmla="*/ 3 w 3"/>
                <a:gd name="T3" fmla="*/ 0 h 47"/>
                <a:gd name="T4" fmla="*/ 0 w 3"/>
                <a:gd name="T5" fmla="*/ 47 h 47"/>
                <a:gd name="T6" fmla="*/ 3 w 3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7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16"/>
                    <a:pt x="2" y="31"/>
                    <a:pt x="0" y="47"/>
                  </a:cubicBezTo>
                  <a:cubicBezTo>
                    <a:pt x="2" y="31"/>
                    <a:pt x="3" y="16"/>
                    <a:pt x="3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3" name="išlïḑé">
              <a:extLst>
                <a:ext uri="{FF2B5EF4-FFF2-40B4-BE49-F238E27FC236}">
                  <a16:creationId xmlns:a16="http://schemas.microsoft.com/office/drawing/2014/main" id="{35C4AD3F-9E7E-469A-90E2-357CBB8D1FD0}"/>
                </a:ext>
              </a:extLst>
            </p:cNvPr>
            <p:cNvSpPr/>
            <p:nvPr/>
          </p:nvSpPr>
          <p:spPr bwMode="auto">
            <a:xfrm>
              <a:off x="6385472" y="3099485"/>
              <a:ext cx="32320" cy="129279"/>
            </a:xfrm>
            <a:custGeom>
              <a:avLst/>
              <a:gdLst>
                <a:gd name="T0" fmla="*/ 2 w 21"/>
                <a:gd name="T1" fmla="*/ 0 h 82"/>
                <a:gd name="T2" fmla="*/ 2 w 21"/>
                <a:gd name="T3" fmla="*/ 1 h 82"/>
                <a:gd name="T4" fmla="*/ 4 w 21"/>
                <a:gd name="T5" fmla="*/ 41 h 82"/>
                <a:gd name="T6" fmla="*/ 21 w 21"/>
                <a:gd name="T7" fmla="*/ 82 h 82"/>
                <a:gd name="T8" fmla="*/ 21 w 21"/>
                <a:gd name="T9" fmla="*/ 82 h 82"/>
                <a:gd name="T10" fmla="*/ 4 w 21"/>
                <a:gd name="T11" fmla="*/ 41 h 82"/>
                <a:gd name="T12" fmla="*/ 2 w 21"/>
                <a:gd name="T13" fmla="*/ 1 h 82"/>
                <a:gd name="T14" fmla="*/ 2 w 21"/>
                <a:gd name="T15" fmla="*/ 0 h 82"/>
                <a:gd name="T16" fmla="*/ 2 w 21"/>
                <a:gd name="T1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82">
                  <a:moveTo>
                    <a:pt x="2" y="0"/>
                  </a:moveTo>
                  <a:cubicBezTo>
                    <a:pt x="2" y="0"/>
                    <a:pt x="2" y="1"/>
                    <a:pt x="2" y="1"/>
                  </a:cubicBezTo>
                  <a:cubicBezTo>
                    <a:pt x="0" y="14"/>
                    <a:pt x="1" y="28"/>
                    <a:pt x="4" y="41"/>
                  </a:cubicBezTo>
                  <a:cubicBezTo>
                    <a:pt x="8" y="56"/>
                    <a:pt x="13" y="69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13" y="69"/>
                    <a:pt x="8" y="56"/>
                    <a:pt x="4" y="41"/>
                  </a:cubicBezTo>
                  <a:cubicBezTo>
                    <a:pt x="1" y="28"/>
                    <a:pt x="0" y="15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îṥ1íḓe">
              <a:extLst>
                <a:ext uri="{FF2B5EF4-FFF2-40B4-BE49-F238E27FC236}">
                  <a16:creationId xmlns:a16="http://schemas.microsoft.com/office/drawing/2014/main" id="{249D525A-D38E-45EA-8E7C-653061497EBA}"/>
                </a:ext>
              </a:extLst>
            </p:cNvPr>
            <p:cNvSpPr/>
            <p:nvPr/>
          </p:nvSpPr>
          <p:spPr bwMode="auto">
            <a:xfrm>
              <a:off x="6417791" y="3228763"/>
              <a:ext cx="11242" cy="18268"/>
            </a:xfrm>
            <a:custGeom>
              <a:avLst/>
              <a:gdLst>
                <a:gd name="T0" fmla="*/ 0 w 7"/>
                <a:gd name="T1" fmla="*/ 0 h 12"/>
                <a:gd name="T2" fmla="*/ 0 w 7"/>
                <a:gd name="T3" fmla="*/ 0 h 12"/>
                <a:gd name="T4" fmla="*/ 7 w 7"/>
                <a:gd name="T5" fmla="*/ 12 h 12"/>
                <a:gd name="T6" fmla="*/ 0 w 7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4"/>
                    <a:pt x="5" y="8"/>
                    <a:pt x="7" y="12"/>
                  </a:cubicBezTo>
                  <a:cubicBezTo>
                    <a:pt x="5" y="8"/>
                    <a:pt x="2" y="4"/>
                    <a:pt x="0" y="0"/>
                  </a:cubicBezTo>
                </a:path>
              </a:pathLst>
            </a:custGeom>
            <a:solidFill>
              <a:srgbClr val="C3C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ïšḻíḓê">
              <a:extLst>
                <a:ext uri="{FF2B5EF4-FFF2-40B4-BE49-F238E27FC236}">
                  <a16:creationId xmlns:a16="http://schemas.microsoft.com/office/drawing/2014/main" id="{14F689AA-BC0B-4F3C-AAB0-B9CE007A5F8E}"/>
                </a:ext>
              </a:extLst>
            </p:cNvPr>
            <p:cNvSpPr/>
            <p:nvPr/>
          </p:nvSpPr>
          <p:spPr bwMode="auto">
            <a:xfrm>
              <a:off x="6385472" y="3006741"/>
              <a:ext cx="1185991" cy="348490"/>
            </a:xfrm>
            <a:custGeom>
              <a:avLst/>
              <a:gdLst>
                <a:gd name="T0" fmla="*/ 753 w 753"/>
                <a:gd name="T1" fmla="*/ 0 h 222"/>
                <a:gd name="T2" fmla="*/ 735 w 753"/>
                <a:gd name="T3" fmla="*/ 99 h 222"/>
                <a:gd name="T4" fmla="*/ 724 w 753"/>
                <a:gd name="T5" fmla="*/ 114 h 222"/>
                <a:gd name="T6" fmla="*/ 721 w 753"/>
                <a:gd name="T7" fmla="*/ 114 h 222"/>
                <a:gd name="T8" fmla="*/ 711 w 753"/>
                <a:gd name="T9" fmla="*/ 112 h 222"/>
                <a:gd name="T10" fmla="*/ 687 w 753"/>
                <a:gd name="T11" fmla="*/ 108 h 222"/>
                <a:gd name="T12" fmla="*/ 626 w 753"/>
                <a:gd name="T13" fmla="*/ 120 h 222"/>
                <a:gd name="T14" fmla="*/ 548 w 753"/>
                <a:gd name="T15" fmla="*/ 132 h 222"/>
                <a:gd name="T16" fmla="*/ 475 w 753"/>
                <a:gd name="T17" fmla="*/ 113 h 222"/>
                <a:gd name="T18" fmla="*/ 388 w 753"/>
                <a:gd name="T19" fmla="*/ 45 h 222"/>
                <a:gd name="T20" fmla="*/ 356 w 753"/>
                <a:gd name="T21" fmla="*/ 39 h 222"/>
                <a:gd name="T22" fmla="*/ 203 w 753"/>
                <a:gd name="T23" fmla="*/ 170 h 222"/>
                <a:gd name="T24" fmla="*/ 187 w 753"/>
                <a:gd name="T25" fmla="*/ 186 h 222"/>
                <a:gd name="T26" fmla="*/ 160 w 753"/>
                <a:gd name="T27" fmla="*/ 193 h 222"/>
                <a:gd name="T28" fmla="*/ 156 w 753"/>
                <a:gd name="T29" fmla="*/ 192 h 222"/>
                <a:gd name="T30" fmla="*/ 4 w 753"/>
                <a:gd name="T31" fmla="*/ 71 h 222"/>
                <a:gd name="T32" fmla="*/ 2 w 753"/>
                <a:gd name="T33" fmla="*/ 59 h 222"/>
                <a:gd name="T34" fmla="*/ 2 w 753"/>
                <a:gd name="T35" fmla="*/ 60 h 222"/>
                <a:gd name="T36" fmla="*/ 4 w 753"/>
                <a:gd name="T37" fmla="*/ 100 h 222"/>
                <a:gd name="T38" fmla="*/ 21 w 753"/>
                <a:gd name="T39" fmla="*/ 141 h 222"/>
                <a:gd name="T40" fmla="*/ 28 w 753"/>
                <a:gd name="T41" fmla="*/ 153 h 222"/>
                <a:gd name="T42" fmla="*/ 156 w 753"/>
                <a:gd name="T43" fmla="*/ 222 h 222"/>
                <a:gd name="T44" fmla="*/ 160 w 753"/>
                <a:gd name="T45" fmla="*/ 222 h 222"/>
                <a:gd name="T46" fmla="*/ 187 w 753"/>
                <a:gd name="T47" fmla="*/ 215 h 222"/>
                <a:gd name="T48" fmla="*/ 203 w 753"/>
                <a:gd name="T49" fmla="*/ 200 h 222"/>
                <a:gd name="T50" fmla="*/ 356 w 753"/>
                <a:gd name="T51" fmla="*/ 68 h 222"/>
                <a:gd name="T52" fmla="*/ 388 w 753"/>
                <a:gd name="T53" fmla="*/ 74 h 222"/>
                <a:gd name="T54" fmla="*/ 475 w 753"/>
                <a:gd name="T55" fmla="*/ 143 h 222"/>
                <a:gd name="T56" fmla="*/ 548 w 753"/>
                <a:gd name="T57" fmla="*/ 162 h 222"/>
                <a:gd name="T58" fmla="*/ 626 w 753"/>
                <a:gd name="T59" fmla="*/ 150 h 222"/>
                <a:gd name="T60" fmla="*/ 687 w 753"/>
                <a:gd name="T61" fmla="*/ 138 h 222"/>
                <a:gd name="T62" fmla="*/ 711 w 753"/>
                <a:gd name="T63" fmla="*/ 141 h 222"/>
                <a:gd name="T64" fmla="*/ 721 w 753"/>
                <a:gd name="T65" fmla="*/ 143 h 222"/>
                <a:gd name="T66" fmla="*/ 724 w 753"/>
                <a:gd name="T67" fmla="*/ 143 h 222"/>
                <a:gd name="T68" fmla="*/ 735 w 753"/>
                <a:gd name="T69" fmla="*/ 129 h 222"/>
                <a:gd name="T70" fmla="*/ 750 w 753"/>
                <a:gd name="T71" fmla="*/ 59 h 222"/>
                <a:gd name="T72" fmla="*/ 753 w 753"/>
                <a:gd name="T73" fmla="*/ 12 h 222"/>
                <a:gd name="T74" fmla="*/ 753 w 753"/>
                <a:gd name="T75" fmla="*/ 2 h 222"/>
                <a:gd name="T76" fmla="*/ 753 w 753"/>
                <a:gd name="T77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3" h="222">
                  <a:moveTo>
                    <a:pt x="753" y="0"/>
                  </a:moveTo>
                  <a:cubicBezTo>
                    <a:pt x="752" y="33"/>
                    <a:pt x="746" y="67"/>
                    <a:pt x="735" y="99"/>
                  </a:cubicBezTo>
                  <a:cubicBezTo>
                    <a:pt x="733" y="105"/>
                    <a:pt x="730" y="112"/>
                    <a:pt x="724" y="114"/>
                  </a:cubicBezTo>
                  <a:cubicBezTo>
                    <a:pt x="723" y="114"/>
                    <a:pt x="722" y="114"/>
                    <a:pt x="721" y="114"/>
                  </a:cubicBezTo>
                  <a:cubicBezTo>
                    <a:pt x="717" y="114"/>
                    <a:pt x="714" y="113"/>
                    <a:pt x="711" y="112"/>
                  </a:cubicBezTo>
                  <a:cubicBezTo>
                    <a:pt x="703" y="109"/>
                    <a:pt x="695" y="108"/>
                    <a:pt x="687" y="108"/>
                  </a:cubicBezTo>
                  <a:cubicBezTo>
                    <a:pt x="667" y="108"/>
                    <a:pt x="646" y="115"/>
                    <a:pt x="626" y="120"/>
                  </a:cubicBezTo>
                  <a:cubicBezTo>
                    <a:pt x="601" y="127"/>
                    <a:pt x="574" y="132"/>
                    <a:pt x="548" y="132"/>
                  </a:cubicBezTo>
                  <a:cubicBezTo>
                    <a:pt x="522" y="132"/>
                    <a:pt x="496" y="127"/>
                    <a:pt x="475" y="113"/>
                  </a:cubicBezTo>
                  <a:cubicBezTo>
                    <a:pt x="443" y="93"/>
                    <a:pt x="423" y="57"/>
                    <a:pt x="388" y="45"/>
                  </a:cubicBezTo>
                  <a:cubicBezTo>
                    <a:pt x="377" y="41"/>
                    <a:pt x="366" y="39"/>
                    <a:pt x="356" y="39"/>
                  </a:cubicBezTo>
                  <a:cubicBezTo>
                    <a:pt x="288" y="39"/>
                    <a:pt x="243" y="123"/>
                    <a:pt x="203" y="170"/>
                  </a:cubicBezTo>
                  <a:cubicBezTo>
                    <a:pt x="199" y="177"/>
                    <a:pt x="193" y="182"/>
                    <a:pt x="187" y="186"/>
                  </a:cubicBezTo>
                  <a:cubicBezTo>
                    <a:pt x="179" y="190"/>
                    <a:pt x="170" y="193"/>
                    <a:pt x="160" y="193"/>
                  </a:cubicBezTo>
                  <a:cubicBezTo>
                    <a:pt x="159" y="193"/>
                    <a:pt x="158" y="193"/>
                    <a:pt x="156" y="192"/>
                  </a:cubicBezTo>
                  <a:cubicBezTo>
                    <a:pt x="86" y="191"/>
                    <a:pt x="21" y="139"/>
                    <a:pt x="4" y="71"/>
                  </a:cubicBezTo>
                  <a:cubicBezTo>
                    <a:pt x="3" y="67"/>
                    <a:pt x="2" y="63"/>
                    <a:pt x="2" y="59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0" y="74"/>
                    <a:pt x="1" y="87"/>
                    <a:pt x="4" y="100"/>
                  </a:cubicBezTo>
                  <a:cubicBezTo>
                    <a:pt x="8" y="115"/>
                    <a:pt x="13" y="128"/>
                    <a:pt x="21" y="141"/>
                  </a:cubicBezTo>
                  <a:cubicBezTo>
                    <a:pt x="23" y="145"/>
                    <a:pt x="26" y="149"/>
                    <a:pt x="28" y="153"/>
                  </a:cubicBezTo>
                  <a:cubicBezTo>
                    <a:pt x="58" y="193"/>
                    <a:pt x="106" y="221"/>
                    <a:pt x="156" y="222"/>
                  </a:cubicBezTo>
                  <a:cubicBezTo>
                    <a:pt x="158" y="222"/>
                    <a:pt x="159" y="222"/>
                    <a:pt x="160" y="222"/>
                  </a:cubicBezTo>
                  <a:cubicBezTo>
                    <a:pt x="170" y="222"/>
                    <a:pt x="179" y="220"/>
                    <a:pt x="187" y="215"/>
                  </a:cubicBezTo>
                  <a:cubicBezTo>
                    <a:pt x="193" y="211"/>
                    <a:pt x="199" y="206"/>
                    <a:pt x="203" y="200"/>
                  </a:cubicBezTo>
                  <a:cubicBezTo>
                    <a:pt x="243" y="153"/>
                    <a:pt x="288" y="68"/>
                    <a:pt x="356" y="68"/>
                  </a:cubicBezTo>
                  <a:cubicBezTo>
                    <a:pt x="367" y="68"/>
                    <a:pt x="377" y="70"/>
                    <a:pt x="388" y="74"/>
                  </a:cubicBezTo>
                  <a:cubicBezTo>
                    <a:pt x="423" y="87"/>
                    <a:pt x="443" y="123"/>
                    <a:pt x="475" y="143"/>
                  </a:cubicBezTo>
                  <a:cubicBezTo>
                    <a:pt x="497" y="157"/>
                    <a:pt x="522" y="162"/>
                    <a:pt x="548" y="162"/>
                  </a:cubicBezTo>
                  <a:cubicBezTo>
                    <a:pt x="574" y="162"/>
                    <a:pt x="601" y="156"/>
                    <a:pt x="626" y="150"/>
                  </a:cubicBezTo>
                  <a:cubicBezTo>
                    <a:pt x="646" y="144"/>
                    <a:pt x="667" y="138"/>
                    <a:pt x="687" y="138"/>
                  </a:cubicBezTo>
                  <a:cubicBezTo>
                    <a:pt x="695" y="138"/>
                    <a:pt x="703" y="139"/>
                    <a:pt x="711" y="141"/>
                  </a:cubicBezTo>
                  <a:cubicBezTo>
                    <a:pt x="714" y="142"/>
                    <a:pt x="717" y="143"/>
                    <a:pt x="721" y="143"/>
                  </a:cubicBezTo>
                  <a:cubicBezTo>
                    <a:pt x="722" y="143"/>
                    <a:pt x="723" y="143"/>
                    <a:pt x="724" y="143"/>
                  </a:cubicBezTo>
                  <a:cubicBezTo>
                    <a:pt x="730" y="141"/>
                    <a:pt x="733" y="135"/>
                    <a:pt x="735" y="129"/>
                  </a:cubicBezTo>
                  <a:cubicBezTo>
                    <a:pt x="742" y="106"/>
                    <a:pt x="748" y="82"/>
                    <a:pt x="750" y="59"/>
                  </a:cubicBezTo>
                  <a:cubicBezTo>
                    <a:pt x="752" y="43"/>
                    <a:pt x="753" y="28"/>
                    <a:pt x="753" y="12"/>
                  </a:cubicBezTo>
                  <a:cubicBezTo>
                    <a:pt x="753" y="8"/>
                    <a:pt x="753" y="5"/>
                    <a:pt x="753" y="2"/>
                  </a:cubicBezTo>
                  <a:cubicBezTo>
                    <a:pt x="753" y="1"/>
                    <a:pt x="753" y="0"/>
                    <a:pt x="753" y="0"/>
                  </a:cubicBezTo>
                </a:path>
              </a:pathLst>
            </a:custGeom>
            <a:solidFill>
              <a:srgbClr val="3D3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27060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5DF11E-3EC8-4B51-AC4F-47FA15FE5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970AAF9-187A-4EDD-9799-85E924F4677E}"/>
              </a:ext>
            </a:extLst>
          </p:cNvPr>
          <p:cNvSpPr>
            <a:spLocks/>
          </p:cNvSpPr>
          <p:nvPr/>
        </p:nvSpPr>
        <p:spPr>
          <a:xfrm>
            <a:off x="669924" y="-693210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4"/>
                </a:solidFill>
                <a:latin typeface="Bahnschrift SemiCondensed" panose="020B0502040204020203" pitchFamily="34" charset="0"/>
              </a:rPr>
              <a:t>Mod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A6A5D0A-AC0A-44F5-AB7F-7014C3F74805}"/>
              </a:ext>
            </a:extLst>
          </p:cNvPr>
          <p:cNvSpPr>
            <a:spLocks/>
          </p:cNvSpPr>
          <p:nvPr/>
        </p:nvSpPr>
        <p:spPr>
          <a:xfrm>
            <a:off x="669924" y="393032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5"/>
                </a:solidFill>
                <a:latin typeface="Bahnschrift SemiCondensed" panose="020B0502040204020203" pitchFamily="34" charset="0"/>
              </a:rPr>
              <a:t>incomplete data</a:t>
            </a:r>
          </a:p>
        </p:txBody>
      </p:sp>
      <p:grpSp>
        <p:nvGrpSpPr>
          <p:cNvPr id="7" name="îSľíḍé">
            <a:extLst>
              <a:ext uri="{FF2B5EF4-FFF2-40B4-BE49-F238E27FC236}">
                <a16:creationId xmlns:a16="http://schemas.microsoft.com/office/drawing/2014/main" id="{E0417433-C4B6-4F04-BE44-27D8CD64F538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8" name="ïṧlîḓe">
              <a:extLst>
                <a:ext uri="{FF2B5EF4-FFF2-40B4-BE49-F238E27FC236}">
                  <a16:creationId xmlns:a16="http://schemas.microsoft.com/office/drawing/2014/main" id="{1C547C6D-CA5A-41A4-A440-CE6B2639D812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9" name="iṡliḓè">
              <a:extLst>
                <a:ext uri="{FF2B5EF4-FFF2-40B4-BE49-F238E27FC236}">
                  <a16:creationId xmlns:a16="http://schemas.microsoft.com/office/drawing/2014/main" id="{8F349823-8D0E-4ED9-91E0-E2D007873E5F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10" name="íšḻíḋè">
                <a:extLst>
                  <a:ext uri="{FF2B5EF4-FFF2-40B4-BE49-F238E27FC236}">
                    <a16:creationId xmlns:a16="http://schemas.microsoft.com/office/drawing/2014/main" id="{0A5D17E4-9842-4546-B231-C412343CF7FD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11" name="îS1iḓé">
                <a:extLst>
                  <a:ext uri="{FF2B5EF4-FFF2-40B4-BE49-F238E27FC236}">
                    <a16:creationId xmlns:a16="http://schemas.microsoft.com/office/drawing/2014/main" id="{95D65329-2F22-4884-A64D-6717AD191E99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E12CEA56-FFFB-41F5-891F-5416146C2D16}"/>
              </a:ext>
            </a:extLst>
          </p:cNvPr>
          <p:cNvGrpSpPr/>
          <p:nvPr/>
        </p:nvGrpSpPr>
        <p:grpSpPr>
          <a:xfrm>
            <a:off x="913387" y="1437861"/>
            <a:ext cx="4121426" cy="4439478"/>
            <a:chOff x="913387" y="1437861"/>
            <a:chExt cx="4121426" cy="4439478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24F0BD67-4188-45BA-BF26-A5817B68C305}"/>
                </a:ext>
              </a:extLst>
            </p:cNvPr>
            <p:cNvSpPr/>
            <p:nvPr/>
          </p:nvSpPr>
          <p:spPr>
            <a:xfrm>
              <a:off x="913387" y="1437861"/>
              <a:ext cx="4121426" cy="4439478"/>
            </a:xfrm>
            <a:prstGeom prst="roundRect">
              <a:avLst>
                <a:gd name="adj" fmla="val 10236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3eb5d789-58cd-4f85-9d8b-5d393670b18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395457A0-A19F-4933-AA4E-BF48B3878896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1248319" y="3429000"/>
              <a:ext cx="3451563" cy="2124469"/>
              <a:chOff x="3320298" y="1720530"/>
              <a:chExt cx="5551404" cy="3416940"/>
            </a:xfrm>
          </p:grpSpPr>
          <p:sp>
            <p:nvSpPr>
              <p:cNvPr id="16" name="ïŝliḋê">
                <a:extLst>
                  <a:ext uri="{FF2B5EF4-FFF2-40B4-BE49-F238E27FC236}">
                    <a16:creationId xmlns:a16="http://schemas.microsoft.com/office/drawing/2014/main" id="{2BECF876-FF3A-4BA5-B5D8-F680120D1884}"/>
                  </a:ext>
                </a:extLst>
              </p:cNvPr>
              <p:cNvSpPr/>
              <p:nvPr/>
            </p:nvSpPr>
            <p:spPr bwMode="auto">
              <a:xfrm>
                <a:off x="6329177" y="2346073"/>
                <a:ext cx="2542525" cy="2791397"/>
              </a:xfrm>
              <a:custGeom>
                <a:avLst/>
                <a:gdLst>
                  <a:gd name="T0" fmla="*/ 1134 w 1134"/>
                  <a:gd name="T1" fmla="*/ 0 h 1245"/>
                  <a:gd name="T2" fmla="*/ 1134 w 1134"/>
                  <a:gd name="T3" fmla="*/ 1018 h 1245"/>
                  <a:gd name="T4" fmla="*/ 0 w 1134"/>
                  <a:gd name="T5" fmla="*/ 1245 h 1245"/>
                  <a:gd name="T6" fmla="*/ 0 w 1134"/>
                  <a:gd name="T7" fmla="*/ 158 h 1245"/>
                  <a:gd name="T8" fmla="*/ 1134 w 1134"/>
                  <a:gd name="T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4" h="1245">
                    <a:moveTo>
                      <a:pt x="1134" y="0"/>
                    </a:moveTo>
                    <a:lnTo>
                      <a:pt x="1134" y="1018"/>
                    </a:lnTo>
                    <a:lnTo>
                      <a:pt x="0" y="1245"/>
                    </a:lnTo>
                    <a:lnTo>
                      <a:pt x="0" y="158"/>
                    </a:lnTo>
                    <a:lnTo>
                      <a:pt x="1134" y="0"/>
                    </a:lnTo>
                    <a:close/>
                  </a:path>
                </a:pathLst>
              </a:custGeom>
              <a:solidFill>
                <a:srgbClr val="FFD9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îŝļîḓe">
                <a:extLst>
                  <a:ext uri="{FF2B5EF4-FFF2-40B4-BE49-F238E27FC236}">
                    <a16:creationId xmlns:a16="http://schemas.microsoft.com/office/drawing/2014/main" id="{2F2301BF-2D33-4489-B5DB-4A64ADC9CE2F}"/>
                  </a:ext>
                </a:extLst>
              </p:cNvPr>
              <p:cNvSpPr/>
              <p:nvPr/>
            </p:nvSpPr>
            <p:spPr bwMode="auto">
              <a:xfrm>
                <a:off x="4584834" y="1839361"/>
                <a:ext cx="4286868" cy="860961"/>
              </a:xfrm>
              <a:custGeom>
                <a:avLst/>
                <a:gdLst>
                  <a:gd name="T0" fmla="*/ 973 w 973"/>
                  <a:gd name="T1" fmla="*/ 115 h 196"/>
                  <a:gd name="T2" fmla="*/ 534 w 973"/>
                  <a:gd name="T3" fmla="*/ 0 h 196"/>
                  <a:gd name="T4" fmla="*/ 0 w 973"/>
                  <a:gd name="T5" fmla="*/ 85 h 196"/>
                  <a:gd name="T6" fmla="*/ 396 w 973"/>
                  <a:gd name="T7" fmla="*/ 196 h 196"/>
                  <a:gd name="T8" fmla="*/ 973 w 973"/>
                  <a:gd name="T9" fmla="*/ 115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196">
                    <a:moveTo>
                      <a:pt x="973" y="115"/>
                    </a:moveTo>
                    <a:cubicBezTo>
                      <a:pt x="969" y="112"/>
                      <a:pt x="534" y="0"/>
                      <a:pt x="534" y="0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396" y="196"/>
                      <a:pt x="396" y="196"/>
                      <a:pt x="396" y="196"/>
                    </a:cubicBezTo>
                    <a:cubicBezTo>
                      <a:pt x="973" y="115"/>
                      <a:pt x="973" y="115"/>
                      <a:pt x="973" y="115"/>
                    </a:cubicBezTo>
                  </a:path>
                </a:pathLst>
              </a:custGeom>
              <a:solidFill>
                <a:srgbClr val="567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šḻiḍê">
                <a:extLst>
                  <a:ext uri="{FF2B5EF4-FFF2-40B4-BE49-F238E27FC236}">
                    <a16:creationId xmlns:a16="http://schemas.microsoft.com/office/drawing/2014/main" id="{D858BB79-1EA9-440E-B245-C2CDBEB7E2A0}"/>
                  </a:ext>
                </a:extLst>
              </p:cNvPr>
              <p:cNvSpPr/>
              <p:nvPr/>
            </p:nvSpPr>
            <p:spPr bwMode="auto">
              <a:xfrm>
                <a:off x="4672276" y="2213789"/>
                <a:ext cx="1656902" cy="2923680"/>
              </a:xfrm>
              <a:custGeom>
                <a:avLst/>
                <a:gdLst>
                  <a:gd name="T0" fmla="*/ 739 w 739"/>
                  <a:gd name="T1" fmla="*/ 1304 h 1304"/>
                  <a:gd name="T2" fmla="*/ 0 w 739"/>
                  <a:gd name="T3" fmla="*/ 988 h 1304"/>
                  <a:gd name="T4" fmla="*/ 0 w 739"/>
                  <a:gd name="T5" fmla="*/ 0 h 1304"/>
                  <a:gd name="T6" fmla="*/ 739 w 739"/>
                  <a:gd name="T7" fmla="*/ 217 h 1304"/>
                  <a:gd name="T8" fmla="*/ 739 w 739"/>
                  <a:gd name="T9" fmla="*/ 1304 h 1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9" h="1304">
                    <a:moveTo>
                      <a:pt x="739" y="1304"/>
                    </a:moveTo>
                    <a:lnTo>
                      <a:pt x="0" y="988"/>
                    </a:lnTo>
                    <a:lnTo>
                      <a:pt x="0" y="0"/>
                    </a:lnTo>
                    <a:lnTo>
                      <a:pt x="739" y="217"/>
                    </a:lnTo>
                    <a:lnTo>
                      <a:pt x="739" y="1304"/>
                    </a:lnTo>
                    <a:close/>
                  </a:path>
                </a:pathLst>
              </a:custGeom>
              <a:solidFill>
                <a:srgbClr val="D3A8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íṩ1íḋê">
                <a:extLst>
                  <a:ext uri="{FF2B5EF4-FFF2-40B4-BE49-F238E27FC236}">
                    <a16:creationId xmlns:a16="http://schemas.microsoft.com/office/drawing/2014/main" id="{3F8D315E-F7AD-4D30-BAEC-D632F34B3961}"/>
                  </a:ext>
                </a:extLst>
              </p:cNvPr>
              <p:cNvSpPr/>
              <p:nvPr/>
            </p:nvSpPr>
            <p:spPr bwMode="auto">
              <a:xfrm>
                <a:off x="4672276" y="2213789"/>
                <a:ext cx="1656902" cy="2923680"/>
              </a:xfrm>
              <a:custGeom>
                <a:avLst/>
                <a:gdLst>
                  <a:gd name="T0" fmla="*/ 739 w 739"/>
                  <a:gd name="T1" fmla="*/ 1304 h 1304"/>
                  <a:gd name="T2" fmla="*/ 0 w 739"/>
                  <a:gd name="T3" fmla="*/ 988 h 1304"/>
                  <a:gd name="T4" fmla="*/ 0 w 739"/>
                  <a:gd name="T5" fmla="*/ 0 h 1304"/>
                  <a:gd name="T6" fmla="*/ 739 w 739"/>
                  <a:gd name="T7" fmla="*/ 217 h 1304"/>
                  <a:gd name="T8" fmla="*/ 739 w 739"/>
                  <a:gd name="T9" fmla="*/ 1304 h 1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9" h="1304">
                    <a:moveTo>
                      <a:pt x="739" y="1304"/>
                    </a:moveTo>
                    <a:lnTo>
                      <a:pt x="0" y="988"/>
                    </a:lnTo>
                    <a:lnTo>
                      <a:pt x="0" y="0"/>
                    </a:lnTo>
                    <a:lnTo>
                      <a:pt x="739" y="217"/>
                    </a:lnTo>
                    <a:lnTo>
                      <a:pt x="739" y="130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ṩ1ïḑê">
                <a:extLst>
                  <a:ext uri="{FF2B5EF4-FFF2-40B4-BE49-F238E27FC236}">
                    <a16:creationId xmlns:a16="http://schemas.microsoft.com/office/drawing/2014/main" id="{A7CD6280-CA24-4731-A636-27CA7406117B}"/>
                  </a:ext>
                </a:extLst>
              </p:cNvPr>
              <p:cNvSpPr/>
              <p:nvPr/>
            </p:nvSpPr>
            <p:spPr bwMode="auto">
              <a:xfrm>
                <a:off x="4584834" y="1839361"/>
                <a:ext cx="2351949" cy="860961"/>
              </a:xfrm>
              <a:custGeom>
                <a:avLst/>
                <a:gdLst>
                  <a:gd name="T0" fmla="*/ 1049 w 1049"/>
                  <a:gd name="T1" fmla="*/ 0 h 384"/>
                  <a:gd name="T2" fmla="*/ 1049 w 1049"/>
                  <a:gd name="T3" fmla="*/ 343 h 384"/>
                  <a:gd name="T4" fmla="*/ 778 w 1049"/>
                  <a:gd name="T5" fmla="*/ 384 h 384"/>
                  <a:gd name="T6" fmla="*/ 0 w 1049"/>
                  <a:gd name="T7" fmla="*/ 167 h 384"/>
                  <a:gd name="T8" fmla="*/ 1049 w 1049"/>
                  <a:gd name="T9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9" h="384">
                    <a:moveTo>
                      <a:pt x="1049" y="0"/>
                    </a:moveTo>
                    <a:lnTo>
                      <a:pt x="1049" y="343"/>
                    </a:lnTo>
                    <a:lnTo>
                      <a:pt x="778" y="384"/>
                    </a:lnTo>
                    <a:lnTo>
                      <a:pt x="0" y="167"/>
                    </a:lnTo>
                    <a:lnTo>
                      <a:pt x="1049" y="0"/>
                    </a:lnTo>
                    <a:close/>
                  </a:path>
                </a:pathLst>
              </a:custGeom>
              <a:solidFill>
                <a:srgbClr val="2B4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ïsľîḑè">
                <a:extLst>
                  <a:ext uri="{FF2B5EF4-FFF2-40B4-BE49-F238E27FC236}">
                    <a16:creationId xmlns:a16="http://schemas.microsoft.com/office/drawing/2014/main" id="{09EF1844-E765-4EEE-8295-F9B380BCDEB2}"/>
                  </a:ext>
                </a:extLst>
              </p:cNvPr>
              <p:cNvSpPr/>
              <p:nvPr/>
            </p:nvSpPr>
            <p:spPr bwMode="auto">
              <a:xfrm>
                <a:off x="4584834" y="1839361"/>
                <a:ext cx="2351949" cy="860961"/>
              </a:xfrm>
              <a:custGeom>
                <a:avLst/>
                <a:gdLst>
                  <a:gd name="T0" fmla="*/ 1049 w 1049"/>
                  <a:gd name="T1" fmla="*/ 0 h 384"/>
                  <a:gd name="T2" fmla="*/ 1049 w 1049"/>
                  <a:gd name="T3" fmla="*/ 343 h 384"/>
                  <a:gd name="T4" fmla="*/ 778 w 1049"/>
                  <a:gd name="T5" fmla="*/ 384 h 384"/>
                  <a:gd name="T6" fmla="*/ 0 w 1049"/>
                  <a:gd name="T7" fmla="*/ 167 h 384"/>
                  <a:gd name="T8" fmla="*/ 1049 w 1049"/>
                  <a:gd name="T9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9" h="384">
                    <a:moveTo>
                      <a:pt x="1049" y="0"/>
                    </a:moveTo>
                    <a:lnTo>
                      <a:pt x="1049" y="343"/>
                    </a:lnTo>
                    <a:lnTo>
                      <a:pt x="778" y="384"/>
                    </a:lnTo>
                    <a:lnTo>
                      <a:pt x="0" y="167"/>
                    </a:lnTo>
                    <a:lnTo>
                      <a:pt x="104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ïṩļîḓe">
                <a:extLst>
                  <a:ext uri="{FF2B5EF4-FFF2-40B4-BE49-F238E27FC236}">
                    <a16:creationId xmlns:a16="http://schemas.microsoft.com/office/drawing/2014/main" id="{59BB32DE-3FC7-456A-B374-FCE1EA23E47B}"/>
                  </a:ext>
                </a:extLst>
              </p:cNvPr>
              <p:cNvSpPr/>
              <p:nvPr/>
            </p:nvSpPr>
            <p:spPr bwMode="auto">
              <a:xfrm>
                <a:off x="7465915" y="2494050"/>
                <a:ext cx="358734" cy="2414727"/>
              </a:xfrm>
              <a:custGeom>
                <a:avLst/>
                <a:gdLst>
                  <a:gd name="T0" fmla="*/ 0 w 160"/>
                  <a:gd name="T1" fmla="*/ 22 h 1077"/>
                  <a:gd name="T2" fmla="*/ 0 w 160"/>
                  <a:gd name="T3" fmla="*/ 1077 h 1077"/>
                  <a:gd name="T4" fmla="*/ 160 w 160"/>
                  <a:gd name="T5" fmla="*/ 1046 h 1077"/>
                  <a:gd name="T6" fmla="*/ 160 w 160"/>
                  <a:gd name="T7" fmla="*/ 0 h 1077"/>
                  <a:gd name="T8" fmla="*/ 0 w 160"/>
                  <a:gd name="T9" fmla="*/ 22 h 1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1077">
                    <a:moveTo>
                      <a:pt x="0" y="22"/>
                    </a:moveTo>
                    <a:lnTo>
                      <a:pt x="0" y="1077"/>
                    </a:lnTo>
                    <a:lnTo>
                      <a:pt x="160" y="1046"/>
                    </a:lnTo>
                    <a:lnTo>
                      <a:pt x="160" y="0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7DA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íṩḷïde">
                <a:extLst>
                  <a:ext uri="{FF2B5EF4-FFF2-40B4-BE49-F238E27FC236}">
                    <a16:creationId xmlns:a16="http://schemas.microsoft.com/office/drawing/2014/main" id="{59886B43-BD2F-4CCF-9F34-91C1ED3B75FE}"/>
                  </a:ext>
                </a:extLst>
              </p:cNvPr>
              <p:cNvSpPr/>
              <p:nvPr/>
            </p:nvSpPr>
            <p:spPr bwMode="auto">
              <a:xfrm>
                <a:off x="5320238" y="2346073"/>
                <a:ext cx="331829" cy="2502168"/>
              </a:xfrm>
              <a:custGeom>
                <a:avLst/>
                <a:gdLst>
                  <a:gd name="T0" fmla="*/ 0 w 148"/>
                  <a:gd name="T1" fmla="*/ 0 h 1116"/>
                  <a:gd name="T2" fmla="*/ 0 w 148"/>
                  <a:gd name="T3" fmla="*/ 1053 h 1116"/>
                  <a:gd name="T4" fmla="*/ 148 w 148"/>
                  <a:gd name="T5" fmla="*/ 1116 h 1116"/>
                  <a:gd name="T6" fmla="*/ 148 w 148"/>
                  <a:gd name="T7" fmla="*/ 70 h 1116"/>
                  <a:gd name="T8" fmla="*/ 0 w 148"/>
                  <a:gd name="T9" fmla="*/ 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1116">
                    <a:moveTo>
                      <a:pt x="0" y="0"/>
                    </a:moveTo>
                    <a:lnTo>
                      <a:pt x="0" y="1053"/>
                    </a:lnTo>
                    <a:lnTo>
                      <a:pt x="148" y="1116"/>
                    </a:lnTo>
                    <a:lnTo>
                      <a:pt x="14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363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íṩḷíḓe">
                <a:extLst>
                  <a:ext uri="{FF2B5EF4-FFF2-40B4-BE49-F238E27FC236}">
                    <a16:creationId xmlns:a16="http://schemas.microsoft.com/office/drawing/2014/main" id="{0D1A84BE-58AA-4E3B-A575-BF6E825C0E6E}"/>
                  </a:ext>
                </a:extLst>
              </p:cNvPr>
              <p:cNvSpPr/>
              <p:nvPr/>
            </p:nvSpPr>
            <p:spPr bwMode="auto">
              <a:xfrm>
                <a:off x="5320238" y="2346073"/>
                <a:ext cx="331829" cy="2502168"/>
              </a:xfrm>
              <a:custGeom>
                <a:avLst/>
                <a:gdLst>
                  <a:gd name="T0" fmla="*/ 0 w 148"/>
                  <a:gd name="T1" fmla="*/ 0 h 1116"/>
                  <a:gd name="T2" fmla="*/ 0 w 148"/>
                  <a:gd name="T3" fmla="*/ 1053 h 1116"/>
                  <a:gd name="T4" fmla="*/ 148 w 148"/>
                  <a:gd name="T5" fmla="*/ 1116 h 1116"/>
                  <a:gd name="T6" fmla="*/ 148 w 148"/>
                  <a:gd name="T7" fmla="*/ 70 h 1116"/>
                  <a:gd name="T8" fmla="*/ 0 w 148"/>
                  <a:gd name="T9" fmla="*/ 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1116">
                    <a:moveTo>
                      <a:pt x="0" y="0"/>
                    </a:moveTo>
                    <a:lnTo>
                      <a:pt x="0" y="1053"/>
                    </a:lnTo>
                    <a:lnTo>
                      <a:pt x="148" y="1116"/>
                    </a:lnTo>
                    <a:lnTo>
                      <a:pt x="148" y="7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ṩļíḑé">
                <a:extLst>
                  <a:ext uri="{FF2B5EF4-FFF2-40B4-BE49-F238E27FC236}">
                    <a16:creationId xmlns:a16="http://schemas.microsoft.com/office/drawing/2014/main" id="{11665A0D-DE40-459E-BE62-2FF56DC8FD50}"/>
                  </a:ext>
                </a:extLst>
              </p:cNvPr>
              <p:cNvSpPr/>
              <p:nvPr/>
            </p:nvSpPr>
            <p:spPr bwMode="auto">
              <a:xfrm>
                <a:off x="4461520" y="1994064"/>
                <a:ext cx="1569460" cy="3143404"/>
              </a:xfrm>
              <a:custGeom>
                <a:avLst/>
                <a:gdLst>
                  <a:gd name="T0" fmla="*/ 700 w 700"/>
                  <a:gd name="T1" fmla="*/ 90 h 1402"/>
                  <a:gd name="T2" fmla="*/ 536 w 700"/>
                  <a:gd name="T3" fmla="*/ 0 h 1402"/>
                  <a:gd name="T4" fmla="*/ 0 w 700"/>
                  <a:gd name="T5" fmla="*/ 1347 h 1402"/>
                  <a:gd name="T6" fmla="*/ 195 w 700"/>
                  <a:gd name="T7" fmla="*/ 1402 h 1402"/>
                  <a:gd name="T8" fmla="*/ 700 w 700"/>
                  <a:gd name="T9" fmla="*/ 90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0" h="1402">
                    <a:moveTo>
                      <a:pt x="700" y="90"/>
                    </a:moveTo>
                    <a:lnTo>
                      <a:pt x="536" y="0"/>
                    </a:lnTo>
                    <a:lnTo>
                      <a:pt x="0" y="1347"/>
                    </a:lnTo>
                    <a:lnTo>
                      <a:pt x="195" y="1402"/>
                    </a:lnTo>
                    <a:lnTo>
                      <a:pt x="700" y="90"/>
                    </a:lnTo>
                    <a:close/>
                  </a:path>
                </a:pathLst>
              </a:custGeom>
              <a:solidFill>
                <a:srgbClr val="EAC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îŝlïḑé">
                <a:extLst>
                  <a:ext uri="{FF2B5EF4-FFF2-40B4-BE49-F238E27FC236}">
                    <a16:creationId xmlns:a16="http://schemas.microsoft.com/office/drawing/2014/main" id="{E4948B36-832D-421C-A3B3-938A2E386311}"/>
                  </a:ext>
                </a:extLst>
              </p:cNvPr>
              <p:cNvSpPr/>
              <p:nvPr/>
            </p:nvSpPr>
            <p:spPr bwMode="auto">
              <a:xfrm>
                <a:off x="4461520" y="1994064"/>
                <a:ext cx="1569460" cy="3143404"/>
              </a:xfrm>
              <a:custGeom>
                <a:avLst/>
                <a:gdLst>
                  <a:gd name="T0" fmla="*/ 700 w 700"/>
                  <a:gd name="T1" fmla="*/ 90 h 1402"/>
                  <a:gd name="T2" fmla="*/ 536 w 700"/>
                  <a:gd name="T3" fmla="*/ 0 h 1402"/>
                  <a:gd name="T4" fmla="*/ 0 w 700"/>
                  <a:gd name="T5" fmla="*/ 1347 h 1402"/>
                  <a:gd name="T6" fmla="*/ 195 w 700"/>
                  <a:gd name="T7" fmla="*/ 1402 h 1402"/>
                  <a:gd name="T8" fmla="*/ 700 w 700"/>
                  <a:gd name="T9" fmla="*/ 90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0" h="1402">
                    <a:moveTo>
                      <a:pt x="700" y="90"/>
                    </a:moveTo>
                    <a:lnTo>
                      <a:pt x="536" y="0"/>
                    </a:lnTo>
                    <a:lnTo>
                      <a:pt x="0" y="1347"/>
                    </a:lnTo>
                    <a:lnTo>
                      <a:pt x="195" y="1402"/>
                    </a:lnTo>
                    <a:lnTo>
                      <a:pt x="700" y="9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îşlîḋê">
                <a:extLst>
                  <a:ext uri="{FF2B5EF4-FFF2-40B4-BE49-F238E27FC236}">
                    <a16:creationId xmlns:a16="http://schemas.microsoft.com/office/drawing/2014/main" id="{EFF96655-BCA1-445D-936B-EF6819B2DE77}"/>
                  </a:ext>
                </a:extLst>
              </p:cNvPr>
              <p:cNvSpPr/>
              <p:nvPr/>
            </p:nvSpPr>
            <p:spPr bwMode="auto">
              <a:xfrm>
                <a:off x="3320298" y="1720530"/>
                <a:ext cx="2342980" cy="3293625"/>
              </a:xfrm>
              <a:custGeom>
                <a:avLst/>
                <a:gdLst>
                  <a:gd name="T0" fmla="*/ 1045 w 1045"/>
                  <a:gd name="T1" fmla="*/ 122 h 1469"/>
                  <a:gd name="T2" fmla="*/ 450 w 1045"/>
                  <a:gd name="T3" fmla="*/ 0 h 1469"/>
                  <a:gd name="T4" fmla="*/ 0 w 1045"/>
                  <a:gd name="T5" fmla="*/ 1171 h 1469"/>
                  <a:gd name="T6" fmla="*/ 509 w 1045"/>
                  <a:gd name="T7" fmla="*/ 1469 h 1469"/>
                  <a:gd name="T8" fmla="*/ 1045 w 1045"/>
                  <a:gd name="T9" fmla="*/ 122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5" h="1469">
                    <a:moveTo>
                      <a:pt x="1045" y="122"/>
                    </a:moveTo>
                    <a:lnTo>
                      <a:pt x="450" y="0"/>
                    </a:lnTo>
                    <a:lnTo>
                      <a:pt x="0" y="1171"/>
                    </a:lnTo>
                    <a:lnTo>
                      <a:pt x="509" y="1469"/>
                    </a:lnTo>
                    <a:lnTo>
                      <a:pt x="1045" y="122"/>
                    </a:lnTo>
                    <a:close/>
                  </a:path>
                </a:pathLst>
              </a:custGeom>
              <a:solidFill>
                <a:srgbClr val="FFD9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íŝḷidé">
                <a:extLst>
                  <a:ext uri="{FF2B5EF4-FFF2-40B4-BE49-F238E27FC236}">
                    <a16:creationId xmlns:a16="http://schemas.microsoft.com/office/drawing/2014/main" id="{BD48E6FA-D30A-424F-8957-AA1324D59B49}"/>
                  </a:ext>
                </a:extLst>
              </p:cNvPr>
              <p:cNvSpPr/>
              <p:nvPr/>
            </p:nvSpPr>
            <p:spPr bwMode="auto">
              <a:xfrm>
                <a:off x="3320298" y="1720530"/>
                <a:ext cx="2342980" cy="3293625"/>
              </a:xfrm>
              <a:custGeom>
                <a:avLst/>
                <a:gdLst>
                  <a:gd name="T0" fmla="*/ 1045 w 1045"/>
                  <a:gd name="T1" fmla="*/ 122 h 1469"/>
                  <a:gd name="T2" fmla="*/ 450 w 1045"/>
                  <a:gd name="T3" fmla="*/ 0 h 1469"/>
                  <a:gd name="T4" fmla="*/ 0 w 1045"/>
                  <a:gd name="T5" fmla="*/ 1171 h 1469"/>
                  <a:gd name="T6" fmla="*/ 509 w 1045"/>
                  <a:gd name="T7" fmla="*/ 1469 h 1469"/>
                  <a:gd name="T8" fmla="*/ 1045 w 1045"/>
                  <a:gd name="T9" fmla="*/ 122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5" h="1469">
                    <a:moveTo>
                      <a:pt x="1045" y="122"/>
                    </a:moveTo>
                    <a:lnTo>
                      <a:pt x="450" y="0"/>
                    </a:lnTo>
                    <a:lnTo>
                      <a:pt x="0" y="1171"/>
                    </a:lnTo>
                    <a:lnTo>
                      <a:pt x="509" y="1469"/>
                    </a:lnTo>
                    <a:lnTo>
                      <a:pt x="1045" y="12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iṩľïḑe">
                <a:extLst>
                  <a:ext uri="{FF2B5EF4-FFF2-40B4-BE49-F238E27FC236}">
                    <a16:creationId xmlns:a16="http://schemas.microsoft.com/office/drawing/2014/main" id="{E8B39E86-529B-412E-857F-3133C918AFE7}"/>
                  </a:ext>
                </a:extLst>
              </p:cNvPr>
              <p:cNvSpPr/>
              <p:nvPr/>
            </p:nvSpPr>
            <p:spPr bwMode="auto">
              <a:xfrm>
                <a:off x="3753021" y="2881930"/>
                <a:ext cx="1782459" cy="993245"/>
              </a:xfrm>
              <a:custGeom>
                <a:avLst/>
                <a:gdLst>
                  <a:gd name="T0" fmla="*/ 0 w 795"/>
                  <a:gd name="T1" fmla="*/ 153 h 443"/>
                  <a:gd name="T2" fmla="*/ 727 w 795"/>
                  <a:gd name="T3" fmla="*/ 443 h 443"/>
                  <a:gd name="T4" fmla="*/ 795 w 795"/>
                  <a:gd name="T5" fmla="*/ 265 h 443"/>
                  <a:gd name="T6" fmla="*/ 58 w 795"/>
                  <a:gd name="T7" fmla="*/ 0 h 443"/>
                  <a:gd name="T8" fmla="*/ 0 w 795"/>
                  <a:gd name="T9" fmla="*/ 15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5" h="443">
                    <a:moveTo>
                      <a:pt x="0" y="153"/>
                    </a:moveTo>
                    <a:lnTo>
                      <a:pt x="727" y="443"/>
                    </a:lnTo>
                    <a:lnTo>
                      <a:pt x="795" y="265"/>
                    </a:lnTo>
                    <a:lnTo>
                      <a:pt x="58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7DA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iṥľiďe">
                <a:extLst>
                  <a:ext uri="{FF2B5EF4-FFF2-40B4-BE49-F238E27FC236}">
                    <a16:creationId xmlns:a16="http://schemas.microsoft.com/office/drawing/2014/main" id="{A59779F6-BCE3-42BC-A134-42C96B5D9F26}"/>
                  </a:ext>
                </a:extLst>
              </p:cNvPr>
              <p:cNvSpPr/>
              <p:nvPr/>
            </p:nvSpPr>
            <p:spPr bwMode="auto">
              <a:xfrm>
                <a:off x="3753021" y="2881930"/>
                <a:ext cx="1782459" cy="993245"/>
              </a:xfrm>
              <a:custGeom>
                <a:avLst/>
                <a:gdLst>
                  <a:gd name="T0" fmla="*/ 0 w 795"/>
                  <a:gd name="T1" fmla="*/ 153 h 443"/>
                  <a:gd name="T2" fmla="*/ 727 w 795"/>
                  <a:gd name="T3" fmla="*/ 443 h 443"/>
                  <a:gd name="T4" fmla="*/ 795 w 795"/>
                  <a:gd name="T5" fmla="*/ 265 h 443"/>
                  <a:gd name="T6" fmla="*/ 58 w 795"/>
                  <a:gd name="T7" fmla="*/ 0 h 443"/>
                  <a:gd name="T8" fmla="*/ 0 w 795"/>
                  <a:gd name="T9" fmla="*/ 15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5" h="443">
                    <a:moveTo>
                      <a:pt x="0" y="153"/>
                    </a:moveTo>
                    <a:lnTo>
                      <a:pt x="727" y="443"/>
                    </a:lnTo>
                    <a:lnTo>
                      <a:pt x="795" y="265"/>
                    </a:lnTo>
                    <a:lnTo>
                      <a:pt x="58" y="0"/>
                    </a:lnTo>
                    <a:lnTo>
                      <a:pt x="0" y="15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ïṥḻïďê">
                <a:extLst>
                  <a:ext uri="{FF2B5EF4-FFF2-40B4-BE49-F238E27FC236}">
                    <a16:creationId xmlns:a16="http://schemas.microsoft.com/office/drawing/2014/main" id="{EF83041B-1EC7-4B14-B9DF-168BFCEC03FE}"/>
                  </a:ext>
                </a:extLst>
              </p:cNvPr>
              <p:cNvSpPr/>
              <p:nvPr/>
            </p:nvSpPr>
            <p:spPr bwMode="auto">
              <a:xfrm>
                <a:off x="5131903" y="3330348"/>
                <a:ext cx="403575" cy="145736"/>
              </a:xfrm>
              <a:custGeom>
                <a:avLst/>
                <a:gdLst>
                  <a:gd name="T0" fmla="*/ 0 w 180"/>
                  <a:gd name="T1" fmla="*/ 0 h 65"/>
                  <a:gd name="T2" fmla="*/ 0 w 180"/>
                  <a:gd name="T3" fmla="*/ 0 h 65"/>
                  <a:gd name="T4" fmla="*/ 180 w 180"/>
                  <a:gd name="T5" fmla="*/ 65 h 65"/>
                  <a:gd name="T6" fmla="*/ 180 w 180"/>
                  <a:gd name="T7" fmla="*/ 65 h 65"/>
                  <a:gd name="T8" fmla="*/ 0 w 180"/>
                  <a:gd name="T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65">
                    <a:moveTo>
                      <a:pt x="0" y="0"/>
                    </a:moveTo>
                    <a:lnTo>
                      <a:pt x="0" y="0"/>
                    </a:lnTo>
                    <a:lnTo>
                      <a:pt x="180" y="65"/>
                    </a:lnTo>
                    <a:lnTo>
                      <a:pt x="180" y="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8E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ṥḻiḋe">
                <a:extLst>
                  <a:ext uri="{FF2B5EF4-FFF2-40B4-BE49-F238E27FC236}">
                    <a16:creationId xmlns:a16="http://schemas.microsoft.com/office/drawing/2014/main" id="{1A382521-6D6E-4149-AC6E-888BB8C1C017}"/>
                  </a:ext>
                </a:extLst>
              </p:cNvPr>
              <p:cNvSpPr/>
              <p:nvPr/>
            </p:nvSpPr>
            <p:spPr bwMode="auto">
              <a:xfrm>
                <a:off x="5131903" y="3330348"/>
                <a:ext cx="403575" cy="145736"/>
              </a:xfrm>
              <a:custGeom>
                <a:avLst/>
                <a:gdLst>
                  <a:gd name="T0" fmla="*/ 0 w 180"/>
                  <a:gd name="T1" fmla="*/ 0 h 65"/>
                  <a:gd name="T2" fmla="*/ 0 w 180"/>
                  <a:gd name="T3" fmla="*/ 0 h 65"/>
                  <a:gd name="T4" fmla="*/ 180 w 180"/>
                  <a:gd name="T5" fmla="*/ 65 h 65"/>
                  <a:gd name="T6" fmla="*/ 180 w 180"/>
                  <a:gd name="T7" fmla="*/ 65 h 65"/>
                  <a:gd name="T8" fmla="*/ 0 w 180"/>
                  <a:gd name="T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65">
                    <a:moveTo>
                      <a:pt x="0" y="0"/>
                    </a:moveTo>
                    <a:lnTo>
                      <a:pt x="0" y="0"/>
                    </a:lnTo>
                    <a:lnTo>
                      <a:pt x="180" y="65"/>
                    </a:lnTo>
                    <a:lnTo>
                      <a:pt x="180" y="6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ïşlïdê">
                <a:extLst>
                  <a:ext uri="{FF2B5EF4-FFF2-40B4-BE49-F238E27FC236}">
                    <a16:creationId xmlns:a16="http://schemas.microsoft.com/office/drawing/2014/main" id="{4A6644AF-C17D-4236-B9DC-6898CA03503B}"/>
                  </a:ext>
                </a:extLst>
              </p:cNvPr>
              <p:cNvSpPr/>
              <p:nvPr/>
            </p:nvSpPr>
            <p:spPr bwMode="auto">
              <a:xfrm>
                <a:off x="4981684" y="3713745"/>
                <a:ext cx="401334" cy="161430"/>
              </a:xfrm>
              <a:custGeom>
                <a:avLst/>
                <a:gdLst>
                  <a:gd name="T0" fmla="*/ 0 w 179"/>
                  <a:gd name="T1" fmla="*/ 0 h 72"/>
                  <a:gd name="T2" fmla="*/ 0 w 179"/>
                  <a:gd name="T3" fmla="*/ 0 h 72"/>
                  <a:gd name="T4" fmla="*/ 179 w 179"/>
                  <a:gd name="T5" fmla="*/ 72 h 72"/>
                  <a:gd name="T6" fmla="*/ 179 w 179"/>
                  <a:gd name="T7" fmla="*/ 72 h 72"/>
                  <a:gd name="T8" fmla="*/ 0 w 179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72">
                    <a:moveTo>
                      <a:pt x="0" y="0"/>
                    </a:moveTo>
                    <a:lnTo>
                      <a:pt x="0" y="0"/>
                    </a:lnTo>
                    <a:lnTo>
                      <a:pt x="179" y="72"/>
                    </a:lnTo>
                    <a:lnTo>
                      <a:pt x="179" y="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8E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ŝľïḍe">
                <a:extLst>
                  <a:ext uri="{FF2B5EF4-FFF2-40B4-BE49-F238E27FC236}">
                    <a16:creationId xmlns:a16="http://schemas.microsoft.com/office/drawing/2014/main" id="{288E1B9F-9143-4677-AF82-083B0F3D9A1C}"/>
                  </a:ext>
                </a:extLst>
              </p:cNvPr>
              <p:cNvSpPr/>
              <p:nvPr/>
            </p:nvSpPr>
            <p:spPr bwMode="auto">
              <a:xfrm>
                <a:off x="4981684" y="3713745"/>
                <a:ext cx="401334" cy="161430"/>
              </a:xfrm>
              <a:custGeom>
                <a:avLst/>
                <a:gdLst>
                  <a:gd name="T0" fmla="*/ 0 w 179"/>
                  <a:gd name="T1" fmla="*/ 0 h 72"/>
                  <a:gd name="T2" fmla="*/ 0 w 179"/>
                  <a:gd name="T3" fmla="*/ 0 h 72"/>
                  <a:gd name="T4" fmla="*/ 179 w 179"/>
                  <a:gd name="T5" fmla="*/ 72 h 72"/>
                  <a:gd name="T6" fmla="*/ 179 w 179"/>
                  <a:gd name="T7" fmla="*/ 72 h 72"/>
                  <a:gd name="T8" fmla="*/ 0 w 179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72">
                    <a:moveTo>
                      <a:pt x="0" y="0"/>
                    </a:moveTo>
                    <a:lnTo>
                      <a:pt x="0" y="0"/>
                    </a:lnTo>
                    <a:lnTo>
                      <a:pt x="179" y="72"/>
                    </a:lnTo>
                    <a:lnTo>
                      <a:pt x="179" y="7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íṧliḓe">
                <a:extLst>
                  <a:ext uri="{FF2B5EF4-FFF2-40B4-BE49-F238E27FC236}">
                    <a16:creationId xmlns:a16="http://schemas.microsoft.com/office/drawing/2014/main" id="{7203D1A1-A801-4BF8-8DA2-9886D6BABD9E}"/>
                  </a:ext>
                </a:extLst>
              </p:cNvPr>
              <p:cNvSpPr/>
              <p:nvPr/>
            </p:nvSpPr>
            <p:spPr bwMode="auto">
              <a:xfrm>
                <a:off x="4981684" y="3330348"/>
                <a:ext cx="553796" cy="544828"/>
              </a:xfrm>
              <a:custGeom>
                <a:avLst/>
                <a:gdLst>
                  <a:gd name="T0" fmla="*/ 67 w 247"/>
                  <a:gd name="T1" fmla="*/ 0 h 243"/>
                  <a:gd name="T2" fmla="*/ 0 w 247"/>
                  <a:gd name="T3" fmla="*/ 171 h 243"/>
                  <a:gd name="T4" fmla="*/ 179 w 247"/>
                  <a:gd name="T5" fmla="*/ 243 h 243"/>
                  <a:gd name="T6" fmla="*/ 247 w 247"/>
                  <a:gd name="T7" fmla="*/ 65 h 243"/>
                  <a:gd name="T8" fmla="*/ 67 w 247"/>
                  <a:gd name="T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3">
                    <a:moveTo>
                      <a:pt x="67" y="0"/>
                    </a:moveTo>
                    <a:lnTo>
                      <a:pt x="0" y="171"/>
                    </a:lnTo>
                    <a:lnTo>
                      <a:pt x="179" y="243"/>
                    </a:lnTo>
                    <a:lnTo>
                      <a:pt x="247" y="65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637F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ṩ1iḓé">
                <a:extLst>
                  <a:ext uri="{FF2B5EF4-FFF2-40B4-BE49-F238E27FC236}">
                    <a16:creationId xmlns:a16="http://schemas.microsoft.com/office/drawing/2014/main" id="{7EAD448D-0FD6-4951-A58F-183412F29745}"/>
                  </a:ext>
                </a:extLst>
              </p:cNvPr>
              <p:cNvSpPr/>
              <p:nvPr/>
            </p:nvSpPr>
            <p:spPr bwMode="auto">
              <a:xfrm>
                <a:off x="4981684" y="3330348"/>
                <a:ext cx="553796" cy="544828"/>
              </a:xfrm>
              <a:custGeom>
                <a:avLst/>
                <a:gdLst>
                  <a:gd name="T0" fmla="*/ 67 w 247"/>
                  <a:gd name="T1" fmla="*/ 0 h 243"/>
                  <a:gd name="T2" fmla="*/ 0 w 247"/>
                  <a:gd name="T3" fmla="*/ 171 h 243"/>
                  <a:gd name="T4" fmla="*/ 179 w 247"/>
                  <a:gd name="T5" fmla="*/ 243 h 243"/>
                  <a:gd name="T6" fmla="*/ 247 w 247"/>
                  <a:gd name="T7" fmla="*/ 65 h 243"/>
                  <a:gd name="T8" fmla="*/ 67 w 247"/>
                  <a:gd name="T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3">
                    <a:moveTo>
                      <a:pt x="67" y="0"/>
                    </a:moveTo>
                    <a:lnTo>
                      <a:pt x="0" y="171"/>
                    </a:lnTo>
                    <a:lnTo>
                      <a:pt x="179" y="243"/>
                    </a:lnTo>
                    <a:lnTo>
                      <a:pt x="247" y="65"/>
                    </a:lnTo>
                    <a:lnTo>
                      <a:pt x="6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iṩḷîḋé">
                <a:extLst>
                  <a:ext uri="{FF2B5EF4-FFF2-40B4-BE49-F238E27FC236}">
                    <a16:creationId xmlns:a16="http://schemas.microsoft.com/office/drawing/2014/main" id="{1696B948-7071-490F-866F-A196C519F331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0 w 72"/>
                  <a:gd name="T1" fmla="*/ 165 h 167"/>
                  <a:gd name="T2" fmla="*/ 0 w 72"/>
                  <a:gd name="T3" fmla="*/ 165 h 167"/>
                  <a:gd name="T4" fmla="*/ 5 w 72"/>
                  <a:gd name="T5" fmla="*/ 167 h 167"/>
                  <a:gd name="T6" fmla="*/ 5 w 72"/>
                  <a:gd name="T7" fmla="*/ 167 h 167"/>
                  <a:gd name="T8" fmla="*/ 0 w 72"/>
                  <a:gd name="T9" fmla="*/ 165 h 167"/>
                  <a:gd name="T10" fmla="*/ 64 w 72"/>
                  <a:gd name="T11" fmla="*/ 0 h 167"/>
                  <a:gd name="T12" fmla="*/ 64 w 72"/>
                  <a:gd name="T13" fmla="*/ 0 h 167"/>
                  <a:gd name="T14" fmla="*/ 72 w 72"/>
                  <a:gd name="T15" fmla="*/ 2 h 167"/>
                  <a:gd name="T16" fmla="*/ 72 w 72"/>
                  <a:gd name="T17" fmla="*/ 2 h 167"/>
                  <a:gd name="T18" fmla="*/ 64 w 72"/>
                  <a:gd name="T1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167">
                    <a:moveTo>
                      <a:pt x="0" y="165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0" y="165"/>
                    </a:lnTo>
                    <a:close/>
                    <a:moveTo>
                      <a:pt x="64" y="0"/>
                    </a:moveTo>
                    <a:lnTo>
                      <a:pt x="64" y="0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E6C5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ṧlíďé">
                <a:extLst>
                  <a:ext uri="{FF2B5EF4-FFF2-40B4-BE49-F238E27FC236}">
                    <a16:creationId xmlns:a16="http://schemas.microsoft.com/office/drawing/2014/main" id="{536DCB83-52AA-48C6-A23A-8C5F83CC30CF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0 w 72"/>
                  <a:gd name="T1" fmla="*/ 165 h 167"/>
                  <a:gd name="T2" fmla="*/ 0 w 72"/>
                  <a:gd name="T3" fmla="*/ 165 h 167"/>
                  <a:gd name="T4" fmla="*/ 5 w 72"/>
                  <a:gd name="T5" fmla="*/ 167 h 167"/>
                  <a:gd name="T6" fmla="*/ 5 w 72"/>
                  <a:gd name="T7" fmla="*/ 167 h 167"/>
                  <a:gd name="T8" fmla="*/ 0 w 72"/>
                  <a:gd name="T9" fmla="*/ 165 h 167"/>
                  <a:gd name="T10" fmla="*/ 64 w 72"/>
                  <a:gd name="T11" fmla="*/ 0 h 167"/>
                  <a:gd name="T12" fmla="*/ 64 w 72"/>
                  <a:gd name="T13" fmla="*/ 0 h 167"/>
                  <a:gd name="T14" fmla="*/ 72 w 72"/>
                  <a:gd name="T15" fmla="*/ 2 h 167"/>
                  <a:gd name="T16" fmla="*/ 72 w 72"/>
                  <a:gd name="T17" fmla="*/ 2 h 167"/>
                  <a:gd name="T18" fmla="*/ 64 w 72"/>
                  <a:gd name="T1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167">
                    <a:moveTo>
                      <a:pt x="0" y="165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0" y="165"/>
                    </a:lnTo>
                    <a:moveTo>
                      <a:pt x="64" y="0"/>
                    </a:moveTo>
                    <a:lnTo>
                      <a:pt x="64" y="0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ï$ľíḓe">
                <a:extLst>
                  <a:ext uri="{FF2B5EF4-FFF2-40B4-BE49-F238E27FC236}">
                    <a16:creationId xmlns:a16="http://schemas.microsoft.com/office/drawing/2014/main" id="{21D215FD-331E-4E92-816F-8DCAC746D106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64 w 72"/>
                  <a:gd name="T1" fmla="*/ 0 h 167"/>
                  <a:gd name="T2" fmla="*/ 0 w 72"/>
                  <a:gd name="T3" fmla="*/ 165 h 167"/>
                  <a:gd name="T4" fmla="*/ 5 w 72"/>
                  <a:gd name="T5" fmla="*/ 167 h 167"/>
                  <a:gd name="T6" fmla="*/ 72 w 72"/>
                  <a:gd name="T7" fmla="*/ 2 h 167"/>
                  <a:gd name="T8" fmla="*/ 64 w 72"/>
                  <a:gd name="T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7">
                    <a:moveTo>
                      <a:pt x="64" y="0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72" y="2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749A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ş1îḑe">
                <a:extLst>
                  <a:ext uri="{FF2B5EF4-FFF2-40B4-BE49-F238E27FC236}">
                    <a16:creationId xmlns:a16="http://schemas.microsoft.com/office/drawing/2014/main" id="{3A0ADE7B-4124-4B29-98AC-5C7496D828B4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64 w 72"/>
                  <a:gd name="T1" fmla="*/ 0 h 167"/>
                  <a:gd name="T2" fmla="*/ 0 w 72"/>
                  <a:gd name="T3" fmla="*/ 165 h 167"/>
                  <a:gd name="T4" fmla="*/ 5 w 72"/>
                  <a:gd name="T5" fmla="*/ 167 h 167"/>
                  <a:gd name="T6" fmla="*/ 72 w 72"/>
                  <a:gd name="T7" fmla="*/ 2 h 167"/>
                  <a:gd name="T8" fmla="*/ 64 w 72"/>
                  <a:gd name="T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7">
                    <a:moveTo>
                      <a:pt x="64" y="0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72" y="2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îṣḻïdê">
                <a:extLst>
                  <a:ext uri="{FF2B5EF4-FFF2-40B4-BE49-F238E27FC236}">
                    <a16:creationId xmlns:a16="http://schemas.microsoft.com/office/drawing/2014/main" id="{A480F144-D9E1-480F-B445-331DF832958E}"/>
                  </a:ext>
                </a:extLst>
              </p:cNvPr>
              <p:cNvSpPr/>
              <p:nvPr/>
            </p:nvSpPr>
            <p:spPr bwMode="auto">
              <a:xfrm>
                <a:off x="4223859" y="3047845"/>
                <a:ext cx="145736" cy="369945"/>
              </a:xfrm>
              <a:custGeom>
                <a:avLst/>
                <a:gdLst>
                  <a:gd name="T0" fmla="*/ 0 w 65"/>
                  <a:gd name="T1" fmla="*/ 163 h 165"/>
                  <a:gd name="T2" fmla="*/ 4 w 65"/>
                  <a:gd name="T3" fmla="*/ 165 h 165"/>
                  <a:gd name="T4" fmla="*/ 4 w 65"/>
                  <a:gd name="T5" fmla="*/ 165 h 165"/>
                  <a:gd name="T6" fmla="*/ 0 w 65"/>
                  <a:gd name="T7" fmla="*/ 163 h 165"/>
                  <a:gd name="T8" fmla="*/ 59 w 65"/>
                  <a:gd name="T9" fmla="*/ 0 h 165"/>
                  <a:gd name="T10" fmla="*/ 59 w 65"/>
                  <a:gd name="T11" fmla="*/ 0 h 165"/>
                  <a:gd name="T12" fmla="*/ 65 w 65"/>
                  <a:gd name="T13" fmla="*/ 4 h 165"/>
                  <a:gd name="T14" fmla="*/ 65 w 65"/>
                  <a:gd name="T15" fmla="*/ 4 h 165"/>
                  <a:gd name="T16" fmla="*/ 59 w 65"/>
                  <a:gd name="T1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165">
                    <a:moveTo>
                      <a:pt x="0" y="163"/>
                    </a:moveTo>
                    <a:lnTo>
                      <a:pt x="4" y="165"/>
                    </a:lnTo>
                    <a:lnTo>
                      <a:pt x="4" y="165"/>
                    </a:lnTo>
                    <a:lnTo>
                      <a:pt x="0" y="163"/>
                    </a:lnTo>
                    <a:close/>
                    <a:moveTo>
                      <a:pt x="59" y="0"/>
                    </a:moveTo>
                    <a:lnTo>
                      <a:pt x="59" y="0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59" y="0"/>
                    </a:lnTo>
                    <a:close/>
                  </a:path>
                </a:pathLst>
              </a:custGeom>
              <a:solidFill>
                <a:srgbClr val="E6C5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iŝlîďé">
                <a:extLst>
                  <a:ext uri="{FF2B5EF4-FFF2-40B4-BE49-F238E27FC236}">
                    <a16:creationId xmlns:a16="http://schemas.microsoft.com/office/drawing/2014/main" id="{5B62CE54-5C88-41E7-A6C0-FD0A1AE401EB}"/>
                  </a:ext>
                </a:extLst>
              </p:cNvPr>
              <p:cNvSpPr/>
              <p:nvPr/>
            </p:nvSpPr>
            <p:spPr bwMode="auto">
              <a:xfrm>
                <a:off x="4223859" y="3047845"/>
                <a:ext cx="145736" cy="369945"/>
              </a:xfrm>
              <a:custGeom>
                <a:avLst/>
                <a:gdLst>
                  <a:gd name="T0" fmla="*/ 0 w 65"/>
                  <a:gd name="T1" fmla="*/ 163 h 165"/>
                  <a:gd name="T2" fmla="*/ 4 w 65"/>
                  <a:gd name="T3" fmla="*/ 165 h 165"/>
                  <a:gd name="T4" fmla="*/ 4 w 65"/>
                  <a:gd name="T5" fmla="*/ 165 h 165"/>
                  <a:gd name="T6" fmla="*/ 0 w 65"/>
                  <a:gd name="T7" fmla="*/ 163 h 165"/>
                  <a:gd name="T8" fmla="*/ 59 w 65"/>
                  <a:gd name="T9" fmla="*/ 0 h 165"/>
                  <a:gd name="T10" fmla="*/ 59 w 65"/>
                  <a:gd name="T11" fmla="*/ 0 h 165"/>
                  <a:gd name="T12" fmla="*/ 65 w 65"/>
                  <a:gd name="T13" fmla="*/ 4 h 165"/>
                  <a:gd name="T14" fmla="*/ 65 w 65"/>
                  <a:gd name="T15" fmla="*/ 4 h 165"/>
                  <a:gd name="T16" fmla="*/ 59 w 65"/>
                  <a:gd name="T1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165">
                    <a:moveTo>
                      <a:pt x="0" y="163"/>
                    </a:moveTo>
                    <a:lnTo>
                      <a:pt x="4" y="165"/>
                    </a:lnTo>
                    <a:lnTo>
                      <a:pt x="4" y="165"/>
                    </a:lnTo>
                    <a:lnTo>
                      <a:pt x="0" y="163"/>
                    </a:lnTo>
                    <a:moveTo>
                      <a:pt x="59" y="0"/>
                    </a:moveTo>
                    <a:lnTo>
                      <a:pt x="59" y="0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iṧļïdé">
                <a:extLst>
                  <a:ext uri="{FF2B5EF4-FFF2-40B4-BE49-F238E27FC236}">
                    <a16:creationId xmlns:a16="http://schemas.microsoft.com/office/drawing/2014/main" id="{42807562-4548-47D9-A8AE-36863B3D62B7}"/>
                  </a:ext>
                </a:extLst>
              </p:cNvPr>
              <p:cNvSpPr/>
              <p:nvPr/>
            </p:nvSpPr>
            <p:spPr bwMode="auto">
              <a:xfrm>
                <a:off x="4219375" y="3047845"/>
                <a:ext cx="150220" cy="369945"/>
              </a:xfrm>
              <a:custGeom>
                <a:avLst/>
                <a:gdLst>
                  <a:gd name="T0" fmla="*/ 61 w 67"/>
                  <a:gd name="T1" fmla="*/ 0 h 165"/>
                  <a:gd name="T2" fmla="*/ 0 w 67"/>
                  <a:gd name="T3" fmla="*/ 161 h 165"/>
                  <a:gd name="T4" fmla="*/ 2 w 67"/>
                  <a:gd name="T5" fmla="*/ 163 h 165"/>
                  <a:gd name="T6" fmla="*/ 6 w 67"/>
                  <a:gd name="T7" fmla="*/ 165 h 165"/>
                  <a:gd name="T8" fmla="*/ 67 w 67"/>
                  <a:gd name="T9" fmla="*/ 4 h 165"/>
                  <a:gd name="T10" fmla="*/ 61 w 67"/>
                  <a:gd name="T1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165">
                    <a:moveTo>
                      <a:pt x="61" y="0"/>
                    </a:moveTo>
                    <a:lnTo>
                      <a:pt x="0" y="161"/>
                    </a:lnTo>
                    <a:lnTo>
                      <a:pt x="2" y="163"/>
                    </a:lnTo>
                    <a:lnTo>
                      <a:pt x="6" y="165"/>
                    </a:lnTo>
                    <a:lnTo>
                      <a:pt x="67" y="4"/>
                    </a:lnTo>
                    <a:lnTo>
                      <a:pt x="61" y="0"/>
                    </a:lnTo>
                    <a:close/>
                  </a:path>
                </a:pathLst>
              </a:custGeom>
              <a:solidFill>
                <a:srgbClr val="749A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ïşḷîḍé">
                <a:extLst>
                  <a:ext uri="{FF2B5EF4-FFF2-40B4-BE49-F238E27FC236}">
                    <a16:creationId xmlns:a16="http://schemas.microsoft.com/office/drawing/2014/main" id="{A9B90D96-E4FB-48B8-AF69-D26087465836}"/>
                  </a:ext>
                </a:extLst>
              </p:cNvPr>
              <p:cNvSpPr/>
              <p:nvPr/>
            </p:nvSpPr>
            <p:spPr bwMode="auto">
              <a:xfrm>
                <a:off x="4219375" y="3047845"/>
                <a:ext cx="150220" cy="369945"/>
              </a:xfrm>
              <a:custGeom>
                <a:avLst/>
                <a:gdLst>
                  <a:gd name="T0" fmla="*/ 61 w 67"/>
                  <a:gd name="T1" fmla="*/ 0 h 165"/>
                  <a:gd name="T2" fmla="*/ 0 w 67"/>
                  <a:gd name="T3" fmla="*/ 161 h 165"/>
                  <a:gd name="T4" fmla="*/ 2 w 67"/>
                  <a:gd name="T5" fmla="*/ 163 h 165"/>
                  <a:gd name="T6" fmla="*/ 6 w 67"/>
                  <a:gd name="T7" fmla="*/ 165 h 165"/>
                  <a:gd name="T8" fmla="*/ 67 w 67"/>
                  <a:gd name="T9" fmla="*/ 4 h 165"/>
                  <a:gd name="T10" fmla="*/ 61 w 67"/>
                  <a:gd name="T1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165">
                    <a:moveTo>
                      <a:pt x="61" y="0"/>
                    </a:moveTo>
                    <a:lnTo>
                      <a:pt x="0" y="161"/>
                    </a:lnTo>
                    <a:lnTo>
                      <a:pt x="2" y="163"/>
                    </a:lnTo>
                    <a:lnTo>
                      <a:pt x="6" y="165"/>
                    </a:lnTo>
                    <a:lnTo>
                      <a:pt x="67" y="4"/>
                    </a:lnTo>
                    <a:lnTo>
                      <a:pt x="6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îŝḷïḍé">
                <a:extLst>
                  <a:ext uri="{FF2B5EF4-FFF2-40B4-BE49-F238E27FC236}">
                    <a16:creationId xmlns:a16="http://schemas.microsoft.com/office/drawing/2014/main" id="{8E427620-183B-4D14-BE95-E33CBB1DE4FD}"/>
                  </a:ext>
                </a:extLst>
              </p:cNvPr>
              <p:cNvSpPr/>
              <p:nvPr/>
            </p:nvSpPr>
            <p:spPr bwMode="auto">
              <a:xfrm>
                <a:off x="3768715" y="1825909"/>
                <a:ext cx="1385609" cy="2932648"/>
              </a:xfrm>
              <a:custGeom>
                <a:avLst/>
                <a:gdLst>
                  <a:gd name="T0" fmla="*/ 482 w 618"/>
                  <a:gd name="T1" fmla="*/ 0 h 1308"/>
                  <a:gd name="T2" fmla="*/ 0 w 618"/>
                  <a:gd name="T3" fmla="*/ 1242 h 1308"/>
                  <a:gd name="T4" fmla="*/ 112 w 618"/>
                  <a:gd name="T5" fmla="*/ 1308 h 1308"/>
                  <a:gd name="T6" fmla="*/ 618 w 618"/>
                  <a:gd name="T7" fmla="*/ 28 h 1308"/>
                  <a:gd name="T8" fmla="*/ 482 w 618"/>
                  <a:gd name="T9" fmla="*/ 0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8" h="1308">
                    <a:moveTo>
                      <a:pt x="482" y="0"/>
                    </a:moveTo>
                    <a:lnTo>
                      <a:pt x="0" y="1242"/>
                    </a:lnTo>
                    <a:lnTo>
                      <a:pt x="112" y="1308"/>
                    </a:lnTo>
                    <a:lnTo>
                      <a:pt x="618" y="28"/>
                    </a:lnTo>
                    <a:lnTo>
                      <a:pt x="482" y="0"/>
                    </a:lnTo>
                    <a:close/>
                  </a:path>
                </a:pathLst>
              </a:custGeom>
              <a:solidFill>
                <a:srgbClr val="7DA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BB16C05-0305-4747-A29A-F5B630D6D4C4}"/>
                </a:ext>
              </a:extLst>
            </p:cNvPr>
            <p:cNvSpPr/>
            <p:nvPr/>
          </p:nvSpPr>
          <p:spPr>
            <a:xfrm>
              <a:off x="913387" y="1750796"/>
              <a:ext cx="4121426" cy="830997"/>
            </a:xfrm>
            <a:prstGeom prst="rect">
              <a:avLst/>
            </a:prstGeom>
          </p:spPr>
          <p:txBody>
            <a:bodyPr wrap="square" lIns="180000" tIns="45720" rIns="180000" bIns="45720">
              <a:spAutoFit/>
            </a:bodyPr>
            <a:lstStyle/>
            <a:p>
              <a:r>
                <a:rPr lang="en-US" altLang="zh-TW" sz="2400" dirty="0">
                  <a:latin typeface="Tw Cen MT" panose="020B0602020104020603" pitchFamily="34" charset="0"/>
                </a:rPr>
                <a:t>After our preprocessing, some text will become empty.</a:t>
              </a:r>
              <a:endParaRPr lang="en-US" sz="2400" dirty="0">
                <a:latin typeface="Tw Cen MT" panose="020B0602020104020603" pitchFamily="34" charset="0"/>
              </a:endParaRPr>
            </a:p>
          </p:txBody>
        </p:sp>
      </p:grpSp>
      <p:sp>
        <p:nvSpPr>
          <p:cNvPr id="14" name="矩形 7">
            <a:extLst>
              <a:ext uri="{FF2B5EF4-FFF2-40B4-BE49-F238E27FC236}">
                <a16:creationId xmlns:a16="http://schemas.microsoft.com/office/drawing/2014/main" id="{215BDB6E-4F32-406B-A756-FEBC3396C335}"/>
              </a:ext>
            </a:extLst>
          </p:cNvPr>
          <p:cNvSpPr/>
          <p:nvPr/>
        </p:nvSpPr>
        <p:spPr>
          <a:xfrm>
            <a:off x="9179409" y="1819139"/>
            <a:ext cx="1495226" cy="1514186"/>
          </a:xfrm>
          <a:prstGeom prst="rect">
            <a:avLst/>
          </a:prstGeom>
          <a:solidFill>
            <a:srgbClr val="FCF3D9">
              <a:alpha val="50196"/>
            </a:srgbClr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0DCBD574-637A-42C2-ADB2-6B768CBD3A90}"/>
              </a:ext>
            </a:extLst>
          </p:cNvPr>
          <p:cNvGrpSpPr/>
          <p:nvPr/>
        </p:nvGrpSpPr>
        <p:grpSpPr>
          <a:xfrm>
            <a:off x="6210332" y="1437861"/>
            <a:ext cx="4616694" cy="4439478"/>
            <a:chOff x="6210332" y="1437861"/>
            <a:chExt cx="4616694" cy="4439478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0F532704-5F11-4DE6-800C-2493BBB92C0F}"/>
                </a:ext>
              </a:extLst>
            </p:cNvPr>
            <p:cNvSpPr/>
            <p:nvPr/>
          </p:nvSpPr>
          <p:spPr>
            <a:xfrm>
              <a:off x="6210332" y="1437861"/>
              <a:ext cx="4616694" cy="4439478"/>
            </a:xfrm>
            <a:prstGeom prst="roundRect">
              <a:avLst>
                <a:gd name="adj" fmla="val 10236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45720" rIns="360000" bIns="45720"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4281FA3-75B1-488A-B340-78A1E3724EC1}"/>
                </a:ext>
              </a:extLst>
            </p:cNvPr>
            <p:cNvSpPr/>
            <p:nvPr/>
          </p:nvSpPr>
          <p:spPr>
            <a:xfrm>
              <a:off x="6210332" y="1750796"/>
              <a:ext cx="3258346" cy="830997"/>
            </a:xfrm>
            <a:prstGeom prst="rect">
              <a:avLst/>
            </a:prstGeom>
          </p:spPr>
          <p:txBody>
            <a:bodyPr wrap="square" lIns="360000" tIns="45720" rIns="360000" bIns="45720">
              <a:spAutoFit/>
            </a:bodyPr>
            <a:lstStyle/>
            <a:p>
              <a:r>
                <a:rPr lang="en-US" altLang="zh-TW" sz="2400" dirty="0">
                  <a:latin typeface="Tw Cen MT" panose="020B0602020104020603" pitchFamily="34" charset="0"/>
                </a:rPr>
                <a:t>Guess the 6 most common categories</a:t>
              </a:r>
            </a:p>
          </p:txBody>
        </p:sp>
        <p:pic>
          <p:nvPicPr>
            <p:cNvPr id="13" name="圖片 2">
              <a:extLst>
                <a:ext uri="{FF2B5EF4-FFF2-40B4-BE49-F238E27FC236}">
                  <a16:creationId xmlns:a16="http://schemas.microsoft.com/office/drawing/2014/main" id="{46D2F344-A1E6-44CF-B7CF-4CEDAB8A1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9411" y="1642882"/>
              <a:ext cx="1495226" cy="4022640"/>
            </a:xfrm>
            <a:prstGeom prst="rect">
              <a:avLst/>
            </a:prstGeom>
          </p:spPr>
        </p:pic>
        <p:grpSp>
          <p:nvGrpSpPr>
            <p:cNvPr id="53" name="b826854e-2acf-4900-a62e-ca82189cbf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E0670139-05C7-4DFA-B74B-E3849F28C707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6823053" y="3076412"/>
              <a:ext cx="2032904" cy="1923540"/>
              <a:chOff x="3652055" y="1116531"/>
              <a:chExt cx="4887890" cy="4624938"/>
            </a:xfrm>
          </p:grpSpPr>
          <p:sp>
            <p:nvSpPr>
              <p:cNvPr id="54" name="îṡḻîďé">
                <a:extLst>
                  <a:ext uri="{FF2B5EF4-FFF2-40B4-BE49-F238E27FC236}">
                    <a16:creationId xmlns:a16="http://schemas.microsoft.com/office/drawing/2014/main" id="{AF280FFB-27A0-4899-BF75-CD0D351E1FFE}"/>
                  </a:ext>
                </a:extLst>
              </p:cNvPr>
              <p:cNvSpPr/>
              <p:nvPr/>
            </p:nvSpPr>
            <p:spPr bwMode="auto">
              <a:xfrm>
                <a:off x="5833928" y="1261639"/>
                <a:ext cx="466098" cy="465221"/>
              </a:xfrm>
              <a:prstGeom prst="ellipse">
                <a:avLst/>
              </a:pr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îSḷíḋè">
                <a:extLst>
                  <a:ext uri="{FF2B5EF4-FFF2-40B4-BE49-F238E27FC236}">
                    <a16:creationId xmlns:a16="http://schemas.microsoft.com/office/drawing/2014/main" id="{4402458D-A688-4370-8347-78B5F4A5442C}"/>
                  </a:ext>
                </a:extLst>
              </p:cNvPr>
              <p:cNvSpPr/>
              <p:nvPr/>
            </p:nvSpPr>
            <p:spPr bwMode="auto">
              <a:xfrm>
                <a:off x="4786524" y="1276587"/>
                <a:ext cx="2545957" cy="3257418"/>
              </a:xfrm>
              <a:custGeom>
                <a:avLst/>
                <a:gdLst/>
                <a:ahLst/>
                <a:cxnLst>
                  <a:cxn ang="0">
                    <a:pos x="175" y="8"/>
                  </a:cxn>
                  <a:cxn ang="0">
                    <a:pos x="162" y="33"/>
                  </a:cxn>
                  <a:cxn ang="0">
                    <a:pos x="158" y="37"/>
                  </a:cxn>
                  <a:cxn ang="0">
                    <a:pos x="120" y="52"/>
                  </a:cxn>
                  <a:cxn ang="0">
                    <a:pos x="119" y="52"/>
                  </a:cxn>
                  <a:cxn ang="0">
                    <a:pos x="118" y="52"/>
                  </a:cxn>
                  <a:cxn ang="0">
                    <a:pos x="110" y="103"/>
                  </a:cxn>
                  <a:cxn ang="0">
                    <a:pos x="111" y="105"/>
                  </a:cxn>
                  <a:cxn ang="0">
                    <a:pos x="131" y="213"/>
                  </a:cxn>
                  <a:cxn ang="0">
                    <a:pos x="124" y="223"/>
                  </a:cxn>
                  <a:cxn ang="0">
                    <a:pos x="123" y="223"/>
                  </a:cxn>
                  <a:cxn ang="0">
                    <a:pos x="114" y="216"/>
                  </a:cxn>
                  <a:cxn ang="0">
                    <a:pos x="88" y="120"/>
                  </a:cxn>
                  <a:cxn ang="0">
                    <a:pos x="66" y="216"/>
                  </a:cxn>
                  <a:cxn ang="0">
                    <a:pos x="56" y="223"/>
                  </a:cxn>
                  <a:cxn ang="0">
                    <a:pos x="49" y="213"/>
                  </a:cxn>
                  <a:cxn ang="0">
                    <a:pos x="66" y="104"/>
                  </a:cxn>
                  <a:cxn ang="0">
                    <a:pos x="66" y="102"/>
                  </a:cxn>
                  <a:cxn ang="0">
                    <a:pos x="66" y="102"/>
                  </a:cxn>
                  <a:cxn ang="0">
                    <a:pos x="59" y="52"/>
                  </a:cxn>
                  <a:cxn ang="0">
                    <a:pos x="58" y="52"/>
                  </a:cxn>
                  <a:cxn ang="0">
                    <a:pos x="57" y="52"/>
                  </a:cxn>
                  <a:cxn ang="0">
                    <a:pos x="16" y="37"/>
                  </a:cxn>
                  <a:cxn ang="0">
                    <a:pos x="11" y="32"/>
                  </a:cxn>
                  <a:cxn ang="0">
                    <a:pos x="0" y="8"/>
                  </a:cxn>
                  <a:cxn ang="0">
                    <a:pos x="16" y="1"/>
                  </a:cxn>
                  <a:cxn ang="0">
                    <a:pos x="26" y="22"/>
                  </a:cxn>
                  <a:cxn ang="0">
                    <a:pos x="61" y="35"/>
                  </a:cxn>
                  <a:cxn ang="0">
                    <a:pos x="75" y="35"/>
                  </a:cxn>
                  <a:cxn ang="0">
                    <a:pos x="83" y="55"/>
                  </a:cxn>
                  <a:cxn ang="0">
                    <a:pos x="88" y="68"/>
                  </a:cxn>
                  <a:cxn ang="0">
                    <a:pos x="93" y="55"/>
                  </a:cxn>
                  <a:cxn ang="0">
                    <a:pos x="93" y="55"/>
                  </a:cxn>
                  <a:cxn ang="0">
                    <a:pos x="101" y="35"/>
                  </a:cxn>
                  <a:cxn ang="0">
                    <a:pos x="115" y="35"/>
                  </a:cxn>
                  <a:cxn ang="0">
                    <a:pos x="148" y="22"/>
                  </a:cxn>
                  <a:cxn ang="0">
                    <a:pos x="160" y="0"/>
                  </a:cxn>
                  <a:cxn ang="0">
                    <a:pos x="175" y="8"/>
                  </a:cxn>
                </a:cxnLst>
                <a:rect l="0" t="0" r="r" b="b"/>
                <a:pathLst>
                  <a:path w="175" h="224">
                    <a:moveTo>
                      <a:pt x="175" y="8"/>
                    </a:moveTo>
                    <a:cubicBezTo>
                      <a:pt x="162" y="33"/>
                      <a:pt x="162" y="33"/>
                      <a:pt x="162" y="33"/>
                    </a:cubicBezTo>
                    <a:cubicBezTo>
                      <a:pt x="161" y="35"/>
                      <a:pt x="159" y="36"/>
                      <a:pt x="158" y="37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19" y="52"/>
                      <a:pt x="119" y="52"/>
                      <a:pt x="119" y="52"/>
                    </a:cubicBezTo>
                    <a:cubicBezTo>
                      <a:pt x="118" y="52"/>
                      <a:pt x="118" y="52"/>
                      <a:pt x="118" y="52"/>
                    </a:cubicBezTo>
                    <a:cubicBezTo>
                      <a:pt x="110" y="103"/>
                      <a:pt x="110" y="103"/>
                      <a:pt x="110" y="103"/>
                    </a:cubicBezTo>
                    <a:cubicBezTo>
                      <a:pt x="111" y="105"/>
                      <a:pt x="111" y="105"/>
                      <a:pt x="111" y="105"/>
                    </a:cubicBezTo>
                    <a:cubicBezTo>
                      <a:pt x="131" y="213"/>
                      <a:pt x="131" y="213"/>
                      <a:pt x="131" y="213"/>
                    </a:cubicBezTo>
                    <a:cubicBezTo>
                      <a:pt x="132" y="217"/>
                      <a:pt x="129" y="222"/>
                      <a:pt x="124" y="223"/>
                    </a:cubicBezTo>
                    <a:cubicBezTo>
                      <a:pt x="124" y="223"/>
                      <a:pt x="123" y="223"/>
                      <a:pt x="123" y="223"/>
                    </a:cubicBezTo>
                    <a:cubicBezTo>
                      <a:pt x="118" y="223"/>
                      <a:pt x="115" y="220"/>
                      <a:pt x="114" y="216"/>
                    </a:cubicBezTo>
                    <a:cubicBezTo>
                      <a:pt x="88" y="120"/>
                      <a:pt x="88" y="120"/>
                      <a:pt x="88" y="120"/>
                    </a:cubicBezTo>
                    <a:cubicBezTo>
                      <a:pt x="66" y="216"/>
                      <a:pt x="66" y="216"/>
                      <a:pt x="66" y="216"/>
                    </a:cubicBezTo>
                    <a:cubicBezTo>
                      <a:pt x="65" y="220"/>
                      <a:pt x="61" y="224"/>
                      <a:pt x="56" y="223"/>
                    </a:cubicBezTo>
                    <a:cubicBezTo>
                      <a:pt x="51" y="222"/>
                      <a:pt x="48" y="218"/>
                      <a:pt x="49" y="213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58" y="52"/>
                      <a:pt x="57" y="52"/>
                      <a:pt x="57" y="52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4" y="36"/>
                      <a:pt x="12" y="34"/>
                      <a:pt x="11" y="3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75" y="35"/>
                      <a:pt x="75" y="35"/>
                      <a:pt x="75" y="35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15" y="35"/>
                      <a:pt x="115" y="35"/>
                      <a:pt x="115" y="35"/>
                    </a:cubicBezTo>
                    <a:cubicBezTo>
                      <a:pt x="148" y="22"/>
                      <a:pt x="148" y="22"/>
                      <a:pt x="148" y="22"/>
                    </a:cubicBezTo>
                    <a:cubicBezTo>
                      <a:pt x="160" y="0"/>
                      <a:pt x="160" y="0"/>
                      <a:pt x="160" y="0"/>
                    </a:cubicBezTo>
                    <a:lnTo>
                      <a:pt x="175" y="8"/>
                    </a:ln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í$ľïḋê">
                <a:extLst>
                  <a:ext uri="{FF2B5EF4-FFF2-40B4-BE49-F238E27FC236}">
                    <a16:creationId xmlns:a16="http://schemas.microsoft.com/office/drawing/2014/main" id="{191958CB-79E8-4E33-888D-18E956B59FCB}"/>
                  </a:ext>
                </a:extLst>
              </p:cNvPr>
              <p:cNvSpPr/>
              <p:nvPr/>
            </p:nvSpPr>
            <p:spPr bwMode="auto">
              <a:xfrm>
                <a:off x="4728482" y="1116531"/>
                <a:ext cx="291093" cy="276141"/>
              </a:xfrm>
              <a:custGeom>
                <a:avLst/>
                <a:gdLst/>
                <a:ahLst/>
                <a:cxnLst>
                  <a:cxn ang="0">
                    <a:pos x="18" y="6"/>
                  </a:cxn>
                  <a:cxn ang="0">
                    <a:pos x="20" y="12"/>
                  </a:cxn>
                  <a:cxn ang="0">
                    <a:pos x="4" y="19"/>
                  </a:cxn>
                  <a:cxn ang="0">
                    <a:pos x="2" y="13"/>
                  </a:cxn>
                  <a:cxn ang="0">
                    <a:pos x="7" y="2"/>
                  </a:cxn>
                  <a:cxn ang="0">
                    <a:pos x="18" y="6"/>
                  </a:cxn>
                </a:cxnLst>
                <a:rect l="0" t="0" r="r" b="b"/>
                <a:pathLst>
                  <a:path w="20" h="19">
                    <a:moveTo>
                      <a:pt x="18" y="6"/>
                    </a:moveTo>
                    <a:cubicBezTo>
                      <a:pt x="20" y="12"/>
                      <a:pt x="20" y="12"/>
                      <a:pt x="20" y="12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0" y="9"/>
                      <a:pt x="2" y="4"/>
                      <a:pt x="7" y="2"/>
                    </a:cubicBezTo>
                    <a:cubicBezTo>
                      <a:pt x="11" y="0"/>
                      <a:pt x="16" y="2"/>
                      <a:pt x="18" y="6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îṧḻîḓé">
                <a:extLst>
                  <a:ext uri="{FF2B5EF4-FFF2-40B4-BE49-F238E27FC236}">
                    <a16:creationId xmlns:a16="http://schemas.microsoft.com/office/drawing/2014/main" id="{583B173A-4550-4625-AF20-4C204F8ECF7A}"/>
                  </a:ext>
                </a:extLst>
              </p:cNvPr>
              <p:cNvSpPr/>
              <p:nvPr/>
            </p:nvSpPr>
            <p:spPr bwMode="auto">
              <a:xfrm>
                <a:off x="5993984" y="1784902"/>
                <a:ext cx="145985" cy="480169"/>
              </a:xfrm>
              <a:custGeom>
                <a:avLst/>
                <a:gdLst/>
                <a:ahLst/>
                <a:cxnLst>
                  <a:cxn ang="0">
                    <a:pos x="166" y="331"/>
                  </a:cxn>
                  <a:cxn ang="0">
                    <a:pos x="166" y="331"/>
                  </a:cxn>
                  <a:cxn ang="0">
                    <a:pos x="83" y="546"/>
                  </a:cxn>
                  <a:cxn ang="0">
                    <a:pos x="0" y="331"/>
                  </a:cxn>
                  <a:cxn ang="0">
                    <a:pos x="33" y="83"/>
                  </a:cxn>
                  <a:cxn ang="0">
                    <a:pos x="0" y="0"/>
                  </a:cxn>
                  <a:cxn ang="0">
                    <a:pos x="166" y="0"/>
                  </a:cxn>
                  <a:cxn ang="0">
                    <a:pos x="132" y="83"/>
                  </a:cxn>
                  <a:cxn ang="0">
                    <a:pos x="166" y="331"/>
                  </a:cxn>
                </a:cxnLst>
                <a:rect l="0" t="0" r="r" b="b"/>
                <a:pathLst>
                  <a:path w="166" h="546">
                    <a:moveTo>
                      <a:pt x="166" y="331"/>
                    </a:moveTo>
                    <a:lnTo>
                      <a:pt x="166" y="331"/>
                    </a:lnTo>
                    <a:lnTo>
                      <a:pt x="83" y="546"/>
                    </a:lnTo>
                    <a:lnTo>
                      <a:pt x="0" y="331"/>
                    </a:lnTo>
                    <a:lnTo>
                      <a:pt x="33" y="83"/>
                    </a:lnTo>
                    <a:lnTo>
                      <a:pt x="0" y="0"/>
                    </a:lnTo>
                    <a:lnTo>
                      <a:pt x="166" y="0"/>
                    </a:lnTo>
                    <a:lnTo>
                      <a:pt x="132" y="83"/>
                    </a:lnTo>
                    <a:lnTo>
                      <a:pt x="166" y="331"/>
                    </a:lnTo>
                    <a:close/>
                  </a:path>
                </a:pathLst>
              </a:custGeom>
              <a:solidFill>
                <a:srgbClr val="BC2B28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íSlíḋè">
                <a:extLst>
                  <a:ext uri="{FF2B5EF4-FFF2-40B4-BE49-F238E27FC236}">
                    <a16:creationId xmlns:a16="http://schemas.microsoft.com/office/drawing/2014/main" id="{8D5EAD57-97DF-4A40-B752-C5C645881367}"/>
                  </a:ext>
                </a:extLst>
              </p:cNvPr>
              <p:cNvSpPr/>
              <p:nvPr/>
            </p:nvSpPr>
            <p:spPr bwMode="auto">
              <a:xfrm>
                <a:off x="5877899" y="1784902"/>
                <a:ext cx="145108" cy="291093"/>
              </a:xfrm>
              <a:custGeom>
                <a:avLst/>
                <a:gdLst/>
                <a:ahLst/>
                <a:cxnLst>
                  <a:cxn ang="0">
                    <a:pos x="165" y="83"/>
                  </a:cxn>
                  <a:cxn ang="0">
                    <a:pos x="132" y="331"/>
                  </a:cxn>
                  <a:cxn ang="0">
                    <a:pos x="0" y="0"/>
                  </a:cxn>
                  <a:cxn ang="0">
                    <a:pos x="132" y="0"/>
                  </a:cxn>
                  <a:cxn ang="0">
                    <a:pos x="165" y="83"/>
                  </a:cxn>
                </a:cxnLst>
                <a:rect l="0" t="0" r="r" b="b"/>
                <a:pathLst>
                  <a:path w="165" h="331">
                    <a:moveTo>
                      <a:pt x="165" y="83"/>
                    </a:moveTo>
                    <a:lnTo>
                      <a:pt x="132" y="331"/>
                    </a:lnTo>
                    <a:lnTo>
                      <a:pt x="0" y="0"/>
                    </a:lnTo>
                    <a:lnTo>
                      <a:pt x="132" y="0"/>
                    </a:lnTo>
                    <a:lnTo>
                      <a:pt x="165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i$lîdè">
                <a:extLst>
                  <a:ext uri="{FF2B5EF4-FFF2-40B4-BE49-F238E27FC236}">
                    <a16:creationId xmlns:a16="http://schemas.microsoft.com/office/drawing/2014/main" id="{4B66F463-7166-4110-9BAE-A5EBAF21717E}"/>
                  </a:ext>
                </a:extLst>
              </p:cNvPr>
              <p:cNvSpPr/>
              <p:nvPr/>
            </p:nvSpPr>
            <p:spPr bwMode="auto">
              <a:xfrm>
                <a:off x="6110069" y="1784902"/>
                <a:ext cx="145985" cy="291093"/>
              </a:xfrm>
              <a:custGeom>
                <a:avLst/>
                <a:gdLst/>
                <a:ahLst/>
                <a:cxnLst>
                  <a:cxn ang="0">
                    <a:pos x="166" y="0"/>
                  </a:cxn>
                  <a:cxn ang="0">
                    <a:pos x="34" y="331"/>
                  </a:cxn>
                  <a:cxn ang="0">
                    <a:pos x="0" y="83"/>
                  </a:cxn>
                  <a:cxn ang="0">
                    <a:pos x="34" y="0"/>
                  </a:cxn>
                  <a:cxn ang="0">
                    <a:pos x="166" y="0"/>
                  </a:cxn>
                </a:cxnLst>
                <a:rect l="0" t="0" r="r" b="b"/>
                <a:pathLst>
                  <a:path w="166" h="331">
                    <a:moveTo>
                      <a:pt x="166" y="0"/>
                    </a:moveTo>
                    <a:lnTo>
                      <a:pt x="34" y="331"/>
                    </a:lnTo>
                    <a:lnTo>
                      <a:pt x="0" y="83"/>
                    </a:lnTo>
                    <a:lnTo>
                      <a:pt x="34" y="0"/>
                    </a:lnTo>
                    <a:lnTo>
                      <a:pt x="16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ïṥḷïḋê">
                <a:extLst>
                  <a:ext uri="{FF2B5EF4-FFF2-40B4-BE49-F238E27FC236}">
                    <a16:creationId xmlns:a16="http://schemas.microsoft.com/office/drawing/2014/main" id="{7BB56E6E-50C0-4CB6-B96D-C17676A05BBF}"/>
                  </a:ext>
                </a:extLst>
              </p:cNvPr>
              <p:cNvSpPr/>
              <p:nvPr/>
            </p:nvSpPr>
            <p:spPr bwMode="auto">
              <a:xfrm>
                <a:off x="4263261" y="1625723"/>
                <a:ext cx="436198" cy="436197"/>
              </a:xfrm>
              <a:prstGeom prst="ellipse">
                <a:avLst/>
              </a:pr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ïṥḷîḍe">
                <a:extLst>
                  <a:ext uri="{FF2B5EF4-FFF2-40B4-BE49-F238E27FC236}">
                    <a16:creationId xmlns:a16="http://schemas.microsoft.com/office/drawing/2014/main" id="{E4043866-1D2A-458D-864D-502EA20C55A5}"/>
                  </a:ext>
                </a:extLst>
              </p:cNvPr>
              <p:cNvSpPr/>
              <p:nvPr/>
            </p:nvSpPr>
            <p:spPr bwMode="auto">
              <a:xfrm>
                <a:off x="3885106" y="3094376"/>
                <a:ext cx="262070" cy="247122"/>
              </a:xfrm>
              <a:custGeom>
                <a:avLst/>
                <a:gdLst/>
                <a:ahLst/>
                <a:cxnLst>
                  <a:cxn ang="0">
                    <a:pos x="18" y="8"/>
                  </a:cxn>
                  <a:cxn ang="0">
                    <a:pos x="13" y="16"/>
                  </a:cxn>
                  <a:cxn ang="0">
                    <a:pos x="10" y="17"/>
                  </a:cxn>
                  <a:cxn ang="0">
                    <a:pos x="2" y="11"/>
                  </a:cxn>
                  <a:cxn ang="0">
                    <a:pos x="0" y="6"/>
                  </a:cxn>
                  <a:cxn ang="0">
                    <a:pos x="15" y="0"/>
                  </a:cxn>
                  <a:cxn ang="0">
                    <a:pos x="17" y="5"/>
                  </a:cxn>
                  <a:cxn ang="0">
                    <a:pos x="18" y="8"/>
                  </a:cxn>
                </a:cxnLst>
                <a:rect l="0" t="0" r="r" b="b"/>
                <a:pathLst>
                  <a:path w="18" h="17">
                    <a:moveTo>
                      <a:pt x="18" y="8"/>
                    </a:moveTo>
                    <a:cubicBezTo>
                      <a:pt x="18" y="12"/>
                      <a:pt x="16" y="15"/>
                      <a:pt x="13" y="16"/>
                    </a:cubicBezTo>
                    <a:cubicBezTo>
                      <a:pt x="12" y="17"/>
                      <a:pt x="11" y="17"/>
                      <a:pt x="10" y="17"/>
                    </a:cubicBezTo>
                    <a:cubicBezTo>
                      <a:pt x="6" y="17"/>
                      <a:pt x="3" y="15"/>
                      <a:pt x="2" y="1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8" y="6"/>
                      <a:pt x="18" y="7"/>
                      <a:pt x="18" y="8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iŝľïdé">
                <a:extLst>
                  <a:ext uri="{FF2B5EF4-FFF2-40B4-BE49-F238E27FC236}">
                    <a16:creationId xmlns:a16="http://schemas.microsoft.com/office/drawing/2014/main" id="{89AFE587-E604-4309-9281-45FAF46BC186}"/>
                  </a:ext>
                </a:extLst>
              </p:cNvPr>
              <p:cNvSpPr/>
              <p:nvPr/>
            </p:nvSpPr>
            <p:spPr bwMode="auto">
              <a:xfrm>
                <a:off x="4830496" y="3109324"/>
                <a:ext cx="262070" cy="247122"/>
              </a:xfrm>
              <a:custGeom>
                <a:avLst/>
                <a:gdLst/>
                <a:ahLst/>
                <a:cxnLst>
                  <a:cxn ang="0">
                    <a:pos x="18" y="5"/>
                  </a:cxn>
                  <a:cxn ang="0">
                    <a:pos x="16" y="10"/>
                  </a:cxn>
                  <a:cxn ang="0">
                    <a:pos x="5" y="15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18" y="5"/>
                  </a:cxn>
                </a:cxnLst>
                <a:rect l="0" t="0" r="r" b="b"/>
                <a:pathLst>
                  <a:path w="18" h="17">
                    <a:moveTo>
                      <a:pt x="18" y="5"/>
                    </a:moveTo>
                    <a:cubicBezTo>
                      <a:pt x="16" y="10"/>
                      <a:pt x="16" y="10"/>
                      <a:pt x="16" y="10"/>
                    </a:cubicBezTo>
                    <a:cubicBezTo>
                      <a:pt x="15" y="14"/>
                      <a:pt x="10" y="17"/>
                      <a:pt x="5" y="15"/>
                    </a:cubicBezTo>
                    <a:cubicBezTo>
                      <a:pt x="2" y="14"/>
                      <a:pt x="0" y="11"/>
                      <a:pt x="0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18" y="5"/>
                    </a:ln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îşļíḋê">
                <a:extLst>
                  <a:ext uri="{FF2B5EF4-FFF2-40B4-BE49-F238E27FC236}">
                    <a16:creationId xmlns:a16="http://schemas.microsoft.com/office/drawing/2014/main" id="{81D2A71D-EA58-40E0-9551-94A092A5EA20}"/>
                  </a:ext>
                </a:extLst>
              </p:cNvPr>
              <p:cNvSpPr/>
              <p:nvPr/>
            </p:nvSpPr>
            <p:spPr bwMode="auto">
              <a:xfrm>
                <a:off x="3710097" y="2119963"/>
                <a:ext cx="1513506" cy="2647093"/>
              </a:xfrm>
              <a:custGeom>
                <a:avLst/>
                <a:gdLst/>
                <a:ahLst/>
                <a:cxnLst>
                  <a:cxn ang="0">
                    <a:pos x="104" y="45"/>
                  </a:cxn>
                  <a:cxn ang="0">
                    <a:pos x="95" y="73"/>
                  </a:cxn>
                  <a:cxn ang="0">
                    <a:pos x="79" y="68"/>
                  </a:cxn>
                  <a:cxn ang="0">
                    <a:pos x="87" y="43"/>
                  </a:cxn>
                  <a:cxn ang="0">
                    <a:pos x="80" y="29"/>
                  </a:cxn>
                  <a:cxn ang="0">
                    <a:pos x="74" y="68"/>
                  </a:cxn>
                  <a:cxn ang="0">
                    <a:pos x="76" y="75"/>
                  </a:cxn>
                  <a:cxn ang="0">
                    <a:pos x="94" y="171"/>
                  </a:cxn>
                  <a:cxn ang="0">
                    <a:pos x="88" y="181"/>
                  </a:cxn>
                  <a:cxn ang="0">
                    <a:pos x="86" y="181"/>
                  </a:cxn>
                  <a:cxn ang="0">
                    <a:pos x="78" y="174"/>
                  </a:cxn>
                  <a:cxn ang="0">
                    <a:pos x="77" y="173"/>
                  </a:cxn>
                  <a:cxn ang="0">
                    <a:pos x="53" y="85"/>
                  </a:cxn>
                  <a:cxn ang="0">
                    <a:pos x="32" y="173"/>
                  </a:cxn>
                  <a:cxn ang="0">
                    <a:pos x="31" y="174"/>
                  </a:cxn>
                  <a:cxn ang="0">
                    <a:pos x="22" y="181"/>
                  </a:cxn>
                  <a:cxn ang="0">
                    <a:pos x="15" y="172"/>
                  </a:cxn>
                  <a:cxn ang="0">
                    <a:pos x="30" y="75"/>
                  </a:cxn>
                  <a:cxn ang="0">
                    <a:pos x="32" y="66"/>
                  </a:cxn>
                  <a:cxn ang="0">
                    <a:pos x="26" y="27"/>
                  </a:cxn>
                  <a:cxn ang="0">
                    <a:pos x="18" y="42"/>
                  </a:cxn>
                  <a:cxn ang="0">
                    <a:pos x="27" y="67"/>
                  </a:cxn>
                  <a:cxn ang="0">
                    <a:pos x="12" y="73"/>
                  </a:cxn>
                  <a:cxn ang="0">
                    <a:pos x="1" y="45"/>
                  </a:cxn>
                  <a:cxn ang="0">
                    <a:pos x="1" y="38"/>
                  </a:cxn>
                  <a:cxn ang="0">
                    <a:pos x="18" y="5"/>
                  </a:cxn>
                  <a:cxn ang="0">
                    <a:pos x="26" y="0"/>
                  </a:cxn>
                  <a:cxn ang="0">
                    <a:pos x="80" y="0"/>
                  </a:cxn>
                  <a:cxn ang="0">
                    <a:pos x="88" y="5"/>
                  </a:cxn>
                  <a:cxn ang="0">
                    <a:pos x="103" y="38"/>
                  </a:cxn>
                  <a:cxn ang="0">
                    <a:pos x="104" y="45"/>
                  </a:cxn>
                </a:cxnLst>
                <a:rect l="0" t="0" r="r" b="b"/>
                <a:pathLst>
                  <a:path w="104" h="182">
                    <a:moveTo>
                      <a:pt x="104" y="45"/>
                    </a:moveTo>
                    <a:cubicBezTo>
                      <a:pt x="95" y="73"/>
                      <a:pt x="95" y="73"/>
                      <a:pt x="95" y="73"/>
                    </a:cubicBezTo>
                    <a:cubicBezTo>
                      <a:pt x="79" y="68"/>
                      <a:pt x="79" y="68"/>
                      <a:pt x="79" y="68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29"/>
                      <a:pt x="80" y="29"/>
                      <a:pt x="80" y="29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94" y="171"/>
                      <a:pt x="94" y="171"/>
                      <a:pt x="94" y="171"/>
                    </a:cubicBezTo>
                    <a:cubicBezTo>
                      <a:pt x="95" y="176"/>
                      <a:pt x="92" y="180"/>
                      <a:pt x="88" y="181"/>
                    </a:cubicBezTo>
                    <a:cubicBezTo>
                      <a:pt x="87" y="181"/>
                      <a:pt x="86" y="181"/>
                      <a:pt x="86" y="181"/>
                    </a:cubicBezTo>
                    <a:cubicBezTo>
                      <a:pt x="82" y="181"/>
                      <a:pt x="78" y="179"/>
                      <a:pt x="78" y="174"/>
                    </a:cubicBezTo>
                    <a:cubicBezTo>
                      <a:pt x="77" y="173"/>
                      <a:pt x="77" y="173"/>
                      <a:pt x="77" y="173"/>
                    </a:cubicBezTo>
                    <a:cubicBezTo>
                      <a:pt x="53" y="85"/>
                      <a:pt x="53" y="85"/>
                      <a:pt x="53" y="85"/>
                    </a:cubicBezTo>
                    <a:cubicBezTo>
                      <a:pt x="32" y="173"/>
                      <a:pt x="32" y="173"/>
                      <a:pt x="32" y="173"/>
                    </a:cubicBezTo>
                    <a:cubicBezTo>
                      <a:pt x="31" y="174"/>
                      <a:pt x="31" y="174"/>
                      <a:pt x="31" y="174"/>
                    </a:cubicBezTo>
                    <a:cubicBezTo>
                      <a:pt x="31" y="179"/>
                      <a:pt x="26" y="182"/>
                      <a:pt x="22" y="181"/>
                    </a:cubicBezTo>
                    <a:cubicBezTo>
                      <a:pt x="17" y="180"/>
                      <a:pt x="14" y="176"/>
                      <a:pt x="15" y="172"/>
                    </a:cubicBezTo>
                    <a:cubicBezTo>
                      <a:pt x="30" y="75"/>
                      <a:pt x="30" y="75"/>
                      <a:pt x="30" y="75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12" y="73"/>
                      <a:pt x="12" y="73"/>
                      <a:pt x="12" y="73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43"/>
                      <a:pt x="0" y="40"/>
                      <a:pt x="1" y="38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9" y="2"/>
                      <a:pt x="22" y="0"/>
                      <a:pt x="26" y="0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4" y="0"/>
                      <a:pt x="87" y="2"/>
                      <a:pt x="88" y="5"/>
                    </a:cubicBezTo>
                    <a:cubicBezTo>
                      <a:pt x="103" y="38"/>
                      <a:pt x="103" y="38"/>
                      <a:pt x="103" y="38"/>
                    </a:cubicBezTo>
                    <a:cubicBezTo>
                      <a:pt x="104" y="40"/>
                      <a:pt x="104" y="43"/>
                      <a:pt x="104" y="45"/>
                    </a:cubicBez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íśḷíḋe">
                <a:extLst>
                  <a:ext uri="{FF2B5EF4-FFF2-40B4-BE49-F238E27FC236}">
                    <a16:creationId xmlns:a16="http://schemas.microsoft.com/office/drawing/2014/main" id="{3F074520-AF06-462B-9695-128741850BD5}"/>
                  </a:ext>
                </a:extLst>
              </p:cNvPr>
              <p:cNvSpPr/>
              <p:nvPr/>
            </p:nvSpPr>
            <p:spPr bwMode="auto">
              <a:xfrm>
                <a:off x="4423317" y="2119963"/>
                <a:ext cx="131037" cy="407178"/>
              </a:xfrm>
              <a:custGeom>
                <a:avLst/>
                <a:gdLst/>
                <a:ahLst/>
                <a:cxnLst>
                  <a:cxn ang="0">
                    <a:pos x="149" y="281"/>
                  </a:cxn>
                  <a:cxn ang="0">
                    <a:pos x="149" y="281"/>
                  </a:cxn>
                  <a:cxn ang="0">
                    <a:pos x="66" y="463"/>
                  </a:cxn>
                  <a:cxn ang="0">
                    <a:pos x="0" y="281"/>
                  </a:cxn>
                  <a:cxn ang="0">
                    <a:pos x="33" y="66"/>
                  </a:cxn>
                  <a:cxn ang="0">
                    <a:pos x="0" y="0"/>
                  </a:cxn>
                  <a:cxn ang="0">
                    <a:pos x="132" y="0"/>
                  </a:cxn>
                  <a:cxn ang="0">
                    <a:pos x="116" y="66"/>
                  </a:cxn>
                  <a:cxn ang="0">
                    <a:pos x="149" y="281"/>
                  </a:cxn>
                </a:cxnLst>
                <a:rect l="0" t="0" r="r" b="b"/>
                <a:pathLst>
                  <a:path w="149" h="463">
                    <a:moveTo>
                      <a:pt x="149" y="281"/>
                    </a:moveTo>
                    <a:lnTo>
                      <a:pt x="149" y="281"/>
                    </a:lnTo>
                    <a:lnTo>
                      <a:pt x="66" y="463"/>
                    </a:lnTo>
                    <a:lnTo>
                      <a:pt x="0" y="281"/>
                    </a:lnTo>
                    <a:lnTo>
                      <a:pt x="33" y="66"/>
                    </a:lnTo>
                    <a:lnTo>
                      <a:pt x="0" y="0"/>
                    </a:lnTo>
                    <a:lnTo>
                      <a:pt x="132" y="0"/>
                    </a:lnTo>
                    <a:lnTo>
                      <a:pt x="116" y="66"/>
                    </a:lnTo>
                    <a:lnTo>
                      <a:pt x="149" y="281"/>
                    </a:lnTo>
                    <a:close/>
                  </a:path>
                </a:pathLst>
              </a:custGeom>
              <a:solidFill>
                <a:srgbClr val="00A0C6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iŝ1ïdê">
                <a:extLst>
                  <a:ext uri="{FF2B5EF4-FFF2-40B4-BE49-F238E27FC236}">
                    <a16:creationId xmlns:a16="http://schemas.microsoft.com/office/drawing/2014/main" id="{C82B6F31-A673-44BD-8335-BDDE92544FB7}"/>
                  </a:ext>
                </a:extLst>
              </p:cNvPr>
              <p:cNvSpPr/>
              <p:nvPr/>
            </p:nvSpPr>
            <p:spPr bwMode="auto">
              <a:xfrm>
                <a:off x="4321304" y="2119963"/>
                <a:ext cx="131037" cy="247122"/>
              </a:xfrm>
              <a:custGeom>
                <a:avLst/>
                <a:gdLst/>
                <a:ahLst/>
                <a:cxnLst>
                  <a:cxn ang="0">
                    <a:pos x="149" y="66"/>
                  </a:cxn>
                  <a:cxn ang="0">
                    <a:pos x="116" y="281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49" y="66"/>
                  </a:cxn>
                </a:cxnLst>
                <a:rect l="0" t="0" r="r" b="b"/>
                <a:pathLst>
                  <a:path w="149" h="281">
                    <a:moveTo>
                      <a:pt x="149" y="66"/>
                    </a:moveTo>
                    <a:lnTo>
                      <a:pt x="116" y="281"/>
                    </a:lnTo>
                    <a:lnTo>
                      <a:pt x="0" y="0"/>
                    </a:lnTo>
                    <a:lnTo>
                      <a:pt x="116" y="0"/>
                    </a:lnTo>
                    <a:lnTo>
                      <a:pt x="149" y="6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iṧļiḓe">
                <a:extLst>
                  <a:ext uri="{FF2B5EF4-FFF2-40B4-BE49-F238E27FC236}">
                    <a16:creationId xmlns:a16="http://schemas.microsoft.com/office/drawing/2014/main" id="{7156A1E1-804E-4C1D-B8A6-9BEC9DC87523}"/>
                  </a:ext>
                </a:extLst>
              </p:cNvPr>
              <p:cNvSpPr/>
              <p:nvPr/>
            </p:nvSpPr>
            <p:spPr bwMode="auto">
              <a:xfrm>
                <a:off x="4525331" y="2119963"/>
                <a:ext cx="116085" cy="247122"/>
              </a:xfrm>
              <a:custGeom>
                <a:avLst/>
                <a:gdLst/>
                <a:ahLst/>
                <a:cxnLst>
                  <a:cxn ang="0">
                    <a:pos x="132" y="0"/>
                  </a:cxn>
                  <a:cxn ang="0">
                    <a:pos x="33" y="281"/>
                  </a:cxn>
                  <a:cxn ang="0">
                    <a:pos x="0" y="66"/>
                  </a:cxn>
                  <a:cxn ang="0">
                    <a:pos x="16" y="0"/>
                  </a:cxn>
                  <a:cxn ang="0">
                    <a:pos x="132" y="0"/>
                  </a:cxn>
                </a:cxnLst>
                <a:rect l="0" t="0" r="r" b="b"/>
                <a:pathLst>
                  <a:path w="132" h="281">
                    <a:moveTo>
                      <a:pt x="132" y="0"/>
                    </a:moveTo>
                    <a:lnTo>
                      <a:pt x="33" y="281"/>
                    </a:lnTo>
                    <a:lnTo>
                      <a:pt x="0" y="66"/>
                    </a:lnTo>
                    <a:lnTo>
                      <a:pt x="16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ïṧļïdè">
                <a:extLst>
                  <a:ext uri="{FF2B5EF4-FFF2-40B4-BE49-F238E27FC236}">
                    <a16:creationId xmlns:a16="http://schemas.microsoft.com/office/drawing/2014/main" id="{5D1094A9-4BA2-4E6A-9782-A5B1D122B186}"/>
                  </a:ext>
                </a:extLst>
              </p:cNvPr>
              <p:cNvSpPr/>
              <p:nvPr/>
            </p:nvSpPr>
            <p:spPr bwMode="auto">
              <a:xfrm>
                <a:off x="7492538" y="1959907"/>
                <a:ext cx="422127" cy="436197"/>
              </a:xfrm>
              <a:prstGeom prst="ellipse">
                <a:avLst/>
              </a:pr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ïś1îďe">
                <a:extLst>
                  <a:ext uri="{FF2B5EF4-FFF2-40B4-BE49-F238E27FC236}">
                    <a16:creationId xmlns:a16="http://schemas.microsoft.com/office/drawing/2014/main" id="{1BFDB43C-D4DF-41F2-B561-9F253C0274AC}"/>
                  </a:ext>
                </a:extLst>
              </p:cNvPr>
              <p:cNvSpPr/>
              <p:nvPr/>
            </p:nvSpPr>
            <p:spPr bwMode="auto">
              <a:xfrm>
                <a:off x="7128453" y="3385469"/>
                <a:ext cx="247999" cy="232170"/>
              </a:xfrm>
              <a:custGeom>
                <a:avLst/>
                <a:gdLst/>
                <a:ahLst/>
                <a:cxnLst>
                  <a:cxn ang="0">
                    <a:pos x="17" y="8"/>
                  </a:cxn>
                  <a:cxn ang="0">
                    <a:pos x="12" y="15"/>
                  </a:cxn>
                  <a:cxn ang="0">
                    <a:pos x="9" y="16"/>
                  </a:cxn>
                  <a:cxn ang="0">
                    <a:pos x="2" y="11"/>
                  </a:cxn>
                  <a:cxn ang="0">
                    <a:pos x="0" y="6"/>
                  </a:cxn>
                  <a:cxn ang="0">
                    <a:pos x="15" y="0"/>
                  </a:cxn>
                  <a:cxn ang="0">
                    <a:pos x="17" y="5"/>
                  </a:cxn>
                  <a:cxn ang="0">
                    <a:pos x="17" y="8"/>
                  </a:cxn>
                </a:cxnLst>
                <a:rect l="0" t="0" r="r" b="b"/>
                <a:pathLst>
                  <a:path w="17" h="16">
                    <a:moveTo>
                      <a:pt x="17" y="8"/>
                    </a:moveTo>
                    <a:cubicBezTo>
                      <a:pt x="17" y="11"/>
                      <a:pt x="15" y="14"/>
                      <a:pt x="12" y="15"/>
                    </a:cubicBezTo>
                    <a:cubicBezTo>
                      <a:pt x="11" y="16"/>
                      <a:pt x="10" y="16"/>
                      <a:pt x="9" y="16"/>
                    </a:cubicBezTo>
                    <a:cubicBezTo>
                      <a:pt x="6" y="16"/>
                      <a:pt x="3" y="14"/>
                      <a:pt x="2" y="1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6"/>
                      <a:pt x="17" y="7"/>
                      <a:pt x="17" y="8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ïṩlïḑê">
                <a:extLst>
                  <a:ext uri="{FF2B5EF4-FFF2-40B4-BE49-F238E27FC236}">
                    <a16:creationId xmlns:a16="http://schemas.microsoft.com/office/drawing/2014/main" id="{CDE13B2C-BDE7-49F1-BF60-1117E8E157D4}"/>
                  </a:ext>
                </a:extLst>
              </p:cNvPr>
              <p:cNvSpPr/>
              <p:nvPr/>
            </p:nvSpPr>
            <p:spPr bwMode="auto">
              <a:xfrm>
                <a:off x="8030749" y="3399540"/>
                <a:ext cx="247122" cy="233051"/>
              </a:xfrm>
              <a:custGeom>
                <a:avLst/>
                <a:gdLst/>
                <a:ahLst/>
                <a:cxnLst>
                  <a:cxn ang="0">
                    <a:pos x="17" y="5"/>
                  </a:cxn>
                  <a:cxn ang="0">
                    <a:pos x="16" y="9"/>
                  </a:cxn>
                  <a:cxn ang="0">
                    <a:pos x="6" y="15"/>
                  </a:cxn>
                  <a:cxn ang="0">
                    <a:pos x="0" y="7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17" y="5"/>
                  </a:cxn>
                </a:cxnLst>
                <a:rect l="0" t="0" r="r" b="b"/>
                <a:pathLst>
                  <a:path w="17" h="16">
                    <a:moveTo>
                      <a:pt x="17" y="5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4" y="14"/>
                      <a:pt x="10" y="16"/>
                      <a:pt x="6" y="15"/>
                    </a:cubicBezTo>
                    <a:cubicBezTo>
                      <a:pt x="2" y="13"/>
                      <a:pt x="0" y="10"/>
                      <a:pt x="0" y="7"/>
                    </a:cubicBezTo>
                    <a:cubicBezTo>
                      <a:pt x="0" y="6"/>
                      <a:pt x="0" y="5"/>
                      <a:pt x="0" y="4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17" y="5"/>
                    </a:ln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iṥlîḍé">
                <a:extLst>
                  <a:ext uri="{FF2B5EF4-FFF2-40B4-BE49-F238E27FC236}">
                    <a16:creationId xmlns:a16="http://schemas.microsoft.com/office/drawing/2014/main" id="{F0BC012B-A8E2-4103-BE24-0CA2976B5B98}"/>
                  </a:ext>
                </a:extLst>
              </p:cNvPr>
              <p:cNvSpPr/>
              <p:nvPr/>
            </p:nvSpPr>
            <p:spPr bwMode="auto">
              <a:xfrm>
                <a:off x="6968397" y="2454150"/>
                <a:ext cx="1454582" cy="2531008"/>
              </a:xfrm>
              <a:custGeom>
                <a:avLst/>
                <a:gdLst/>
                <a:ahLst/>
                <a:cxnLst>
                  <a:cxn ang="0">
                    <a:pos x="99" y="42"/>
                  </a:cxn>
                  <a:cxn ang="0">
                    <a:pos x="90" y="70"/>
                  </a:cxn>
                  <a:cxn ang="0">
                    <a:pos x="75" y="65"/>
                  </a:cxn>
                  <a:cxn ang="0">
                    <a:pos x="83" y="40"/>
                  </a:cxn>
                  <a:cxn ang="0">
                    <a:pos x="77" y="27"/>
                  </a:cxn>
                  <a:cxn ang="0">
                    <a:pos x="71" y="64"/>
                  </a:cxn>
                  <a:cxn ang="0">
                    <a:pos x="72" y="72"/>
                  </a:cxn>
                  <a:cxn ang="0">
                    <a:pos x="90" y="164"/>
                  </a:cxn>
                  <a:cxn ang="0">
                    <a:pos x="84" y="173"/>
                  </a:cxn>
                  <a:cxn ang="0">
                    <a:pos x="82" y="174"/>
                  </a:cxn>
                  <a:cxn ang="0">
                    <a:pos x="74" y="167"/>
                  </a:cxn>
                  <a:cxn ang="0">
                    <a:pos x="74" y="165"/>
                  </a:cxn>
                  <a:cxn ang="0">
                    <a:pos x="50" y="81"/>
                  </a:cxn>
                  <a:cxn ang="0">
                    <a:pos x="30" y="165"/>
                  </a:cxn>
                  <a:cxn ang="0">
                    <a:pos x="30" y="167"/>
                  </a:cxn>
                  <a:cxn ang="0">
                    <a:pos x="20" y="173"/>
                  </a:cxn>
                  <a:cxn ang="0">
                    <a:pos x="14" y="164"/>
                  </a:cxn>
                  <a:cxn ang="0">
                    <a:pos x="28" y="72"/>
                  </a:cxn>
                  <a:cxn ang="0">
                    <a:pos x="30" y="63"/>
                  </a:cxn>
                  <a:cxn ang="0">
                    <a:pos x="24" y="25"/>
                  </a:cxn>
                  <a:cxn ang="0">
                    <a:pos x="17" y="40"/>
                  </a:cxn>
                  <a:cxn ang="0">
                    <a:pos x="26" y="64"/>
                  </a:cxn>
                  <a:cxn ang="0">
                    <a:pos x="11" y="70"/>
                  </a:cxn>
                  <a:cxn ang="0">
                    <a:pos x="0" y="42"/>
                  </a:cxn>
                  <a:cxn ang="0">
                    <a:pos x="1" y="36"/>
                  </a:cxn>
                  <a:cxn ang="0">
                    <a:pos x="17" y="4"/>
                  </a:cxn>
                  <a:cxn ang="0">
                    <a:pos x="24" y="0"/>
                  </a:cxn>
                  <a:cxn ang="0">
                    <a:pos x="77" y="0"/>
                  </a:cxn>
                  <a:cxn ang="0">
                    <a:pos x="84" y="4"/>
                  </a:cxn>
                  <a:cxn ang="0">
                    <a:pos x="99" y="36"/>
                  </a:cxn>
                  <a:cxn ang="0">
                    <a:pos x="99" y="42"/>
                  </a:cxn>
                </a:cxnLst>
                <a:rect l="0" t="0" r="r" b="b"/>
                <a:pathLst>
                  <a:path w="100" h="174">
                    <a:moveTo>
                      <a:pt x="99" y="42"/>
                    </a:moveTo>
                    <a:cubicBezTo>
                      <a:pt x="90" y="70"/>
                      <a:pt x="90" y="70"/>
                      <a:pt x="90" y="70"/>
                    </a:cubicBezTo>
                    <a:cubicBezTo>
                      <a:pt x="75" y="65"/>
                      <a:pt x="75" y="65"/>
                      <a:pt x="75" y="65"/>
                    </a:cubicBezTo>
                    <a:cubicBezTo>
                      <a:pt x="83" y="40"/>
                      <a:pt x="83" y="40"/>
                      <a:pt x="83" y="40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1" y="64"/>
                      <a:pt x="71" y="64"/>
                      <a:pt x="71" y="64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90" y="164"/>
                      <a:pt x="90" y="164"/>
                      <a:pt x="90" y="164"/>
                    </a:cubicBezTo>
                    <a:cubicBezTo>
                      <a:pt x="91" y="168"/>
                      <a:pt x="88" y="173"/>
                      <a:pt x="84" y="173"/>
                    </a:cubicBezTo>
                    <a:cubicBezTo>
                      <a:pt x="83" y="173"/>
                      <a:pt x="82" y="174"/>
                      <a:pt x="82" y="174"/>
                    </a:cubicBezTo>
                    <a:cubicBezTo>
                      <a:pt x="78" y="174"/>
                      <a:pt x="75" y="171"/>
                      <a:pt x="74" y="167"/>
                    </a:cubicBezTo>
                    <a:cubicBezTo>
                      <a:pt x="74" y="165"/>
                      <a:pt x="74" y="165"/>
                      <a:pt x="74" y="165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30" y="165"/>
                      <a:pt x="30" y="165"/>
                      <a:pt x="30" y="165"/>
                    </a:cubicBezTo>
                    <a:cubicBezTo>
                      <a:pt x="30" y="167"/>
                      <a:pt x="30" y="167"/>
                      <a:pt x="30" y="167"/>
                    </a:cubicBezTo>
                    <a:cubicBezTo>
                      <a:pt x="29" y="171"/>
                      <a:pt x="25" y="174"/>
                      <a:pt x="20" y="173"/>
                    </a:cubicBezTo>
                    <a:cubicBezTo>
                      <a:pt x="16" y="173"/>
                      <a:pt x="13" y="169"/>
                      <a:pt x="14" y="164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30" y="63"/>
                      <a:pt x="30" y="63"/>
                      <a:pt x="30" y="63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11" y="70"/>
                      <a:pt x="11" y="70"/>
                      <a:pt x="11" y="7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0"/>
                      <a:pt x="0" y="38"/>
                      <a:pt x="1" y="36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1"/>
                      <a:pt x="21" y="0"/>
                      <a:pt x="24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80" y="0"/>
                      <a:pt x="83" y="1"/>
                      <a:pt x="84" y="4"/>
                    </a:cubicBezTo>
                    <a:cubicBezTo>
                      <a:pt x="99" y="36"/>
                      <a:pt x="99" y="36"/>
                      <a:pt x="99" y="36"/>
                    </a:cubicBezTo>
                    <a:cubicBezTo>
                      <a:pt x="100" y="38"/>
                      <a:pt x="100" y="40"/>
                      <a:pt x="99" y="42"/>
                    </a:cubicBezTo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iṡļîḑè">
                <a:extLst>
                  <a:ext uri="{FF2B5EF4-FFF2-40B4-BE49-F238E27FC236}">
                    <a16:creationId xmlns:a16="http://schemas.microsoft.com/office/drawing/2014/main" id="{F0824025-F114-4A0C-A54A-60848C55F97B}"/>
                  </a:ext>
                </a:extLst>
              </p:cNvPr>
              <p:cNvSpPr/>
              <p:nvPr/>
            </p:nvSpPr>
            <p:spPr bwMode="auto">
              <a:xfrm>
                <a:off x="7637645" y="2454150"/>
                <a:ext cx="131037" cy="393107"/>
              </a:xfrm>
              <a:custGeom>
                <a:avLst/>
                <a:gdLst/>
                <a:ahLst/>
                <a:cxnLst>
                  <a:cxn ang="0">
                    <a:pos x="149" y="265"/>
                  </a:cxn>
                  <a:cxn ang="0">
                    <a:pos x="149" y="265"/>
                  </a:cxn>
                  <a:cxn ang="0">
                    <a:pos x="83" y="447"/>
                  </a:cxn>
                  <a:cxn ang="0">
                    <a:pos x="0" y="265"/>
                  </a:cxn>
                  <a:cxn ang="0">
                    <a:pos x="33" y="50"/>
                  </a:cxn>
                  <a:cxn ang="0">
                    <a:pos x="17" y="0"/>
                  </a:cxn>
                  <a:cxn ang="0">
                    <a:pos x="149" y="0"/>
                  </a:cxn>
                  <a:cxn ang="0">
                    <a:pos x="116" y="50"/>
                  </a:cxn>
                  <a:cxn ang="0">
                    <a:pos x="149" y="265"/>
                  </a:cxn>
                </a:cxnLst>
                <a:rect l="0" t="0" r="r" b="b"/>
                <a:pathLst>
                  <a:path w="149" h="447">
                    <a:moveTo>
                      <a:pt x="149" y="265"/>
                    </a:moveTo>
                    <a:lnTo>
                      <a:pt x="149" y="265"/>
                    </a:lnTo>
                    <a:lnTo>
                      <a:pt x="83" y="447"/>
                    </a:lnTo>
                    <a:lnTo>
                      <a:pt x="0" y="265"/>
                    </a:lnTo>
                    <a:lnTo>
                      <a:pt x="33" y="50"/>
                    </a:lnTo>
                    <a:lnTo>
                      <a:pt x="17" y="0"/>
                    </a:lnTo>
                    <a:lnTo>
                      <a:pt x="149" y="0"/>
                    </a:lnTo>
                    <a:lnTo>
                      <a:pt x="116" y="50"/>
                    </a:lnTo>
                    <a:lnTo>
                      <a:pt x="149" y="265"/>
                    </a:lnTo>
                    <a:close/>
                  </a:path>
                </a:pathLst>
              </a:custGeom>
              <a:solidFill>
                <a:srgbClr val="40A629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iŝlíḍè">
                <a:extLst>
                  <a:ext uri="{FF2B5EF4-FFF2-40B4-BE49-F238E27FC236}">
                    <a16:creationId xmlns:a16="http://schemas.microsoft.com/office/drawing/2014/main" id="{6B6C211D-BEA6-482F-AE4B-D72A00EDCE4A}"/>
                  </a:ext>
                </a:extLst>
              </p:cNvPr>
              <p:cNvSpPr/>
              <p:nvPr/>
            </p:nvSpPr>
            <p:spPr bwMode="auto">
              <a:xfrm>
                <a:off x="7550580" y="2454150"/>
                <a:ext cx="116085" cy="233051"/>
              </a:xfrm>
              <a:custGeom>
                <a:avLst/>
                <a:gdLst/>
                <a:ahLst/>
                <a:cxnLst>
                  <a:cxn ang="0">
                    <a:pos x="132" y="50"/>
                  </a:cxn>
                  <a:cxn ang="0">
                    <a:pos x="99" y="265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32" y="50"/>
                  </a:cxn>
                </a:cxnLst>
                <a:rect l="0" t="0" r="r" b="b"/>
                <a:pathLst>
                  <a:path w="132" h="265">
                    <a:moveTo>
                      <a:pt x="132" y="50"/>
                    </a:moveTo>
                    <a:lnTo>
                      <a:pt x="99" y="265"/>
                    </a:lnTo>
                    <a:lnTo>
                      <a:pt x="0" y="0"/>
                    </a:lnTo>
                    <a:lnTo>
                      <a:pt x="116" y="0"/>
                    </a:lnTo>
                    <a:lnTo>
                      <a:pt x="132" y="5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íṡlíḋê">
                <a:extLst>
                  <a:ext uri="{FF2B5EF4-FFF2-40B4-BE49-F238E27FC236}">
                    <a16:creationId xmlns:a16="http://schemas.microsoft.com/office/drawing/2014/main" id="{5D56D9BA-2725-4C59-8208-C6B40DCE8E5E}"/>
                  </a:ext>
                </a:extLst>
              </p:cNvPr>
              <p:cNvSpPr/>
              <p:nvPr/>
            </p:nvSpPr>
            <p:spPr bwMode="auto">
              <a:xfrm>
                <a:off x="7739659" y="2454150"/>
                <a:ext cx="116085" cy="233051"/>
              </a:xfrm>
              <a:custGeom>
                <a:avLst/>
                <a:gdLst/>
                <a:ahLst/>
                <a:cxnLst>
                  <a:cxn ang="0">
                    <a:pos x="132" y="0"/>
                  </a:cxn>
                  <a:cxn ang="0">
                    <a:pos x="33" y="265"/>
                  </a:cxn>
                  <a:cxn ang="0">
                    <a:pos x="0" y="50"/>
                  </a:cxn>
                  <a:cxn ang="0">
                    <a:pos x="33" y="0"/>
                  </a:cxn>
                  <a:cxn ang="0">
                    <a:pos x="132" y="0"/>
                  </a:cxn>
                </a:cxnLst>
                <a:rect l="0" t="0" r="r" b="b"/>
                <a:pathLst>
                  <a:path w="132" h="265">
                    <a:moveTo>
                      <a:pt x="132" y="0"/>
                    </a:moveTo>
                    <a:lnTo>
                      <a:pt x="33" y="265"/>
                    </a:lnTo>
                    <a:lnTo>
                      <a:pt x="0" y="50"/>
                    </a:lnTo>
                    <a:lnTo>
                      <a:pt x="33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ïṥḷiďé">
                <a:extLst>
                  <a:ext uri="{FF2B5EF4-FFF2-40B4-BE49-F238E27FC236}">
                    <a16:creationId xmlns:a16="http://schemas.microsoft.com/office/drawing/2014/main" id="{ACEF8326-E85C-4181-9303-48BF75C5559D}"/>
                  </a:ext>
                </a:extLst>
              </p:cNvPr>
              <p:cNvSpPr/>
              <p:nvPr/>
            </p:nvSpPr>
            <p:spPr bwMode="auto">
              <a:xfrm>
                <a:off x="7114382" y="1116531"/>
                <a:ext cx="291093" cy="276141"/>
              </a:xfrm>
              <a:custGeom>
                <a:avLst/>
                <a:gdLst/>
                <a:ahLst/>
                <a:cxnLst>
                  <a:cxn ang="0">
                    <a:pos x="18" y="14"/>
                  </a:cxn>
                  <a:cxn ang="0">
                    <a:pos x="15" y="19"/>
                  </a:cxn>
                  <a:cxn ang="0">
                    <a:pos x="0" y="11"/>
                  </a:cxn>
                  <a:cxn ang="0">
                    <a:pos x="3" y="6"/>
                  </a:cxn>
                  <a:cxn ang="0">
                    <a:pos x="14" y="2"/>
                  </a:cxn>
                  <a:cxn ang="0">
                    <a:pos x="18" y="14"/>
                  </a:cxn>
                </a:cxnLst>
                <a:rect l="0" t="0" r="r" b="b"/>
                <a:pathLst>
                  <a:path w="20" h="19">
                    <a:moveTo>
                      <a:pt x="18" y="14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2"/>
                      <a:pt x="10" y="0"/>
                      <a:pt x="14" y="2"/>
                    </a:cubicBezTo>
                    <a:cubicBezTo>
                      <a:pt x="19" y="5"/>
                      <a:pt x="20" y="10"/>
                      <a:pt x="18" y="14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îślîďe">
                <a:extLst>
                  <a:ext uri="{FF2B5EF4-FFF2-40B4-BE49-F238E27FC236}">
                    <a16:creationId xmlns:a16="http://schemas.microsoft.com/office/drawing/2014/main" id="{EF9BF613-77DA-4E5E-B4CF-07B2B6929558}"/>
                  </a:ext>
                </a:extLst>
              </p:cNvPr>
              <p:cNvSpPr/>
              <p:nvPr/>
            </p:nvSpPr>
            <p:spPr bwMode="auto">
              <a:xfrm>
                <a:off x="5281645" y="4475963"/>
                <a:ext cx="1628709" cy="1265502"/>
              </a:xfrm>
              <a:prstGeom prst="rect">
                <a:avLst/>
              </a:prstGeom>
              <a:solidFill>
                <a:srgbClr val="FEA6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ï$ľïďê">
                <a:extLst>
                  <a:ext uri="{FF2B5EF4-FFF2-40B4-BE49-F238E27FC236}">
                    <a16:creationId xmlns:a16="http://schemas.microsoft.com/office/drawing/2014/main" id="{BFDCC57A-2B2A-4AFF-B4C6-459162AD631A}"/>
                  </a:ext>
                </a:extLst>
              </p:cNvPr>
              <p:cNvSpPr/>
              <p:nvPr/>
            </p:nvSpPr>
            <p:spPr bwMode="auto">
              <a:xfrm>
                <a:off x="5281645" y="4475963"/>
                <a:ext cx="1628709" cy="12655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ïṡḷïḍe">
                <a:extLst>
                  <a:ext uri="{FF2B5EF4-FFF2-40B4-BE49-F238E27FC236}">
                    <a16:creationId xmlns:a16="http://schemas.microsoft.com/office/drawing/2014/main" id="{0D6E47C6-54F5-4FC6-B529-2CA4BA1F7310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1629590" cy="800286"/>
              </a:xfrm>
              <a:prstGeom prst="rect">
                <a:avLst/>
              </a:prstGeom>
              <a:solidFill>
                <a:srgbClr val="FEA6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ïṥ1îḑe">
                <a:extLst>
                  <a:ext uri="{FF2B5EF4-FFF2-40B4-BE49-F238E27FC236}">
                    <a16:creationId xmlns:a16="http://schemas.microsoft.com/office/drawing/2014/main" id="{EC3172F7-0000-441D-81E4-7D501FBC293F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1629590" cy="800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îṧlíḓê">
                <a:extLst>
                  <a:ext uri="{FF2B5EF4-FFF2-40B4-BE49-F238E27FC236}">
                    <a16:creationId xmlns:a16="http://schemas.microsoft.com/office/drawing/2014/main" id="{26872769-CC81-47B7-80F7-9E9BA6DDD008}"/>
                  </a:ext>
                </a:extLst>
              </p:cNvPr>
              <p:cNvSpPr/>
              <p:nvPr/>
            </p:nvSpPr>
            <p:spPr bwMode="auto">
              <a:xfrm>
                <a:off x="3652055" y="4723085"/>
                <a:ext cx="1629590" cy="1018384"/>
              </a:xfrm>
              <a:prstGeom prst="rect">
                <a:avLst/>
              </a:prstGeom>
              <a:solidFill>
                <a:srgbClr val="FEA6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ïSľidè">
                <a:extLst>
                  <a:ext uri="{FF2B5EF4-FFF2-40B4-BE49-F238E27FC236}">
                    <a16:creationId xmlns:a16="http://schemas.microsoft.com/office/drawing/2014/main" id="{B93C2DF4-450F-4089-8F7F-3EBC76AC0C35}"/>
                  </a:ext>
                </a:extLst>
              </p:cNvPr>
              <p:cNvSpPr/>
              <p:nvPr/>
            </p:nvSpPr>
            <p:spPr bwMode="auto">
              <a:xfrm>
                <a:off x="3652055" y="4723085"/>
                <a:ext cx="1629590" cy="10183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iṥḷïḍe">
                <a:extLst>
                  <a:ext uri="{FF2B5EF4-FFF2-40B4-BE49-F238E27FC236}">
                    <a16:creationId xmlns:a16="http://schemas.microsoft.com/office/drawing/2014/main" id="{3A3C1365-F1B1-4E6C-88E2-136BC9CDAF71}"/>
                  </a:ext>
                </a:extLst>
              </p:cNvPr>
              <p:cNvSpPr/>
              <p:nvPr/>
            </p:nvSpPr>
            <p:spPr bwMode="auto">
              <a:xfrm>
                <a:off x="5979913" y="4825099"/>
                <a:ext cx="160056" cy="582183"/>
              </a:xfrm>
              <a:custGeom>
                <a:avLst/>
                <a:gdLst/>
                <a:ahLst/>
                <a:cxnLst>
                  <a:cxn ang="0">
                    <a:pos x="5" y="40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0" y="5"/>
                  </a:cxn>
                  <a:cxn ang="0">
                    <a:pos x="4" y="3"/>
                  </a:cxn>
                  <a:cxn ang="0">
                    <a:pos x="7" y="0"/>
                  </a:cxn>
                  <a:cxn ang="0">
                    <a:pos x="11" y="0"/>
                  </a:cxn>
                  <a:cxn ang="0">
                    <a:pos x="11" y="40"/>
                  </a:cxn>
                  <a:cxn ang="0">
                    <a:pos x="5" y="40"/>
                  </a:cxn>
                </a:cxnLst>
                <a:rect l="0" t="0" r="r" b="b"/>
                <a:pathLst>
                  <a:path w="11" h="40">
                    <a:moveTo>
                      <a:pt x="5" y="4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5"/>
                      <a:pt x="3" y="4"/>
                      <a:pt x="4" y="3"/>
                    </a:cubicBezTo>
                    <a:cubicBezTo>
                      <a:pt x="6" y="2"/>
                      <a:pt x="7" y="1"/>
                      <a:pt x="7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40"/>
                      <a:pt x="11" y="40"/>
                      <a:pt x="11" y="40"/>
                    </a:cubicBezTo>
                    <a:lnTo>
                      <a:pt x="5" y="40"/>
                    </a:lnTo>
                    <a:close/>
                  </a:path>
                </a:pathLst>
              </a:custGeom>
              <a:solidFill>
                <a:srgbClr val="FFE61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iṩľíḑê">
                <a:extLst>
                  <a:ext uri="{FF2B5EF4-FFF2-40B4-BE49-F238E27FC236}">
                    <a16:creationId xmlns:a16="http://schemas.microsoft.com/office/drawing/2014/main" id="{7818B0F0-D9A8-42BE-9FBE-97E769936C34}"/>
                  </a:ext>
                </a:extLst>
              </p:cNvPr>
              <p:cNvSpPr/>
              <p:nvPr/>
            </p:nvSpPr>
            <p:spPr bwMode="auto">
              <a:xfrm>
                <a:off x="4321304" y="4941183"/>
                <a:ext cx="291093" cy="582183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2"/>
                  </a:cxn>
                  <a:cxn ang="0">
                    <a:pos x="10" y="0"/>
                  </a:cxn>
                  <a:cxn ang="0">
                    <a:pos x="17" y="3"/>
                  </a:cxn>
                  <a:cxn ang="0">
                    <a:pos x="20" y="10"/>
                  </a:cxn>
                  <a:cxn ang="0">
                    <a:pos x="18" y="18"/>
                  </a:cxn>
                  <a:cxn ang="0">
                    <a:pos x="14" y="25"/>
                  </a:cxn>
                  <a:cxn ang="0">
                    <a:pos x="11" y="30"/>
                  </a:cxn>
                  <a:cxn ang="0">
                    <a:pos x="10" y="31"/>
                  </a:cxn>
                  <a:cxn ang="0">
                    <a:pos x="8" y="34"/>
                  </a:cxn>
                  <a:cxn ang="0">
                    <a:pos x="8" y="34"/>
                  </a:cxn>
                  <a:cxn ang="0">
                    <a:pos x="20" y="34"/>
                  </a:cxn>
                  <a:cxn ang="0">
                    <a:pos x="20" y="40"/>
                  </a:cxn>
                  <a:cxn ang="0">
                    <a:pos x="0" y="40"/>
                  </a:cxn>
                  <a:cxn ang="0">
                    <a:pos x="0" y="35"/>
                  </a:cxn>
                  <a:cxn ang="0">
                    <a:pos x="2" y="33"/>
                  </a:cxn>
                  <a:cxn ang="0">
                    <a:pos x="3" y="30"/>
                  </a:cxn>
                  <a:cxn ang="0">
                    <a:pos x="5" y="28"/>
                  </a:cxn>
                  <a:cxn ang="0">
                    <a:pos x="9" y="22"/>
                  </a:cxn>
                  <a:cxn ang="0">
                    <a:pos x="13" y="15"/>
                  </a:cxn>
                  <a:cxn ang="0">
                    <a:pos x="14" y="10"/>
                  </a:cxn>
                  <a:cxn ang="0">
                    <a:pos x="13" y="7"/>
                  </a:cxn>
                  <a:cxn ang="0">
                    <a:pos x="10" y="5"/>
                  </a:cxn>
                  <a:cxn ang="0">
                    <a:pos x="7" y="8"/>
                  </a:cxn>
                  <a:cxn ang="0">
                    <a:pos x="6" y="11"/>
                  </a:cxn>
                  <a:cxn ang="0">
                    <a:pos x="6" y="12"/>
                  </a:cxn>
                  <a:cxn ang="0">
                    <a:pos x="0" y="12"/>
                  </a:cxn>
                  <a:cxn ang="0">
                    <a:pos x="0" y="11"/>
                  </a:cxn>
                </a:cxnLst>
                <a:rect l="0" t="0" r="r" b="b"/>
                <a:pathLst>
                  <a:path w="20" h="40">
                    <a:moveTo>
                      <a:pt x="0" y="11"/>
                    </a:moveTo>
                    <a:cubicBezTo>
                      <a:pt x="0" y="7"/>
                      <a:pt x="1" y="4"/>
                      <a:pt x="3" y="2"/>
                    </a:cubicBezTo>
                    <a:cubicBezTo>
                      <a:pt x="5" y="1"/>
                      <a:pt x="8" y="0"/>
                      <a:pt x="10" y="0"/>
                    </a:cubicBezTo>
                    <a:cubicBezTo>
                      <a:pt x="13" y="0"/>
                      <a:pt x="15" y="1"/>
                      <a:pt x="17" y="3"/>
                    </a:cubicBezTo>
                    <a:cubicBezTo>
                      <a:pt x="19" y="5"/>
                      <a:pt x="20" y="7"/>
                      <a:pt x="20" y="10"/>
                    </a:cubicBezTo>
                    <a:cubicBezTo>
                      <a:pt x="20" y="13"/>
                      <a:pt x="20" y="15"/>
                      <a:pt x="18" y="18"/>
                    </a:cubicBezTo>
                    <a:cubicBezTo>
                      <a:pt x="18" y="19"/>
                      <a:pt x="16" y="22"/>
                      <a:pt x="14" y="25"/>
                    </a:cubicBezTo>
                    <a:cubicBezTo>
                      <a:pt x="13" y="26"/>
                      <a:pt x="12" y="28"/>
                      <a:pt x="11" y="30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9" y="32"/>
                      <a:pt x="8" y="33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1" y="34"/>
                      <a:pt x="2" y="33"/>
                    </a:cubicBezTo>
                    <a:cubicBezTo>
                      <a:pt x="2" y="32"/>
                      <a:pt x="2" y="31"/>
                      <a:pt x="3" y="30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7"/>
                      <a:pt x="7" y="25"/>
                      <a:pt x="9" y="22"/>
                    </a:cubicBezTo>
                    <a:cubicBezTo>
                      <a:pt x="11" y="19"/>
                      <a:pt x="12" y="17"/>
                      <a:pt x="13" y="15"/>
                    </a:cubicBezTo>
                    <a:cubicBezTo>
                      <a:pt x="14" y="13"/>
                      <a:pt x="14" y="11"/>
                      <a:pt x="14" y="10"/>
                    </a:cubicBezTo>
                    <a:cubicBezTo>
                      <a:pt x="14" y="9"/>
                      <a:pt x="14" y="8"/>
                      <a:pt x="13" y="7"/>
                    </a:cubicBezTo>
                    <a:cubicBezTo>
                      <a:pt x="12" y="6"/>
                      <a:pt x="12" y="5"/>
                      <a:pt x="10" y="5"/>
                    </a:cubicBezTo>
                    <a:cubicBezTo>
                      <a:pt x="9" y="5"/>
                      <a:pt x="7" y="6"/>
                      <a:pt x="7" y="8"/>
                    </a:cubicBezTo>
                    <a:cubicBezTo>
                      <a:pt x="6" y="9"/>
                      <a:pt x="6" y="10"/>
                      <a:pt x="6" y="11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E61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islîdè">
                <a:extLst>
                  <a:ext uri="{FF2B5EF4-FFF2-40B4-BE49-F238E27FC236}">
                    <a16:creationId xmlns:a16="http://schemas.microsoft.com/office/drawing/2014/main" id="{778AA3EE-89BC-44A3-8F78-4E1D2465F368}"/>
                  </a:ext>
                </a:extLst>
              </p:cNvPr>
              <p:cNvSpPr/>
              <p:nvPr/>
            </p:nvSpPr>
            <p:spPr bwMode="auto">
              <a:xfrm>
                <a:off x="7550580" y="5043197"/>
                <a:ext cx="276141" cy="596254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13" y="31"/>
                  </a:cxn>
                  <a:cxn ang="0">
                    <a:pos x="13" y="29"/>
                  </a:cxn>
                  <a:cxn ang="0">
                    <a:pos x="7" y="23"/>
                  </a:cxn>
                  <a:cxn ang="0">
                    <a:pos x="7" y="17"/>
                  </a:cxn>
                  <a:cxn ang="0">
                    <a:pos x="12" y="16"/>
                  </a:cxn>
                  <a:cxn ang="0">
                    <a:pos x="14" y="11"/>
                  </a:cxn>
                  <a:cxn ang="0">
                    <a:pos x="14" y="10"/>
                  </a:cxn>
                  <a:cxn ang="0">
                    <a:pos x="10" y="6"/>
                  </a:cxn>
                  <a:cxn ang="0">
                    <a:pos x="7" y="7"/>
                  </a:cxn>
                  <a:cxn ang="0">
                    <a:pos x="7" y="10"/>
                  </a:cxn>
                  <a:cxn ang="0">
                    <a:pos x="7" y="11"/>
                  </a:cxn>
                  <a:cxn ang="0">
                    <a:pos x="1" y="11"/>
                  </a:cxn>
                  <a:cxn ang="0">
                    <a:pos x="1" y="10"/>
                  </a:cxn>
                  <a:cxn ang="0">
                    <a:pos x="3" y="3"/>
                  </a:cxn>
                  <a:cxn ang="0">
                    <a:pos x="10" y="0"/>
                  </a:cxn>
                  <a:cxn ang="0">
                    <a:pos x="17" y="3"/>
                  </a:cxn>
                  <a:cxn ang="0">
                    <a:pos x="19" y="10"/>
                  </a:cxn>
                  <a:cxn ang="0">
                    <a:pos x="19" y="11"/>
                  </a:cxn>
                  <a:cxn ang="0">
                    <a:pos x="17" y="18"/>
                  </a:cxn>
                  <a:cxn ang="0">
                    <a:pos x="14" y="20"/>
                  </a:cxn>
                  <a:cxn ang="0">
                    <a:pos x="19" y="24"/>
                  </a:cxn>
                  <a:cxn ang="0">
                    <a:pos x="19" y="28"/>
                  </a:cxn>
                  <a:cxn ang="0">
                    <a:pos x="19" y="31"/>
                  </a:cxn>
                  <a:cxn ang="0">
                    <a:pos x="16" y="38"/>
                  </a:cxn>
                  <a:cxn ang="0">
                    <a:pos x="9" y="41"/>
                  </a:cxn>
                  <a:cxn ang="0">
                    <a:pos x="3" y="38"/>
                  </a:cxn>
                  <a:cxn ang="0">
                    <a:pos x="0" y="32"/>
                  </a:cxn>
                  <a:cxn ang="0">
                    <a:pos x="0" y="31"/>
                  </a:cxn>
                  <a:cxn ang="0">
                    <a:pos x="6" y="30"/>
                  </a:cxn>
                  <a:cxn ang="0">
                    <a:pos x="6" y="32"/>
                  </a:cxn>
                  <a:cxn ang="0">
                    <a:pos x="7" y="34"/>
                  </a:cxn>
                  <a:cxn ang="0">
                    <a:pos x="9" y="35"/>
                  </a:cxn>
                </a:cxnLst>
                <a:rect l="0" t="0" r="r" b="b"/>
                <a:pathLst>
                  <a:path w="19" h="41">
                    <a:moveTo>
                      <a:pt x="9" y="35"/>
                    </a:moveTo>
                    <a:cubicBezTo>
                      <a:pt x="12" y="35"/>
                      <a:pt x="13" y="34"/>
                      <a:pt x="13" y="31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3" y="25"/>
                      <a:pt x="11" y="23"/>
                      <a:pt x="7" y="23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9" y="17"/>
                      <a:pt x="11" y="17"/>
                      <a:pt x="12" y="16"/>
                    </a:cubicBezTo>
                    <a:cubicBezTo>
                      <a:pt x="13" y="14"/>
                      <a:pt x="14" y="13"/>
                      <a:pt x="14" y="11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7"/>
                      <a:pt x="12" y="6"/>
                      <a:pt x="10" y="6"/>
                    </a:cubicBezTo>
                    <a:cubicBezTo>
                      <a:pt x="9" y="6"/>
                      <a:pt x="8" y="6"/>
                      <a:pt x="7" y="7"/>
                    </a:cubicBezTo>
                    <a:cubicBezTo>
                      <a:pt x="7" y="8"/>
                      <a:pt x="7" y="9"/>
                      <a:pt x="7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7"/>
                      <a:pt x="1" y="5"/>
                      <a:pt x="3" y="3"/>
                    </a:cubicBezTo>
                    <a:cubicBezTo>
                      <a:pt x="5" y="1"/>
                      <a:pt x="7" y="0"/>
                      <a:pt x="10" y="0"/>
                    </a:cubicBezTo>
                    <a:cubicBezTo>
                      <a:pt x="13" y="0"/>
                      <a:pt x="15" y="1"/>
                      <a:pt x="17" y="3"/>
                    </a:cubicBezTo>
                    <a:cubicBezTo>
                      <a:pt x="18" y="5"/>
                      <a:pt x="19" y="7"/>
                      <a:pt x="19" y="10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4"/>
                      <a:pt x="18" y="16"/>
                      <a:pt x="17" y="18"/>
                    </a:cubicBezTo>
                    <a:cubicBezTo>
                      <a:pt x="16" y="18"/>
                      <a:pt x="15" y="19"/>
                      <a:pt x="14" y="20"/>
                    </a:cubicBezTo>
                    <a:cubicBezTo>
                      <a:pt x="16" y="21"/>
                      <a:pt x="18" y="22"/>
                      <a:pt x="19" y="24"/>
                    </a:cubicBezTo>
                    <a:cubicBezTo>
                      <a:pt x="19" y="25"/>
                      <a:pt x="19" y="26"/>
                      <a:pt x="19" y="28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9" y="34"/>
                      <a:pt x="18" y="37"/>
                      <a:pt x="16" y="38"/>
                    </a:cubicBezTo>
                    <a:cubicBezTo>
                      <a:pt x="14" y="40"/>
                      <a:pt x="12" y="41"/>
                      <a:pt x="9" y="41"/>
                    </a:cubicBezTo>
                    <a:cubicBezTo>
                      <a:pt x="7" y="41"/>
                      <a:pt x="4" y="40"/>
                      <a:pt x="3" y="38"/>
                    </a:cubicBezTo>
                    <a:cubicBezTo>
                      <a:pt x="1" y="36"/>
                      <a:pt x="0" y="34"/>
                      <a:pt x="0" y="3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3"/>
                      <a:pt x="6" y="33"/>
                      <a:pt x="7" y="34"/>
                    </a:cubicBezTo>
                    <a:cubicBezTo>
                      <a:pt x="7" y="35"/>
                      <a:pt x="8" y="35"/>
                      <a:pt x="9" y="35"/>
                    </a:cubicBezTo>
                    <a:close/>
                  </a:path>
                </a:pathLst>
              </a:custGeom>
              <a:solidFill>
                <a:srgbClr val="FFE61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îṧḷiďe">
                <a:extLst>
                  <a:ext uri="{FF2B5EF4-FFF2-40B4-BE49-F238E27FC236}">
                    <a16:creationId xmlns:a16="http://schemas.microsoft.com/office/drawing/2014/main" id="{517957EA-DA98-4A7E-A912-66054E76BF34}"/>
                  </a:ext>
                </a:extLst>
              </p:cNvPr>
              <p:cNvSpPr/>
              <p:nvPr/>
            </p:nvSpPr>
            <p:spPr bwMode="auto">
              <a:xfrm>
                <a:off x="5077614" y="4723085"/>
                <a:ext cx="204028" cy="1018384"/>
              </a:xfrm>
              <a:custGeom>
                <a:avLst/>
                <a:gdLst/>
                <a:ahLst/>
                <a:cxnLst>
                  <a:cxn ang="0">
                    <a:pos x="232" y="0"/>
                  </a:cxn>
                  <a:cxn ang="0">
                    <a:pos x="232" y="0"/>
                  </a:cxn>
                  <a:cxn ang="0">
                    <a:pos x="0" y="0"/>
                  </a:cxn>
                  <a:cxn ang="0">
                    <a:pos x="0" y="1158"/>
                  </a:cxn>
                  <a:cxn ang="0">
                    <a:pos x="232" y="1158"/>
                  </a:cxn>
                  <a:cxn ang="0">
                    <a:pos x="232" y="0"/>
                  </a:cxn>
                </a:cxnLst>
                <a:rect l="0" t="0" r="r" b="b"/>
                <a:pathLst>
                  <a:path w="232" h="1158">
                    <a:moveTo>
                      <a:pt x="232" y="0"/>
                    </a:moveTo>
                    <a:lnTo>
                      <a:pt x="232" y="0"/>
                    </a:lnTo>
                    <a:lnTo>
                      <a:pt x="0" y="0"/>
                    </a:lnTo>
                    <a:lnTo>
                      <a:pt x="0" y="1158"/>
                    </a:lnTo>
                    <a:lnTo>
                      <a:pt x="232" y="1158"/>
                    </a:lnTo>
                    <a:lnTo>
                      <a:pt x="232" y="0"/>
                    </a:lnTo>
                    <a:close/>
                  </a:path>
                </a:pathLst>
              </a:custGeom>
              <a:solidFill>
                <a:srgbClr val="CB851A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iṣļíďê">
                <a:extLst>
                  <a:ext uri="{FF2B5EF4-FFF2-40B4-BE49-F238E27FC236}">
                    <a16:creationId xmlns:a16="http://schemas.microsoft.com/office/drawing/2014/main" id="{BFACAD4A-A263-4732-8BD4-030DE8C2F03C}"/>
                  </a:ext>
                </a:extLst>
              </p:cNvPr>
              <p:cNvSpPr/>
              <p:nvPr/>
            </p:nvSpPr>
            <p:spPr bwMode="auto">
              <a:xfrm>
                <a:off x="5077614" y="4723085"/>
                <a:ext cx="204028" cy="1018384"/>
              </a:xfrm>
              <a:custGeom>
                <a:avLst/>
                <a:gdLst/>
                <a:ahLst/>
                <a:cxnLst>
                  <a:cxn ang="0">
                    <a:pos x="232" y="0"/>
                  </a:cxn>
                  <a:cxn ang="0">
                    <a:pos x="232" y="0"/>
                  </a:cxn>
                  <a:cxn ang="0">
                    <a:pos x="0" y="0"/>
                  </a:cxn>
                  <a:cxn ang="0">
                    <a:pos x="0" y="1158"/>
                  </a:cxn>
                  <a:cxn ang="0">
                    <a:pos x="232" y="1158"/>
                  </a:cxn>
                  <a:cxn ang="0">
                    <a:pos x="232" y="0"/>
                  </a:cxn>
                </a:cxnLst>
                <a:rect l="0" t="0" r="r" b="b"/>
                <a:pathLst>
                  <a:path w="232" h="1158">
                    <a:moveTo>
                      <a:pt x="232" y="0"/>
                    </a:moveTo>
                    <a:lnTo>
                      <a:pt x="232" y="0"/>
                    </a:lnTo>
                    <a:lnTo>
                      <a:pt x="0" y="0"/>
                    </a:lnTo>
                    <a:lnTo>
                      <a:pt x="0" y="1158"/>
                    </a:lnTo>
                    <a:lnTo>
                      <a:pt x="232" y="1158"/>
                    </a:lnTo>
                    <a:lnTo>
                      <a:pt x="23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íṧlíḓê">
                <a:extLst>
                  <a:ext uri="{FF2B5EF4-FFF2-40B4-BE49-F238E27FC236}">
                    <a16:creationId xmlns:a16="http://schemas.microsoft.com/office/drawing/2014/main" id="{A7B945A7-9EE7-445E-8704-363450F3D1FF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320113" cy="800286"/>
              </a:xfrm>
              <a:prstGeom prst="rect">
                <a:avLst/>
              </a:prstGeom>
              <a:solidFill>
                <a:srgbClr val="E0931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íş1ïḑe">
                <a:extLst>
                  <a:ext uri="{FF2B5EF4-FFF2-40B4-BE49-F238E27FC236}">
                    <a16:creationId xmlns:a16="http://schemas.microsoft.com/office/drawing/2014/main" id="{DF0E1111-D7DA-49CB-ADA8-E70D47999C32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320113" cy="800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996301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ḷ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sḷïḑè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3" name="isḷïḑè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ŝļíḍé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şḷïďe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10000" dirty="0"/>
              <a:t>Thanks</a:t>
            </a:r>
            <a:br>
              <a:rPr lang="en-US" altLang="zh-CN" dirty="0"/>
            </a:br>
            <a:r>
              <a:rPr lang="en-US" altLang="zh-CN" dirty="0"/>
              <a:t>For your Listening</a:t>
            </a:r>
            <a:endParaRPr lang="zh-CN" alt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F2A4CF-9313-4747-8BD1-05934EB2550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6277" y="5141677"/>
            <a:ext cx="5422900" cy="310871"/>
          </a:xfrm>
        </p:spPr>
        <p:txBody>
          <a:bodyPr/>
          <a:lstStyle/>
          <a:p>
            <a:r>
              <a:rPr lang="en-US" altLang="zh-TW" dirty="0">
                <a:latin typeface="Bahnschrift Light Condensed" panose="020B0502040204020203" pitchFamily="34" charset="0"/>
              </a:rPr>
              <a:t>GitHub</a:t>
            </a:r>
            <a:r>
              <a:rPr lang="en-US" altLang="zh-TW" dirty="0">
                <a:latin typeface="Bahnschrift" panose="020B0502040204020203" pitchFamily="34" charset="0"/>
              </a:rPr>
              <a:t>: </a:t>
            </a:r>
            <a:r>
              <a:rPr lang="en-US" altLang="zh-TW" dirty="0">
                <a:latin typeface="Bahnschrift" panose="020B0502040204020203" pitchFamily="34" charset="0"/>
                <a:hlinkClick r:id="rId11"/>
              </a:rPr>
              <a:t>https://github.com/hannnnk1231/EmotionGIF-2020</a:t>
            </a:r>
            <a:endParaRPr lang="en-US" altLang="zh-TW" dirty="0">
              <a:latin typeface="Bahnschrift" panose="020B0502040204020203" pitchFamily="34" charset="0"/>
            </a:endParaRPr>
          </a:p>
          <a:p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9C80332-8B95-4E77-A5A9-091394EC11F1}"/>
              </a:ext>
            </a:extLst>
          </p:cNvPr>
          <p:cNvGrpSpPr/>
          <p:nvPr/>
        </p:nvGrpSpPr>
        <p:grpSpPr>
          <a:xfrm>
            <a:off x="913387" y="7244186"/>
            <a:ext cx="4121426" cy="4439478"/>
            <a:chOff x="913387" y="1437861"/>
            <a:chExt cx="4121426" cy="4439478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97A6AA89-95AE-4EF4-B136-124939F12BF9}"/>
                </a:ext>
              </a:extLst>
            </p:cNvPr>
            <p:cNvSpPr/>
            <p:nvPr/>
          </p:nvSpPr>
          <p:spPr>
            <a:xfrm>
              <a:off x="913387" y="1437861"/>
              <a:ext cx="4121426" cy="4439478"/>
            </a:xfrm>
            <a:prstGeom prst="roundRect">
              <a:avLst>
                <a:gd name="adj" fmla="val 10236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" name="3eb5d789-58cd-4f85-9d8b-5d393670b18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7568AB43-C542-4BD2-8F90-53816D0B234E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1248319" y="3429000"/>
              <a:ext cx="3451563" cy="2124469"/>
              <a:chOff x="3320298" y="1720530"/>
              <a:chExt cx="5551404" cy="3416940"/>
            </a:xfrm>
          </p:grpSpPr>
          <p:sp>
            <p:nvSpPr>
              <p:cNvPr id="15" name="ïŝliḋê">
                <a:extLst>
                  <a:ext uri="{FF2B5EF4-FFF2-40B4-BE49-F238E27FC236}">
                    <a16:creationId xmlns:a16="http://schemas.microsoft.com/office/drawing/2014/main" id="{3EAA2B3F-1C25-4782-9ADB-54EA825368AA}"/>
                  </a:ext>
                </a:extLst>
              </p:cNvPr>
              <p:cNvSpPr/>
              <p:nvPr/>
            </p:nvSpPr>
            <p:spPr bwMode="auto">
              <a:xfrm>
                <a:off x="6329177" y="2346073"/>
                <a:ext cx="2542525" cy="2791397"/>
              </a:xfrm>
              <a:custGeom>
                <a:avLst/>
                <a:gdLst>
                  <a:gd name="T0" fmla="*/ 1134 w 1134"/>
                  <a:gd name="T1" fmla="*/ 0 h 1245"/>
                  <a:gd name="T2" fmla="*/ 1134 w 1134"/>
                  <a:gd name="T3" fmla="*/ 1018 h 1245"/>
                  <a:gd name="T4" fmla="*/ 0 w 1134"/>
                  <a:gd name="T5" fmla="*/ 1245 h 1245"/>
                  <a:gd name="T6" fmla="*/ 0 w 1134"/>
                  <a:gd name="T7" fmla="*/ 158 h 1245"/>
                  <a:gd name="T8" fmla="*/ 1134 w 1134"/>
                  <a:gd name="T9" fmla="*/ 0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4" h="1245">
                    <a:moveTo>
                      <a:pt x="1134" y="0"/>
                    </a:moveTo>
                    <a:lnTo>
                      <a:pt x="1134" y="1018"/>
                    </a:lnTo>
                    <a:lnTo>
                      <a:pt x="0" y="1245"/>
                    </a:lnTo>
                    <a:lnTo>
                      <a:pt x="0" y="158"/>
                    </a:lnTo>
                    <a:lnTo>
                      <a:pt x="1134" y="0"/>
                    </a:lnTo>
                    <a:close/>
                  </a:path>
                </a:pathLst>
              </a:custGeom>
              <a:solidFill>
                <a:srgbClr val="FFD9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îŝļîḓe">
                <a:extLst>
                  <a:ext uri="{FF2B5EF4-FFF2-40B4-BE49-F238E27FC236}">
                    <a16:creationId xmlns:a16="http://schemas.microsoft.com/office/drawing/2014/main" id="{D259623D-8010-4880-AAF0-04DF46501797}"/>
                  </a:ext>
                </a:extLst>
              </p:cNvPr>
              <p:cNvSpPr/>
              <p:nvPr/>
            </p:nvSpPr>
            <p:spPr bwMode="auto">
              <a:xfrm>
                <a:off x="4584834" y="1839361"/>
                <a:ext cx="4286868" cy="860961"/>
              </a:xfrm>
              <a:custGeom>
                <a:avLst/>
                <a:gdLst>
                  <a:gd name="T0" fmla="*/ 973 w 973"/>
                  <a:gd name="T1" fmla="*/ 115 h 196"/>
                  <a:gd name="T2" fmla="*/ 534 w 973"/>
                  <a:gd name="T3" fmla="*/ 0 h 196"/>
                  <a:gd name="T4" fmla="*/ 0 w 973"/>
                  <a:gd name="T5" fmla="*/ 85 h 196"/>
                  <a:gd name="T6" fmla="*/ 396 w 973"/>
                  <a:gd name="T7" fmla="*/ 196 h 196"/>
                  <a:gd name="T8" fmla="*/ 973 w 973"/>
                  <a:gd name="T9" fmla="*/ 115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3" h="196">
                    <a:moveTo>
                      <a:pt x="973" y="115"/>
                    </a:moveTo>
                    <a:cubicBezTo>
                      <a:pt x="969" y="112"/>
                      <a:pt x="534" y="0"/>
                      <a:pt x="534" y="0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396" y="196"/>
                      <a:pt x="396" y="196"/>
                      <a:pt x="396" y="196"/>
                    </a:cubicBezTo>
                    <a:cubicBezTo>
                      <a:pt x="973" y="115"/>
                      <a:pt x="973" y="115"/>
                      <a:pt x="973" y="115"/>
                    </a:cubicBezTo>
                  </a:path>
                </a:pathLst>
              </a:custGeom>
              <a:solidFill>
                <a:srgbClr val="567A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îšḻiḍê">
                <a:extLst>
                  <a:ext uri="{FF2B5EF4-FFF2-40B4-BE49-F238E27FC236}">
                    <a16:creationId xmlns:a16="http://schemas.microsoft.com/office/drawing/2014/main" id="{552D2D8B-1CF7-43E9-9DEA-72FD05BE0E69}"/>
                  </a:ext>
                </a:extLst>
              </p:cNvPr>
              <p:cNvSpPr/>
              <p:nvPr/>
            </p:nvSpPr>
            <p:spPr bwMode="auto">
              <a:xfrm>
                <a:off x="4672276" y="2213789"/>
                <a:ext cx="1656902" cy="2923680"/>
              </a:xfrm>
              <a:custGeom>
                <a:avLst/>
                <a:gdLst>
                  <a:gd name="T0" fmla="*/ 739 w 739"/>
                  <a:gd name="T1" fmla="*/ 1304 h 1304"/>
                  <a:gd name="T2" fmla="*/ 0 w 739"/>
                  <a:gd name="T3" fmla="*/ 988 h 1304"/>
                  <a:gd name="T4" fmla="*/ 0 w 739"/>
                  <a:gd name="T5" fmla="*/ 0 h 1304"/>
                  <a:gd name="T6" fmla="*/ 739 w 739"/>
                  <a:gd name="T7" fmla="*/ 217 h 1304"/>
                  <a:gd name="T8" fmla="*/ 739 w 739"/>
                  <a:gd name="T9" fmla="*/ 1304 h 1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9" h="1304">
                    <a:moveTo>
                      <a:pt x="739" y="1304"/>
                    </a:moveTo>
                    <a:lnTo>
                      <a:pt x="0" y="988"/>
                    </a:lnTo>
                    <a:lnTo>
                      <a:pt x="0" y="0"/>
                    </a:lnTo>
                    <a:lnTo>
                      <a:pt x="739" y="217"/>
                    </a:lnTo>
                    <a:lnTo>
                      <a:pt x="739" y="1304"/>
                    </a:lnTo>
                    <a:close/>
                  </a:path>
                </a:pathLst>
              </a:custGeom>
              <a:solidFill>
                <a:srgbClr val="D3A8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íṩ1íḋê">
                <a:extLst>
                  <a:ext uri="{FF2B5EF4-FFF2-40B4-BE49-F238E27FC236}">
                    <a16:creationId xmlns:a16="http://schemas.microsoft.com/office/drawing/2014/main" id="{C11F1476-6923-41B4-94C3-7E7CF84EFBD9}"/>
                  </a:ext>
                </a:extLst>
              </p:cNvPr>
              <p:cNvSpPr/>
              <p:nvPr/>
            </p:nvSpPr>
            <p:spPr bwMode="auto">
              <a:xfrm>
                <a:off x="4672276" y="2213789"/>
                <a:ext cx="1656902" cy="2923680"/>
              </a:xfrm>
              <a:custGeom>
                <a:avLst/>
                <a:gdLst>
                  <a:gd name="T0" fmla="*/ 739 w 739"/>
                  <a:gd name="T1" fmla="*/ 1304 h 1304"/>
                  <a:gd name="T2" fmla="*/ 0 w 739"/>
                  <a:gd name="T3" fmla="*/ 988 h 1304"/>
                  <a:gd name="T4" fmla="*/ 0 w 739"/>
                  <a:gd name="T5" fmla="*/ 0 h 1304"/>
                  <a:gd name="T6" fmla="*/ 739 w 739"/>
                  <a:gd name="T7" fmla="*/ 217 h 1304"/>
                  <a:gd name="T8" fmla="*/ 739 w 739"/>
                  <a:gd name="T9" fmla="*/ 1304 h 1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9" h="1304">
                    <a:moveTo>
                      <a:pt x="739" y="1304"/>
                    </a:moveTo>
                    <a:lnTo>
                      <a:pt x="0" y="988"/>
                    </a:lnTo>
                    <a:lnTo>
                      <a:pt x="0" y="0"/>
                    </a:lnTo>
                    <a:lnTo>
                      <a:pt x="739" y="217"/>
                    </a:lnTo>
                    <a:lnTo>
                      <a:pt x="739" y="130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íṩ1ïḑê">
                <a:extLst>
                  <a:ext uri="{FF2B5EF4-FFF2-40B4-BE49-F238E27FC236}">
                    <a16:creationId xmlns:a16="http://schemas.microsoft.com/office/drawing/2014/main" id="{3462E21C-D433-462B-91B1-17A6C03D8C3E}"/>
                  </a:ext>
                </a:extLst>
              </p:cNvPr>
              <p:cNvSpPr/>
              <p:nvPr/>
            </p:nvSpPr>
            <p:spPr bwMode="auto">
              <a:xfrm>
                <a:off x="4584834" y="1839361"/>
                <a:ext cx="2351949" cy="860961"/>
              </a:xfrm>
              <a:custGeom>
                <a:avLst/>
                <a:gdLst>
                  <a:gd name="T0" fmla="*/ 1049 w 1049"/>
                  <a:gd name="T1" fmla="*/ 0 h 384"/>
                  <a:gd name="T2" fmla="*/ 1049 w 1049"/>
                  <a:gd name="T3" fmla="*/ 343 h 384"/>
                  <a:gd name="T4" fmla="*/ 778 w 1049"/>
                  <a:gd name="T5" fmla="*/ 384 h 384"/>
                  <a:gd name="T6" fmla="*/ 0 w 1049"/>
                  <a:gd name="T7" fmla="*/ 167 h 384"/>
                  <a:gd name="T8" fmla="*/ 1049 w 1049"/>
                  <a:gd name="T9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9" h="384">
                    <a:moveTo>
                      <a:pt x="1049" y="0"/>
                    </a:moveTo>
                    <a:lnTo>
                      <a:pt x="1049" y="343"/>
                    </a:lnTo>
                    <a:lnTo>
                      <a:pt x="778" y="384"/>
                    </a:lnTo>
                    <a:lnTo>
                      <a:pt x="0" y="167"/>
                    </a:lnTo>
                    <a:lnTo>
                      <a:pt x="1049" y="0"/>
                    </a:lnTo>
                    <a:close/>
                  </a:path>
                </a:pathLst>
              </a:custGeom>
              <a:solidFill>
                <a:srgbClr val="2B4D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ïsľîḑè">
                <a:extLst>
                  <a:ext uri="{FF2B5EF4-FFF2-40B4-BE49-F238E27FC236}">
                    <a16:creationId xmlns:a16="http://schemas.microsoft.com/office/drawing/2014/main" id="{0750641F-A204-456A-A2B5-DD94923776B5}"/>
                  </a:ext>
                </a:extLst>
              </p:cNvPr>
              <p:cNvSpPr/>
              <p:nvPr/>
            </p:nvSpPr>
            <p:spPr bwMode="auto">
              <a:xfrm>
                <a:off x="4584834" y="1839361"/>
                <a:ext cx="2351949" cy="860961"/>
              </a:xfrm>
              <a:custGeom>
                <a:avLst/>
                <a:gdLst>
                  <a:gd name="T0" fmla="*/ 1049 w 1049"/>
                  <a:gd name="T1" fmla="*/ 0 h 384"/>
                  <a:gd name="T2" fmla="*/ 1049 w 1049"/>
                  <a:gd name="T3" fmla="*/ 343 h 384"/>
                  <a:gd name="T4" fmla="*/ 778 w 1049"/>
                  <a:gd name="T5" fmla="*/ 384 h 384"/>
                  <a:gd name="T6" fmla="*/ 0 w 1049"/>
                  <a:gd name="T7" fmla="*/ 167 h 384"/>
                  <a:gd name="T8" fmla="*/ 1049 w 1049"/>
                  <a:gd name="T9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9" h="384">
                    <a:moveTo>
                      <a:pt x="1049" y="0"/>
                    </a:moveTo>
                    <a:lnTo>
                      <a:pt x="1049" y="343"/>
                    </a:lnTo>
                    <a:lnTo>
                      <a:pt x="778" y="384"/>
                    </a:lnTo>
                    <a:lnTo>
                      <a:pt x="0" y="167"/>
                    </a:lnTo>
                    <a:lnTo>
                      <a:pt x="104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ïṩļîḓe">
                <a:extLst>
                  <a:ext uri="{FF2B5EF4-FFF2-40B4-BE49-F238E27FC236}">
                    <a16:creationId xmlns:a16="http://schemas.microsoft.com/office/drawing/2014/main" id="{C83A903D-55CF-4286-A79D-2D759CC96A33}"/>
                  </a:ext>
                </a:extLst>
              </p:cNvPr>
              <p:cNvSpPr/>
              <p:nvPr/>
            </p:nvSpPr>
            <p:spPr bwMode="auto">
              <a:xfrm>
                <a:off x="7465915" y="2494050"/>
                <a:ext cx="358734" cy="2414727"/>
              </a:xfrm>
              <a:custGeom>
                <a:avLst/>
                <a:gdLst>
                  <a:gd name="T0" fmla="*/ 0 w 160"/>
                  <a:gd name="T1" fmla="*/ 22 h 1077"/>
                  <a:gd name="T2" fmla="*/ 0 w 160"/>
                  <a:gd name="T3" fmla="*/ 1077 h 1077"/>
                  <a:gd name="T4" fmla="*/ 160 w 160"/>
                  <a:gd name="T5" fmla="*/ 1046 h 1077"/>
                  <a:gd name="T6" fmla="*/ 160 w 160"/>
                  <a:gd name="T7" fmla="*/ 0 h 1077"/>
                  <a:gd name="T8" fmla="*/ 0 w 160"/>
                  <a:gd name="T9" fmla="*/ 22 h 1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" h="1077">
                    <a:moveTo>
                      <a:pt x="0" y="22"/>
                    </a:moveTo>
                    <a:lnTo>
                      <a:pt x="0" y="1077"/>
                    </a:lnTo>
                    <a:lnTo>
                      <a:pt x="160" y="1046"/>
                    </a:lnTo>
                    <a:lnTo>
                      <a:pt x="160" y="0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7DA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íṩḷïde">
                <a:extLst>
                  <a:ext uri="{FF2B5EF4-FFF2-40B4-BE49-F238E27FC236}">
                    <a16:creationId xmlns:a16="http://schemas.microsoft.com/office/drawing/2014/main" id="{504E4118-6865-415C-95F0-37DD65ABBB40}"/>
                  </a:ext>
                </a:extLst>
              </p:cNvPr>
              <p:cNvSpPr/>
              <p:nvPr/>
            </p:nvSpPr>
            <p:spPr bwMode="auto">
              <a:xfrm>
                <a:off x="5320238" y="2346073"/>
                <a:ext cx="331829" cy="2502168"/>
              </a:xfrm>
              <a:custGeom>
                <a:avLst/>
                <a:gdLst>
                  <a:gd name="T0" fmla="*/ 0 w 148"/>
                  <a:gd name="T1" fmla="*/ 0 h 1116"/>
                  <a:gd name="T2" fmla="*/ 0 w 148"/>
                  <a:gd name="T3" fmla="*/ 1053 h 1116"/>
                  <a:gd name="T4" fmla="*/ 148 w 148"/>
                  <a:gd name="T5" fmla="*/ 1116 h 1116"/>
                  <a:gd name="T6" fmla="*/ 148 w 148"/>
                  <a:gd name="T7" fmla="*/ 70 h 1116"/>
                  <a:gd name="T8" fmla="*/ 0 w 148"/>
                  <a:gd name="T9" fmla="*/ 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1116">
                    <a:moveTo>
                      <a:pt x="0" y="0"/>
                    </a:moveTo>
                    <a:lnTo>
                      <a:pt x="0" y="1053"/>
                    </a:lnTo>
                    <a:lnTo>
                      <a:pt x="148" y="1116"/>
                    </a:lnTo>
                    <a:lnTo>
                      <a:pt x="14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363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íṩḷíḓe">
                <a:extLst>
                  <a:ext uri="{FF2B5EF4-FFF2-40B4-BE49-F238E27FC236}">
                    <a16:creationId xmlns:a16="http://schemas.microsoft.com/office/drawing/2014/main" id="{97B7076F-901C-4C11-8AEE-E8C9D38AB236}"/>
                  </a:ext>
                </a:extLst>
              </p:cNvPr>
              <p:cNvSpPr/>
              <p:nvPr/>
            </p:nvSpPr>
            <p:spPr bwMode="auto">
              <a:xfrm>
                <a:off x="5320238" y="2346073"/>
                <a:ext cx="331829" cy="2502168"/>
              </a:xfrm>
              <a:custGeom>
                <a:avLst/>
                <a:gdLst>
                  <a:gd name="T0" fmla="*/ 0 w 148"/>
                  <a:gd name="T1" fmla="*/ 0 h 1116"/>
                  <a:gd name="T2" fmla="*/ 0 w 148"/>
                  <a:gd name="T3" fmla="*/ 1053 h 1116"/>
                  <a:gd name="T4" fmla="*/ 148 w 148"/>
                  <a:gd name="T5" fmla="*/ 1116 h 1116"/>
                  <a:gd name="T6" fmla="*/ 148 w 148"/>
                  <a:gd name="T7" fmla="*/ 70 h 1116"/>
                  <a:gd name="T8" fmla="*/ 0 w 148"/>
                  <a:gd name="T9" fmla="*/ 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1116">
                    <a:moveTo>
                      <a:pt x="0" y="0"/>
                    </a:moveTo>
                    <a:lnTo>
                      <a:pt x="0" y="1053"/>
                    </a:lnTo>
                    <a:lnTo>
                      <a:pt x="148" y="1116"/>
                    </a:lnTo>
                    <a:lnTo>
                      <a:pt x="148" y="7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ïṩļíḑé">
                <a:extLst>
                  <a:ext uri="{FF2B5EF4-FFF2-40B4-BE49-F238E27FC236}">
                    <a16:creationId xmlns:a16="http://schemas.microsoft.com/office/drawing/2014/main" id="{5BE9590A-4538-4B62-B66F-24B0F6DC176F}"/>
                  </a:ext>
                </a:extLst>
              </p:cNvPr>
              <p:cNvSpPr/>
              <p:nvPr/>
            </p:nvSpPr>
            <p:spPr bwMode="auto">
              <a:xfrm>
                <a:off x="4461520" y="1994064"/>
                <a:ext cx="1569460" cy="3143404"/>
              </a:xfrm>
              <a:custGeom>
                <a:avLst/>
                <a:gdLst>
                  <a:gd name="T0" fmla="*/ 700 w 700"/>
                  <a:gd name="T1" fmla="*/ 90 h 1402"/>
                  <a:gd name="T2" fmla="*/ 536 w 700"/>
                  <a:gd name="T3" fmla="*/ 0 h 1402"/>
                  <a:gd name="T4" fmla="*/ 0 w 700"/>
                  <a:gd name="T5" fmla="*/ 1347 h 1402"/>
                  <a:gd name="T6" fmla="*/ 195 w 700"/>
                  <a:gd name="T7" fmla="*/ 1402 h 1402"/>
                  <a:gd name="T8" fmla="*/ 700 w 700"/>
                  <a:gd name="T9" fmla="*/ 90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0" h="1402">
                    <a:moveTo>
                      <a:pt x="700" y="90"/>
                    </a:moveTo>
                    <a:lnTo>
                      <a:pt x="536" y="0"/>
                    </a:lnTo>
                    <a:lnTo>
                      <a:pt x="0" y="1347"/>
                    </a:lnTo>
                    <a:lnTo>
                      <a:pt x="195" y="1402"/>
                    </a:lnTo>
                    <a:lnTo>
                      <a:pt x="700" y="90"/>
                    </a:lnTo>
                    <a:close/>
                  </a:path>
                </a:pathLst>
              </a:custGeom>
              <a:solidFill>
                <a:srgbClr val="EAC0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ŝlïḑé">
                <a:extLst>
                  <a:ext uri="{FF2B5EF4-FFF2-40B4-BE49-F238E27FC236}">
                    <a16:creationId xmlns:a16="http://schemas.microsoft.com/office/drawing/2014/main" id="{B65575EB-AC9A-4BD0-9482-67410CDD485A}"/>
                  </a:ext>
                </a:extLst>
              </p:cNvPr>
              <p:cNvSpPr/>
              <p:nvPr/>
            </p:nvSpPr>
            <p:spPr bwMode="auto">
              <a:xfrm>
                <a:off x="4461520" y="1994064"/>
                <a:ext cx="1569460" cy="3143404"/>
              </a:xfrm>
              <a:custGeom>
                <a:avLst/>
                <a:gdLst>
                  <a:gd name="T0" fmla="*/ 700 w 700"/>
                  <a:gd name="T1" fmla="*/ 90 h 1402"/>
                  <a:gd name="T2" fmla="*/ 536 w 700"/>
                  <a:gd name="T3" fmla="*/ 0 h 1402"/>
                  <a:gd name="T4" fmla="*/ 0 w 700"/>
                  <a:gd name="T5" fmla="*/ 1347 h 1402"/>
                  <a:gd name="T6" fmla="*/ 195 w 700"/>
                  <a:gd name="T7" fmla="*/ 1402 h 1402"/>
                  <a:gd name="T8" fmla="*/ 700 w 700"/>
                  <a:gd name="T9" fmla="*/ 90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0" h="1402">
                    <a:moveTo>
                      <a:pt x="700" y="90"/>
                    </a:moveTo>
                    <a:lnTo>
                      <a:pt x="536" y="0"/>
                    </a:lnTo>
                    <a:lnTo>
                      <a:pt x="0" y="1347"/>
                    </a:lnTo>
                    <a:lnTo>
                      <a:pt x="195" y="1402"/>
                    </a:lnTo>
                    <a:lnTo>
                      <a:pt x="700" y="9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îşlîḋê">
                <a:extLst>
                  <a:ext uri="{FF2B5EF4-FFF2-40B4-BE49-F238E27FC236}">
                    <a16:creationId xmlns:a16="http://schemas.microsoft.com/office/drawing/2014/main" id="{0CEAE2E7-8BE4-4FA1-B490-38C51144281B}"/>
                  </a:ext>
                </a:extLst>
              </p:cNvPr>
              <p:cNvSpPr/>
              <p:nvPr/>
            </p:nvSpPr>
            <p:spPr bwMode="auto">
              <a:xfrm>
                <a:off x="3320298" y="1720530"/>
                <a:ext cx="2342980" cy="3293625"/>
              </a:xfrm>
              <a:custGeom>
                <a:avLst/>
                <a:gdLst>
                  <a:gd name="T0" fmla="*/ 1045 w 1045"/>
                  <a:gd name="T1" fmla="*/ 122 h 1469"/>
                  <a:gd name="T2" fmla="*/ 450 w 1045"/>
                  <a:gd name="T3" fmla="*/ 0 h 1469"/>
                  <a:gd name="T4" fmla="*/ 0 w 1045"/>
                  <a:gd name="T5" fmla="*/ 1171 h 1469"/>
                  <a:gd name="T6" fmla="*/ 509 w 1045"/>
                  <a:gd name="T7" fmla="*/ 1469 h 1469"/>
                  <a:gd name="T8" fmla="*/ 1045 w 1045"/>
                  <a:gd name="T9" fmla="*/ 122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5" h="1469">
                    <a:moveTo>
                      <a:pt x="1045" y="122"/>
                    </a:moveTo>
                    <a:lnTo>
                      <a:pt x="450" y="0"/>
                    </a:lnTo>
                    <a:lnTo>
                      <a:pt x="0" y="1171"/>
                    </a:lnTo>
                    <a:lnTo>
                      <a:pt x="509" y="1469"/>
                    </a:lnTo>
                    <a:lnTo>
                      <a:pt x="1045" y="122"/>
                    </a:lnTo>
                    <a:close/>
                  </a:path>
                </a:pathLst>
              </a:custGeom>
              <a:solidFill>
                <a:srgbClr val="FFD9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ŝḷidé">
                <a:extLst>
                  <a:ext uri="{FF2B5EF4-FFF2-40B4-BE49-F238E27FC236}">
                    <a16:creationId xmlns:a16="http://schemas.microsoft.com/office/drawing/2014/main" id="{49C82857-F932-445E-A6D5-7E30C905D7D3}"/>
                  </a:ext>
                </a:extLst>
              </p:cNvPr>
              <p:cNvSpPr/>
              <p:nvPr/>
            </p:nvSpPr>
            <p:spPr bwMode="auto">
              <a:xfrm>
                <a:off x="3320298" y="1720530"/>
                <a:ext cx="2342980" cy="3293625"/>
              </a:xfrm>
              <a:custGeom>
                <a:avLst/>
                <a:gdLst>
                  <a:gd name="T0" fmla="*/ 1045 w 1045"/>
                  <a:gd name="T1" fmla="*/ 122 h 1469"/>
                  <a:gd name="T2" fmla="*/ 450 w 1045"/>
                  <a:gd name="T3" fmla="*/ 0 h 1469"/>
                  <a:gd name="T4" fmla="*/ 0 w 1045"/>
                  <a:gd name="T5" fmla="*/ 1171 h 1469"/>
                  <a:gd name="T6" fmla="*/ 509 w 1045"/>
                  <a:gd name="T7" fmla="*/ 1469 h 1469"/>
                  <a:gd name="T8" fmla="*/ 1045 w 1045"/>
                  <a:gd name="T9" fmla="*/ 122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5" h="1469">
                    <a:moveTo>
                      <a:pt x="1045" y="122"/>
                    </a:moveTo>
                    <a:lnTo>
                      <a:pt x="450" y="0"/>
                    </a:lnTo>
                    <a:lnTo>
                      <a:pt x="0" y="1171"/>
                    </a:lnTo>
                    <a:lnTo>
                      <a:pt x="509" y="1469"/>
                    </a:lnTo>
                    <a:lnTo>
                      <a:pt x="1045" y="12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ṩľïḑe">
                <a:extLst>
                  <a:ext uri="{FF2B5EF4-FFF2-40B4-BE49-F238E27FC236}">
                    <a16:creationId xmlns:a16="http://schemas.microsoft.com/office/drawing/2014/main" id="{69F1EF61-BCFB-4904-AAB8-F5938E7379D1}"/>
                  </a:ext>
                </a:extLst>
              </p:cNvPr>
              <p:cNvSpPr/>
              <p:nvPr/>
            </p:nvSpPr>
            <p:spPr bwMode="auto">
              <a:xfrm>
                <a:off x="3753021" y="2881930"/>
                <a:ext cx="1782459" cy="993245"/>
              </a:xfrm>
              <a:custGeom>
                <a:avLst/>
                <a:gdLst>
                  <a:gd name="T0" fmla="*/ 0 w 795"/>
                  <a:gd name="T1" fmla="*/ 153 h 443"/>
                  <a:gd name="T2" fmla="*/ 727 w 795"/>
                  <a:gd name="T3" fmla="*/ 443 h 443"/>
                  <a:gd name="T4" fmla="*/ 795 w 795"/>
                  <a:gd name="T5" fmla="*/ 265 h 443"/>
                  <a:gd name="T6" fmla="*/ 58 w 795"/>
                  <a:gd name="T7" fmla="*/ 0 h 443"/>
                  <a:gd name="T8" fmla="*/ 0 w 795"/>
                  <a:gd name="T9" fmla="*/ 15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5" h="443">
                    <a:moveTo>
                      <a:pt x="0" y="153"/>
                    </a:moveTo>
                    <a:lnTo>
                      <a:pt x="727" y="443"/>
                    </a:lnTo>
                    <a:lnTo>
                      <a:pt x="795" y="265"/>
                    </a:lnTo>
                    <a:lnTo>
                      <a:pt x="58" y="0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7DA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iṥľiďe">
                <a:extLst>
                  <a:ext uri="{FF2B5EF4-FFF2-40B4-BE49-F238E27FC236}">
                    <a16:creationId xmlns:a16="http://schemas.microsoft.com/office/drawing/2014/main" id="{82B8C2EC-78CD-4B0A-AE1C-6CF2FE93A597}"/>
                  </a:ext>
                </a:extLst>
              </p:cNvPr>
              <p:cNvSpPr/>
              <p:nvPr/>
            </p:nvSpPr>
            <p:spPr bwMode="auto">
              <a:xfrm>
                <a:off x="3753021" y="2881930"/>
                <a:ext cx="1782459" cy="993245"/>
              </a:xfrm>
              <a:custGeom>
                <a:avLst/>
                <a:gdLst>
                  <a:gd name="T0" fmla="*/ 0 w 795"/>
                  <a:gd name="T1" fmla="*/ 153 h 443"/>
                  <a:gd name="T2" fmla="*/ 727 w 795"/>
                  <a:gd name="T3" fmla="*/ 443 h 443"/>
                  <a:gd name="T4" fmla="*/ 795 w 795"/>
                  <a:gd name="T5" fmla="*/ 265 h 443"/>
                  <a:gd name="T6" fmla="*/ 58 w 795"/>
                  <a:gd name="T7" fmla="*/ 0 h 443"/>
                  <a:gd name="T8" fmla="*/ 0 w 795"/>
                  <a:gd name="T9" fmla="*/ 15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5" h="443">
                    <a:moveTo>
                      <a:pt x="0" y="153"/>
                    </a:moveTo>
                    <a:lnTo>
                      <a:pt x="727" y="443"/>
                    </a:lnTo>
                    <a:lnTo>
                      <a:pt x="795" y="265"/>
                    </a:lnTo>
                    <a:lnTo>
                      <a:pt x="58" y="0"/>
                    </a:lnTo>
                    <a:lnTo>
                      <a:pt x="0" y="15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ṥḻïďê">
                <a:extLst>
                  <a:ext uri="{FF2B5EF4-FFF2-40B4-BE49-F238E27FC236}">
                    <a16:creationId xmlns:a16="http://schemas.microsoft.com/office/drawing/2014/main" id="{E12305E4-880A-4E3D-89E5-68CC4CE085C7}"/>
                  </a:ext>
                </a:extLst>
              </p:cNvPr>
              <p:cNvSpPr/>
              <p:nvPr/>
            </p:nvSpPr>
            <p:spPr bwMode="auto">
              <a:xfrm>
                <a:off x="5131903" y="3330348"/>
                <a:ext cx="403575" cy="145736"/>
              </a:xfrm>
              <a:custGeom>
                <a:avLst/>
                <a:gdLst>
                  <a:gd name="T0" fmla="*/ 0 w 180"/>
                  <a:gd name="T1" fmla="*/ 0 h 65"/>
                  <a:gd name="T2" fmla="*/ 0 w 180"/>
                  <a:gd name="T3" fmla="*/ 0 h 65"/>
                  <a:gd name="T4" fmla="*/ 180 w 180"/>
                  <a:gd name="T5" fmla="*/ 65 h 65"/>
                  <a:gd name="T6" fmla="*/ 180 w 180"/>
                  <a:gd name="T7" fmla="*/ 65 h 65"/>
                  <a:gd name="T8" fmla="*/ 0 w 180"/>
                  <a:gd name="T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65">
                    <a:moveTo>
                      <a:pt x="0" y="0"/>
                    </a:moveTo>
                    <a:lnTo>
                      <a:pt x="0" y="0"/>
                    </a:lnTo>
                    <a:lnTo>
                      <a:pt x="180" y="65"/>
                    </a:lnTo>
                    <a:lnTo>
                      <a:pt x="180" y="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8E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ïṥḻiḋe">
                <a:extLst>
                  <a:ext uri="{FF2B5EF4-FFF2-40B4-BE49-F238E27FC236}">
                    <a16:creationId xmlns:a16="http://schemas.microsoft.com/office/drawing/2014/main" id="{AD8A2AD9-47DA-4690-B131-7F71A47E5392}"/>
                  </a:ext>
                </a:extLst>
              </p:cNvPr>
              <p:cNvSpPr/>
              <p:nvPr/>
            </p:nvSpPr>
            <p:spPr bwMode="auto">
              <a:xfrm>
                <a:off x="5131903" y="3330348"/>
                <a:ext cx="403575" cy="145736"/>
              </a:xfrm>
              <a:custGeom>
                <a:avLst/>
                <a:gdLst>
                  <a:gd name="T0" fmla="*/ 0 w 180"/>
                  <a:gd name="T1" fmla="*/ 0 h 65"/>
                  <a:gd name="T2" fmla="*/ 0 w 180"/>
                  <a:gd name="T3" fmla="*/ 0 h 65"/>
                  <a:gd name="T4" fmla="*/ 180 w 180"/>
                  <a:gd name="T5" fmla="*/ 65 h 65"/>
                  <a:gd name="T6" fmla="*/ 180 w 180"/>
                  <a:gd name="T7" fmla="*/ 65 h 65"/>
                  <a:gd name="T8" fmla="*/ 0 w 180"/>
                  <a:gd name="T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65">
                    <a:moveTo>
                      <a:pt x="0" y="0"/>
                    </a:moveTo>
                    <a:lnTo>
                      <a:pt x="0" y="0"/>
                    </a:lnTo>
                    <a:lnTo>
                      <a:pt x="180" y="65"/>
                    </a:lnTo>
                    <a:lnTo>
                      <a:pt x="180" y="65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şlïdê">
                <a:extLst>
                  <a:ext uri="{FF2B5EF4-FFF2-40B4-BE49-F238E27FC236}">
                    <a16:creationId xmlns:a16="http://schemas.microsoft.com/office/drawing/2014/main" id="{4BB5FB48-69CA-4A61-9684-F27B6546EA8B}"/>
                  </a:ext>
                </a:extLst>
              </p:cNvPr>
              <p:cNvSpPr/>
              <p:nvPr/>
            </p:nvSpPr>
            <p:spPr bwMode="auto">
              <a:xfrm>
                <a:off x="4981684" y="3713745"/>
                <a:ext cx="401334" cy="161430"/>
              </a:xfrm>
              <a:custGeom>
                <a:avLst/>
                <a:gdLst>
                  <a:gd name="T0" fmla="*/ 0 w 179"/>
                  <a:gd name="T1" fmla="*/ 0 h 72"/>
                  <a:gd name="T2" fmla="*/ 0 w 179"/>
                  <a:gd name="T3" fmla="*/ 0 h 72"/>
                  <a:gd name="T4" fmla="*/ 179 w 179"/>
                  <a:gd name="T5" fmla="*/ 72 h 72"/>
                  <a:gd name="T6" fmla="*/ 179 w 179"/>
                  <a:gd name="T7" fmla="*/ 72 h 72"/>
                  <a:gd name="T8" fmla="*/ 0 w 179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72">
                    <a:moveTo>
                      <a:pt x="0" y="0"/>
                    </a:moveTo>
                    <a:lnTo>
                      <a:pt x="0" y="0"/>
                    </a:lnTo>
                    <a:lnTo>
                      <a:pt x="179" y="72"/>
                    </a:lnTo>
                    <a:lnTo>
                      <a:pt x="179" y="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8E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íŝľïḍe">
                <a:extLst>
                  <a:ext uri="{FF2B5EF4-FFF2-40B4-BE49-F238E27FC236}">
                    <a16:creationId xmlns:a16="http://schemas.microsoft.com/office/drawing/2014/main" id="{EAC4F1C6-C3C3-46ED-8C47-DE9FB72E5B2E}"/>
                  </a:ext>
                </a:extLst>
              </p:cNvPr>
              <p:cNvSpPr/>
              <p:nvPr/>
            </p:nvSpPr>
            <p:spPr bwMode="auto">
              <a:xfrm>
                <a:off x="4981684" y="3713745"/>
                <a:ext cx="401334" cy="161430"/>
              </a:xfrm>
              <a:custGeom>
                <a:avLst/>
                <a:gdLst>
                  <a:gd name="T0" fmla="*/ 0 w 179"/>
                  <a:gd name="T1" fmla="*/ 0 h 72"/>
                  <a:gd name="T2" fmla="*/ 0 w 179"/>
                  <a:gd name="T3" fmla="*/ 0 h 72"/>
                  <a:gd name="T4" fmla="*/ 179 w 179"/>
                  <a:gd name="T5" fmla="*/ 72 h 72"/>
                  <a:gd name="T6" fmla="*/ 179 w 179"/>
                  <a:gd name="T7" fmla="*/ 72 h 72"/>
                  <a:gd name="T8" fmla="*/ 0 w 179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72">
                    <a:moveTo>
                      <a:pt x="0" y="0"/>
                    </a:moveTo>
                    <a:lnTo>
                      <a:pt x="0" y="0"/>
                    </a:lnTo>
                    <a:lnTo>
                      <a:pt x="179" y="72"/>
                    </a:lnTo>
                    <a:lnTo>
                      <a:pt x="179" y="7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ṧliḓe">
                <a:extLst>
                  <a:ext uri="{FF2B5EF4-FFF2-40B4-BE49-F238E27FC236}">
                    <a16:creationId xmlns:a16="http://schemas.microsoft.com/office/drawing/2014/main" id="{944953D4-1644-4B5D-8D8C-42455443521B}"/>
                  </a:ext>
                </a:extLst>
              </p:cNvPr>
              <p:cNvSpPr/>
              <p:nvPr/>
            </p:nvSpPr>
            <p:spPr bwMode="auto">
              <a:xfrm>
                <a:off x="4981684" y="3330348"/>
                <a:ext cx="553796" cy="544828"/>
              </a:xfrm>
              <a:custGeom>
                <a:avLst/>
                <a:gdLst>
                  <a:gd name="T0" fmla="*/ 67 w 247"/>
                  <a:gd name="T1" fmla="*/ 0 h 243"/>
                  <a:gd name="T2" fmla="*/ 0 w 247"/>
                  <a:gd name="T3" fmla="*/ 171 h 243"/>
                  <a:gd name="T4" fmla="*/ 179 w 247"/>
                  <a:gd name="T5" fmla="*/ 243 h 243"/>
                  <a:gd name="T6" fmla="*/ 247 w 247"/>
                  <a:gd name="T7" fmla="*/ 65 h 243"/>
                  <a:gd name="T8" fmla="*/ 67 w 247"/>
                  <a:gd name="T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3">
                    <a:moveTo>
                      <a:pt x="67" y="0"/>
                    </a:moveTo>
                    <a:lnTo>
                      <a:pt x="0" y="171"/>
                    </a:lnTo>
                    <a:lnTo>
                      <a:pt x="179" y="243"/>
                    </a:lnTo>
                    <a:lnTo>
                      <a:pt x="247" y="65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637F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iṩ1iḓé">
                <a:extLst>
                  <a:ext uri="{FF2B5EF4-FFF2-40B4-BE49-F238E27FC236}">
                    <a16:creationId xmlns:a16="http://schemas.microsoft.com/office/drawing/2014/main" id="{B2927F5F-748F-4CB6-B957-A82C5390F150}"/>
                  </a:ext>
                </a:extLst>
              </p:cNvPr>
              <p:cNvSpPr/>
              <p:nvPr/>
            </p:nvSpPr>
            <p:spPr bwMode="auto">
              <a:xfrm>
                <a:off x="4981684" y="3330348"/>
                <a:ext cx="553796" cy="544828"/>
              </a:xfrm>
              <a:custGeom>
                <a:avLst/>
                <a:gdLst>
                  <a:gd name="T0" fmla="*/ 67 w 247"/>
                  <a:gd name="T1" fmla="*/ 0 h 243"/>
                  <a:gd name="T2" fmla="*/ 0 w 247"/>
                  <a:gd name="T3" fmla="*/ 171 h 243"/>
                  <a:gd name="T4" fmla="*/ 179 w 247"/>
                  <a:gd name="T5" fmla="*/ 243 h 243"/>
                  <a:gd name="T6" fmla="*/ 247 w 247"/>
                  <a:gd name="T7" fmla="*/ 65 h 243"/>
                  <a:gd name="T8" fmla="*/ 67 w 247"/>
                  <a:gd name="T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3">
                    <a:moveTo>
                      <a:pt x="67" y="0"/>
                    </a:moveTo>
                    <a:lnTo>
                      <a:pt x="0" y="171"/>
                    </a:lnTo>
                    <a:lnTo>
                      <a:pt x="179" y="243"/>
                    </a:lnTo>
                    <a:lnTo>
                      <a:pt x="247" y="65"/>
                    </a:lnTo>
                    <a:lnTo>
                      <a:pt x="6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ṩḷîḋé">
                <a:extLst>
                  <a:ext uri="{FF2B5EF4-FFF2-40B4-BE49-F238E27FC236}">
                    <a16:creationId xmlns:a16="http://schemas.microsoft.com/office/drawing/2014/main" id="{886827B3-317D-45B6-8B4C-11879A336B66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0 w 72"/>
                  <a:gd name="T1" fmla="*/ 165 h 167"/>
                  <a:gd name="T2" fmla="*/ 0 w 72"/>
                  <a:gd name="T3" fmla="*/ 165 h 167"/>
                  <a:gd name="T4" fmla="*/ 5 w 72"/>
                  <a:gd name="T5" fmla="*/ 167 h 167"/>
                  <a:gd name="T6" fmla="*/ 5 w 72"/>
                  <a:gd name="T7" fmla="*/ 167 h 167"/>
                  <a:gd name="T8" fmla="*/ 0 w 72"/>
                  <a:gd name="T9" fmla="*/ 165 h 167"/>
                  <a:gd name="T10" fmla="*/ 64 w 72"/>
                  <a:gd name="T11" fmla="*/ 0 h 167"/>
                  <a:gd name="T12" fmla="*/ 64 w 72"/>
                  <a:gd name="T13" fmla="*/ 0 h 167"/>
                  <a:gd name="T14" fmla="*/ 72 w 72"/>
                  <a:gd name="T15" fmla="*/ 2 h 167"/>
                  <a:gd name="T16" fmla="*/ 72 w 72"/>
                  <a:gd name="T17" fmla="*/ 2 h 167"/>
                  <a:gd name="T18" fmla="*/ 64 w 72"/>
                  <a:gd name="T1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167">
                    <a:moveTo>
                      <a:pt x="0" y="165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0" y="165"/>
                    </a:lnTo>
                    <a:close/>
                    <a:moveTo>
                      <a:pt x="64" y="0"/>
                    </a:moveTo>
                    <a:lnTo>
                      <a:pt x="64" y="0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E6C5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ṧlíďé">
                <a:extLst>
                  <a:ext uri="{FF2B5EF4-FFF2-40B4-BE49-F238E27FC236}">
                    <a16:creationId xmlns:a16="http://schemas.microsoft.com/office/drawing/2014/main" id="{71889C59-45A8-4316-BE01-361AE4C74B7F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0 w 72"/>
                  <a:gd name="T1" fmla="*/ 165 h 167"/>
                  <a:gd name="T2" fmla="*/ 0 w 72"/>
                  <a:gd name="T3" fmla="*/ 165 h 167"/>
                  <a:gd name="T4" fmla="*/ 5 w 72"/>
                  <a:gd name="T5" fmla="*/ 167 h 167"/>
                  <a:gd name="T6" fmla="*/ 5 w 72"/>
                  <a:gd name="T7" fmla="*/ 167 h 167"/>
                  <a:gd name="T8" fmla="*/ 0 w 72"/>
                  <a:gd name="T9" fmla="*/ 165 h 167"/>
                  <a:gd name="T10" fmla="*/ 64 w 72"/>
                  <a:gd name="T11" fmla="*/ 0 h 167"/>
                  <a:gd name="T12" fmla="*/ 64 w 72"/>
                  <a:gd name="T13" fmla="*/ 0 h 167"/>
                  <a:gd name="T14" fmla="*/ 72 w 72"/>
                  <a:gd name="T15" fmla="*/ 2 h 167"/>
                  <a:gd name="T16" fmla="*/ 72 w 72"/>
                  <a:gd name="T17" fmla="*/ 2 h 167"/>
                  <a:gd name="T18" fmla="*/ 64 w 72"/>
                  <a:gd name="T1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167">
                    <a:moveTo>
                      <a:pt x="0" y="165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5" y="167"/>
                    </a:lnTo>
                    <a:lnTo>
                      <a:pt x="0" y="165"/>
                    </a:lnTo>
                    <a:moveTo>
                      <a:pt x="64" y="0"/>
                    </a:moveTo>
                    <a:lnTo>
                      <a:pt x="64" y="0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$ľíḓe">
                <a:extLst>
                  <a:ext uri="{FF2B5EF4-FFF2-40B4-BE49-F238E27FC236}">
                    <a16:creationId xmlns:a16="http://schemas.microsoft.com/office/drawing/2014/main" id="{F2054DA3-2891-4F64-A5CC-36981DD8933F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64 w 72"/>
                  <a:gd name="T1" fmla="*/ 0 h 167"/>
                  <a:gd name="T2" fmla="*/ 0 w 72"/>
                  <a:gd name="T3" fmla="*/ 165 h 167"/>
                  <a:gd name="T4" fmla="*/ 5 w 72"/>
                  <a:gd name="T5" fmla="*/ 167 h 167"/>
                  <a:gd name="T6" fmla="*/ 72 w 72"/>
                  <a:gd name="T7" fmla="*/ 2 h 167"/>
                  <a:gd name="T8" fmla="*/ 64 w 72"/>
                  <a:gd name="T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7">
                    <a:moveTo>
                      <a:pt x="64" y="0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72" y="2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749A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îş1îḑe">
                <a:extLst>
                  <a:ext uri="{FF2B5EF4-FFF2-40B4-BE49-F238E27FC236}">
                    <a16:creationId xmlns:a16="http://schemas.microsoft.com/office/drawing/2014/main" id="{98B7F7AA-2A91-402A-AFCA-4817E043CCD8}"/>
                  </a:ext>
                </a:extLst>
              </p:cNvPr>
              <p:cNvSpPr/>
              <p:nvPr/>
            </p:nvSpPr>
            <p:spPr bwMode="auto">
              <a:xfrm>
                <a:off x="4506362" y="3157708"/>
                <a:ext cx="161430" cy="374429"/>
              </a:xfrm>
              <a:custGeom>
                <a:avLst/>
                <a:gdLst>
                  <a:gd name="T0" fmla="*/ 64 w 72"/>
                  <a:gd name="T1" fmla="*/ 0 h 167"/>
                  <a:gd name="T2" fmla="*/ 0 w 72"/>
                  <a:gd name="T3" fmla="*/ 165 h 167"/>
                  <a:gd name="T4" fmla="*/ 5 w 72"/>
                  <a:gd name="T5" fmla="*/ 167 h 167"/>
                  <a:gd name="T6" fmla="*/ 72 w 72"/>
                  <a:gd name="T7" fmla="*/ 2 h 167"/>
                  <a:gd name="T8" fmla="*/ 64 w 72"/>
                  <a:gd name="T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7">
                    <a:moveTo>
                      <a:pt x="64" y="0"/>
                    </a:moveTo>
                    <a:lnTo>
                      <a:pt x="0" y="165"/>
                    </a:lnTo>
                    <a:lnTo>
                      <a:pt x="5" y="167"/>
                    </a:lnTo>
                    <a:lnTo>
                      <a:pt x="72" y="2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ṣḻïdê">
                <a:extLst>
                  <a:ext uri="{FF2B5EF4-FFF2-40B4-BE49-F238E27FC236}">
                    <a16:creationId xmlns:a16="http://schemas.microsoft.com/office/drawing/2014/main" id="{DAB3E3C3-526B-4E4C-AC61-119BB0330BB1}"/>
                  </a:ext>
                </a:extLst>
              </p:cNvPr>
              <p:cNvSpPr/>
              <p:nvPr/>
            </p:nvSpPr>
            <p:spPr bwMode="auto">
              <a:xfrm>
                <a:off x="4223859" y="3047845"/>
                <a:ext cx="145736" cy="369945"/>
              </a:xfrm>
              <a:custGeom>
                <a:avLst/>
                <a:gdLst>
                  <a:gd name="T0" fmla="*/ 0 w 65"/>
                  <a:gd name="T1" fmla="*/ 163 h 165"/>
                  <a:gd name="T2" fmla="*/ 4 w 65"/>
                  <a:gd name="T3" fmla="*/ 165 h 165"/>
                  <a:gd name="T4" fmla="*/ 4 w 65"/>
                  <a:gd name="T5" fmla="*/ 165 h 165"/>
                  <a:gd name="T6" fmla="*/ 0 w 65"/>
                  <a:gd name="T7" fmla="*/ 163 h 165"/>
                  <a:gd name="T8" fmla="*/ 59 w 65"/>
                  <a:gd name="T9" fmla="*/ 0 h 165"/>
                  <a:gd name="T10" fmla="*/ 59 w 65"/>
                  <a:gd name="T11" fmla="*/ 0 h 165"/>
                  <a:gd name="T12" fmla="*/ 65 w 65"/>
                  <a:gd name="T13" fmla="*/ 4 h 165"/>
                  <a:gd name="T14" fmla="*/ 65 w 65"/>
                  <a:gd name="T15" fmla="*/ 4 h 165"/>
                  <a:gd name="T16" fmla="*/ 59 w 65"/>
                  <a:gd name="T1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165">
                    <a:moveTo>
                      <a:pt x="0" y="163"/>
                    </a:moveTo>
                    <a:lnTo>
                      <a:pt x="4" y="165"/>
                    </a:lnTo>
                    <a:lnTo>
                      <a:pt x="4" y="165"/>
                    </a:lnTo>
                    <a:lnTo>
                      <a:pt x="0" y="163"/>
                    </a:lnTo>
                    <a:close/>
                    <a:moveTo>
                      <a:pt x="59" y="0"/>
                    </a:moveTo>
                    <a:lnTo>
                      <a:pt x="59" y="0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59" y="0"/>
                    </a:lnTo>
                    <a:close/>
                  </a:path>
                </a:pathLst>
              </a:custGeom>
              <a:solidFill>
                <a:srgbClr val="E6C5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iŝlîďé">
                <a:extLst>
                  <a:ext uri="{FF2B5EF4-FFF2-40B4-BE49-F238E27FC236}">
                    <a16:creationId xmlns:a16="http://schemas.microsoft.com/office/drawing/2014/main" id="{76511AD5-DD05-4E74-84E2-232BCBC55E0D}"/>
                  </a:ext>
                </a:extLst>
              </p:cNvPr>
              <p:cNvSpPr/>
              <p:nvPr/>
            </p:nvSpPr>
            <p:spPr bwMode="auto">
              <a:xfrm>
                <a:off x="4223859" y="3047845"/>
                <a:ext cx="145736" cy="369945"/>
              </a:xfrm>
              <a:custGeom>
                <a:avLst/>
                <a:gdLst>
                  <a:gd name="T0" fmla="*/ 0 w 65"/>
                  <a:gd name="T1" fmla="*/ 163 h 165"/>
                  <a:gd name="T2" fmla="*/ 4 w 65"/>
                  <a:gd name="T3" fmla="*/ 165 h 165"/>
                  <a:gd name="T4" fmla="*/ 4 w 65"/>
                  <a:gd name="T5" fmla="*/ 165 h 165"/>
                  <a:gd name="T6" fmla="*/ 0 w 65"/>
                  <a:gd name="T7" fmla="*/ 163 h 165"/>
                  <a:gd name="T8" fmla="*/ 59 w 65"/>
                  <a:gd name="T9" fmla="*/ 0 h 165"/>
                  <a:gd name="T10" fmla="*/ 59 w 65"/>
                  <a:gd name="T11" fmla="*/ 0 h 165"/>
                  <a:gd name="T12" fmla="*/ 65 w 65"/>
                  <a:gd name="T13" fmla="*/ 4 h 165"/>
                  <a:gd name="T14" fmla="*/ 65 w 65"/>
                  <a:gd name="T15" fmla="*/ 4 h 165"/>
                  <a:gd name="T16" fmla="*/ 59 w 65"/>
                  <a:gd name="T1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165">
                    <a:moveTo>
                      <a:pt x="0" y="163"/>
                    </a:moveTo>
                    <a:lnTo>
                      <a:pt x="4" y="165"/>
                    </a:lnTo>
                    <a:lnTo>
                      <a:pt x="4" y="165"/>
                    </a:lnTo>
                    <a:lnTo>
                      <a:pt x="0" y="163"/>
                    </a:lnTo>
                    <a:moveTo>
                      <a:pt x="59" y="0"/>
                    </a:moveTo>
                    <a:lnTo>
                      <a:pt x="59" y="0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iṧļïdé">
                <a:extLst>
                  <a:ext uri="{FF2B5EF4-FFF2-40B4-BE49-F238E27FC236}">
                    <a16:creationId xmlns:a16="http://schemas.microsoft.com/office/drawing/2014/main" id="{6AC3F459-F012-4C19-BDF0-FD5225FEEEF1}"/>
                  </a:ext>
                </a:extLst>
              </p:cNvPr>
              <p:cNvSpPr/>
              <p:nvPr/>
            </p:nvSpPr>
            <p:spPr bwMode="auto">
              <a:xfrm>
                <a:off x="4219375" y="3047845"/>
                <a:ext cx="150220" cy="369945"/>
              </a:xfrm>
              <a:custGeom>
                <a:avLst/>
                <a:gdLst>
                  <a:gd name="T0" fmla="*/ 61 w 67"/>
                  <a:gd name="T1" fmla="*/ 0 h 165"/>
                  <a:gd name="T2" fmla="*/ 0 w 67"/>
                  <a:gd name="T3" fmla="*/ 161 h 165"/>
                  <a:gd name="T4" fmla="*/ 2 w 67"/>
                  <a:gd name="T5" fmla="*/ 163 h 165"/>
                  <a:gd name="T6" fmla="*/ 6 w 67"/>
                  <a:gd name="T7" fmla="*/ 165 h 165"/>
                  <a:gd name="T8" fmla="*/ 67 w 67"/>
                  <a:gd name="T9" fmla="*/ 4 h 165"/>
                  <a:gd name="T10" fmla="*/ 61 w 67"/>
                  <a:gd name="T1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165">
                    <a:moveTo>
                      <a:pt x="61" y="0"/>
                    </a:moveTo>
                    <a:lnTo>
                      <a:pt x="0" y="161"/>
                    </a:lnTo>
                    <a:lnTo>
                      <a:pt x="2" y="163"/>
                    </a:lnTo>
                    <a:lnTo>
                      <a:pt x="6" y="165"/>
                    </a:lnTo>
                    <a:lnTo>
                      <a:pt x="67" y="4"/>
                    </a:lnTo>
                    <a:lnTo>
                      <a:pt x="61" y="0"/>
                    </a:lnTo>
                    <a:close/>
                  </a:path>
                </a:pathLst>
              </a:custGeom>
              <a:solidFill>
                <a:srgbClr val="749A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ïşḷîḍé">
                <a:extLst>
                  <a:ext uri="{FF2B5EF4-FFF2-40B4-BE49-F238E27FC236}">
                    <a16:creationId xmlns:a16="http://schemas.microsoft.com/office/drawing/2014/main" id="{AF0F8FFB-D9E8-4C93-99A0-E202B26E6B73}"/>
                  </a:ext>
                </a:extLst>
              </p:cNvPr>
              <p:cNvSpPr/>
              <p:nvPr/>
            </p:nvSpPr>
            <p:spPr bwMode="auto">
              <a:xfrm>
                <a:off x="4219375" y="3047845"/>
                <a:ext cx="150220" cy="369945"/>
              </a:xfrm>
              <a:custGeom>
                <a:avLst/>
                <a:gdLst>
                  <a:gd name="T0" fmla="*/ 61 w 67"/>
                  <a:gd name="T1" fmla="*/ 0 h 165"/>
                  <a:gd name="T2" fmla="*/ 0 w 67"/>
                  <a:gd name="T3" fmla="*/ 161 h 165"/>
                  <a:gd name="T4" fmla="*/ 2 w 67"/>
                  <a:gd name="T5" fmla="*/ 163 h 165"/>
                  <a:gd name="T6" fmla="*/ 6 w 67"/>
                  <a:gd name="T7" fmla="*/ 165 h 165"/>
                  <a:gd name="T8" fmla="*/ 67 w 67"/>
                  <a:gd name="T9" fmla="*/ 4 h 165"/>
                  <a:gd name="T10" fmla="*/ 61 w 67"/>
                  <a:gd name="T11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165">
                    <a:moveTo>
                      <a:pt x="61" y="0"/>
                    </a:moveTo>
                    <a:lnTo>
                      <a:pt x="0" y="161"/>
                    </a:lnTo>
                    <a:lnTo>
                      <a:pt x="2" y="163"/>
                    </a:lnTo>
                    <a:lnTo>
                      <a:pt x="6" y="165"/>
                    </a:lnTo>
                    <a:lnTo>
                      <a:pt x="67" y="4"/>
                    </a:lnTo>
                    <a:lnTo>
                      <a:pt x="6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îŝḷïḍé">
                <a:extLst>
                  <a:ext uri="{FF2B5EF4-FFF2-40B4-BE49-F238E27FC236}">
                    <a16:creationId xmlns:a16="http://schemas.microsoft.com/office/drawing/2014/main" id="{4BA74951-AF06-4E94-856D-4F301BBD0082}"/>
                  </a:ext>
                </a:extLst>
              </p:cNvPr>
              <p:cNvSpPr/>
              <p:nvPr/>
            </p:nvSpPr>
            <p:spPr bwMode="auto">
              <a:xfrm>
                <a:off x="3768715" y="1825909"/>
                <a:ext cx="1385609" cy="2932648"/>
              </a:xfrm>
              <a:custGeom>
                <a:avLst/>
                <a:gdLst>
                  <a:gd name="T0" fmla="*/ 482 w 618"/>
                  <a:gd name="T1" fmla="*/ 0 h 1308"/>
                  <a:gd name="T2" fmla="*/ 0 w 618"/>
                  <a:gd name="T3" fmla="*/ 1242 h 1308"/>
                  <a:gd name="T4" fmla="*/ 112 w 618"/>
                  <a:gd name="T5" fmla="*/ 1308 h 1308"/>
                  <a:gd name="T6" fmla="*/ 618 w 618"/>
                  <a:gd name="T7" fmla="*/ 28 h 1308"/>
                  <a:gd name="T8" fmla="*/ 482 w 618"/>
                  <a:gd name="T9" fmla="*/ 0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8" h="1308">
                    <a:moveTo>
                      <a:pt x="482" y="0"/>
                    </a:moveTo>
                    <a:lnTo>
                      <a:pt x="0" y="1242"/>
                    </a:lnTo>
                    <a:lnTo>
                      <a:pt x="112" y="1308"/>
                    </a:lnTo>
                    <a:lnTo>
                      <a:pt x="618" y="28"/>
                    </a:lnTo>
                    <a:lnTo>
                      <a:pt x="482" y="0"/>
                    </a:lnTo>
                    <a:close/>
                  </a:path>
                </a:pathLst>
              </a:custGeom>
              <a:solidFill>
                <a:srgbClr val="7DA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028ABAF-0F93-414A-8B07-572B4D0B1886}"/>
                </a:ext>
              </a:extLst>
            </p:cNvPr>
            <p:cNvSpPr/>
            <p:nvPr/>
          </p:nvSpPr>
          <p:spPr>
            <a:xfrm>
              <a:off x="913387" y="1750796"/>
              <a:ext cx="4121426" cy="830997"/>
            </a:xfrm>
            <a:prstGeom prst="rect">
              <a:avLst/>
            </a:prstGeom>
          </p:spPr>
          <p:txBody>
            <a:bodyPr wrap="square" lIns="180000" tIns="45720" rIns="180000" bIns="45720">
              <a:spAutoFit/>
            </a:bodyPr>
            <a:lstStyle/>
            <a:p>
              <a:r>
                <a:rPr lang="en-US" altLang="zh-TW" sz="2400" dirty="0">
                  <a:latin typeface="Tw Cen MT" panose="020B0602020104020603" pitchFamily="34" charset="0"/>
                </a:rPr>
                <a:t>After our preprocessing, some text will become empty.</a:t>
              </a:r>
              <a:endParaRPr lang="en-US" sz="2400" dirty="0">
                <a:latin typeface="Tw Cen MT" panose="020B0602020104020603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DF80DAC-2603-47EC-9A2B-B627546A871D}"/>
              </a:ext>
            </a:extLst>
          </p:cNvPr>
          <p:cNvGrpSpPr/>
          <p:nvPr/>
        </p:nvGrpSpPr>
        <p:grpSpPr>
          <a:xfrm>
            <a:off x="6210332" y="10128885"/>
            <a:ext cx="4616694" cy="4439478"/>
            <a:chOff x="6210332" y="1437861"/>
            <a:chExt cx="4616694" cy="4439478"/>
          </a:xfrm>
        </p:grpSpPr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4F46BE14-56A9-4FF6-85B2-AF1E4CBC481B}"/>
                </a:ext>
              </a:extLst>
            </p:cNvPr>
            <p:cNvSpPr/>
            <p:nvPr/>
          </p:nvSpPr>
          <p:spPr>
            <a:xfrm>
              <a:off x="6210332" y="1437861"/>
              <a:ext cx="4616694" cy="4439478"/>
            </a:xfrm>
            <a:prstGeom prst="roundRect">
              <a:avLst>
                <a:gd name="adj" fmla="val 10236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tIns="45720" rIns="360000" bIns="45720"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6BDF815-5DE6-4578-8507-99BA1FE71951}"/>
                </a:ext>
              </a:extLst>
            </p:cNvPr>
            <p:cNvSpPr/>
            <p:nvPr/>
          </p:nvSpPr>
          <p:spPr>
            <a:xfrm>
              <a:off x="6210332" y="1750796"/>
              <a:ext cx="3258346" cy="830997"/>
            </a:xfrm>
            <a:prstGeom prst="rect">
              <a:avLst/>
            </a:prstGeom>
          </p:spPr>
          <p:txBody>
            <a:bodyPr wrap="square" lIns="360000" tIns="45720" rIns="360000" bIns="45720">
              <a:spAutoFit/>
            </a:bodyPr>
            <a:lstStyle/>
            <a:p>
              <a:r>
                <a:rPr lang="en-US" altLang="zh-TW" sz="2400" dirty="0">
                  <a:latin typeface="Tw Cen MT" panose="020B0602020104020603" pitchFamily="34" charset="0"/>
                </a:rPr>
                <a:t>Guess the 6 most common categories</a:t>
              </a:r>
            </a:p>
          </p:txBody>
        </p:sp>
        <p:pic>
          <p:nvPicPr>
            <p:cNvPr id="48" name="圖片 2">
              <a:extLst>
                <a:ext uri="{FF2B5EF4-FFF2-40B4-BE49-F238E27FC236}">
                  <a16:creationId xmlns:a16="http://schemas.microsoft.com/office/drawing/2014/main" id="{81B3C548-6AAE-45B1-9EEF-FD45D69CB2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9411" y="1642882"/>
              <a:ext cx="1495226" cy="4022640"/>
            </a:xfrm>
            <a:prstGeom prst="rect">
              <a:avLst/>
            </a:prstGeom>
          </p:spPr>
        </p:pic>
        <p:grpSp>
          <p:nvGrpSpPr>
            <p:cNvPr id="49" name="b826854e-2acf-4900-a62e-ca82189cbf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168F99FA-4516-4F49-9592-82C66E16F474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6823053" y="3076412"/>
              <a:ext cx="2032904" cy="1923540"/>
              <a:chOff x="3652055" y="1116531"/>
              <a:chExt cx="4887890" cy="4624938"/>
            </a:xfrm>
          </p:grpSpPr>
          <p:sp>
            <p:nvSpPr>
              <p:cNvPr id="50" name="îṡḻîďé">
                <a:extLst>
                  <a:ext uri="{FF2B5EF4-FFF2-40B4-BE49-F238E27FC236}">
                    <a16:creationId xmlns:a16="http://schemas.microsoft.com/office/drawing/2014/main" id="{E95ED51E-17C8-492E-9344-EF012B2E4735}"/>
                  </a:ext>
                </a:extLst>
              </p:cNvPr>
              <p:cNvSpPr/>
              <p:nvPr/>
            </p:nvSpPr>
            <p:spPr bwMode="auto">
              <a:xfrm>
                <a:off x="5833928" y="1261639"/>
                <a:ext cx="466098" cy="465221"/>
              </a:xfrm>
              <a:prstGeom prst="ellipse">
                <a:avLst/>
              </a:pr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îSḷíḋè">
                <a:extLst>
                  <a:ext uri="{FF2B5EF4-FFF2-40B4-BE49-F238E27FC236}">
                    <a16:creationId xmlns:a16="http://schemas.microsoft.com/office/drawing/2014/main" id="{CCCDBEC4-AC74-4D46-A56C-0DC444E4110E}"/>
                  </a:ext>
                </a:extLst>
              </p:cNvPr>
              <p:cNvSpPr/>
              <p:nvPr/>
            </p:nvSpPr>
            <p:spPr bwMode="auto">
              <a:xfrm>
                <a:off x="4786524" y="1276587"/>
                <a:ext cx="2545957" cy="3257418"/>
              </a:xfrm>
              <a:custGeom>
                <a:avLst/>
                <a:gdLst/>
                <a:ahLst/>
                <a:cxnLst>
                  <a:cxn ang="0">
                    <a:pos x="175" y="8"/>
                  </a:cxn>
                  <a:cxn ang="0">
                    <a:pos x="162" y="33"/>
                  </a:cxn>
                  <a:cxn ang="0">
                    <a:pos x="158" y="37"/>
                  </a:cxn>
                  <a:cxn ang="0">
                    <a:pos x="120" y="52"/>
                  </a:cxn>
                  <a:cxn ang="0">
                    <a:pos x="119" y="52"/>
                  </a:cxn>
                  <a:cxn ang="0">
                    <a:pos x="118" y="52"/>
                  </a:cxn>
                  <a:cxn ang="0">
                    <a:pos x="110" y="103"/>
                  </a:cxn>
                  <a:cxn ang="0">
                    <a:pos x="111" y="105"/>
                  </a:cxn>
                  <a:cxn ang="0">
                    <a:pos x="131" y="213"/>
                  </a:cxn>
                  <a:cxn ang="0">
                    <a:pos x="124" y="223"/>
                  </a:cxn>
                  <a:cxn ang="0">
                    <a:pos x="123" y="223"/>
                  </a:cxn>
                  <a:cxn ang="0">
                    <a:pos x="114" y="216"/>
                  </a:cxn>
                  <a:cxn ang="0">
                    <a:pos x="88" y="120"/>
                  </a:cxn>
                  <a:cxn ang="0">
                    <a:pos x="66" y="216"/>
                  </a:cxn>
                  <a:cxn ang="0">
                    <a:pos x="56" y="223"/>
                  </a:cxn>
                  <a:cxn ang="0">
                    <a:pos x="49" y="213"/>
                  </a:cxn>
                  <a:cxn ang="0">
                    <a:pos x="66" y="104"/>
                  </a:cxn>
                  <a:cxn ang="0">
                    <a:pos x="66" y="102"/>
                  </a:cxn>
                  <a:cxn ang="0">
                    <a:pos x="66" y="102"/>
                  </a:cxn>
                  <a:cxn ang="0">
                    <a:pos x="59" y="52"/>
                  </a:cxn>
                  <a:cxn ang="0">
                    <a:pos x="58" y="52"/>
                  </a:cxn>
                  <a:cxn ang="0">
                    <a:pos x="57" y="52"/>
                  </a:cxn>
                  <a:cxn ang="0">
                    <a:pos x="16" y="37"/>
                  </a:cxn>
                  <a:cxn ang="0">
                    <a:pos x="11" y="32"/>
                  </a:cxn>
                  <a:cxn ang="0">
                    <a:pos x="0" y="8"/>
                  </a:cxn>
                  <a:cxn ang="0">
                    <a:pos x="16" y="1"/>
                  </a:cxn>
                  <a:cxn ang="0">
                    <a:pos x="26" y="22"/>
                  </a:cxn>
                  <a:cxn ang="0">
                    <a:pos x="61" y="35"/>
                  </a:cxn>
                  <a:cxn ang="0">
                    <a:pos x="75" y="35"/>
                  </a:cxn>
                  <a:cxn ang="0">
                    <a:pos x="83" y="55"/>
                  </a:cxn>
                  <a:cxn ang="0">
                    <a:pos x="88" y="68"/>
                  </a:cxn>
                  <a:cxn ang="0">
                    <a:pos x="93" y="55"/>
                  </a:cxn>
                  <a:cxn ang="0">
                    <a:pos x="93" y="55"/>
                  </a:cxn>
                  <a:cxn ang="0">
                    <a:pos x="101" y="35"/>
                  </a:cxn>
                  <a:cxn ang="0">
                    <a:pos x="115" y="35"/>
                  </a:cxn>
                  <a:cxn ang="0">
                    <a:pos x="148" y="22"/>
                  </a:cxn>
                  <a:cxn ang="0">
                    <a:pos x="160" y="0"/>
                  </a:cxn>
                  <a:cxn ang="0">
                    <a:pos x="175" y="8"/>
                  </a:cxn>
                </a:cxnLst>
                <a:rect l="0" t="0" r="r" b="b"/>
                <a:pathLst>
                  <a:path w="175" h="224">
                    <a:moveTo>
                      <a:pt x="175" y="8"/>
                    </a:moveTo>
                    <a:cubicBezTo>
                      <a:pt x="162" y="33"/>
                      <a:pt x="162" y="33"/>
                      <a:pt x="162" y="33"/>
                    </a:cubicBezTo>
                    <a:cubicBezTo>
                      <a:pt x="161" y="35"/>
                      <a:pt x="159" y="36"/>
                      <a:pt x="158" y="37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19" y="52"/>
                      <a:pt x="119" y="52"/>
                      <a:pt x="119" y="52"/>
                    </a:cubicBezTo>
                    <a:cubicBezTo>
                      <a:pt x="118" y="52"/>
                      <a:pt x="118" y="52"/>
                      <a:pt x="118" y="52"/>
                    </a:cubicBezTo>
                    <a:cubicBezTo>
                      <a:pt x="110" y="103"/>
                      <a:pt x="110" y="103"/>
                      <a:pt x="110" y="103"/>
                    </a:cubicBezTo>
                    <a:cubicBezTo>
                      <a:pt x="111" y="105"/>
                      <a:pt x="111" y="105"/>
                      <a:pt x="111" y="105"/>
                    </a:cubicBezTo>
                    <a:cubicBezTo>
                      <a:pt x="131" y="213"/>
                      <a:pt x="131" y="213"/>
                      <a:pt x="131" y="213"/>
                    </a:cubicBezTo>
                    <a:cubicBezTo>
                      <a:pt x="132" y="217"/>
                      <a:pt x="129" y="222"/>
                      <a:pt x="124" y="223"/>
                    </a:cubicBezTo>
                    <a:cubicBezTo>
                      <a:pt x="124" y="223"/>
                      <a:pt x="123" y="223"/>
                      <a:pt x="123" y="223"/>
                    </a:cubicBezTo>
                    <a:cubicBezTo>
                      <a:pt x="118" y="223"/>
                      <a:pt x="115" y="220"/>
                      <a:pt x="114" y="216"/>
                    </a:cubicBezTo>
                    <a:cubicBezTo>
                      <a:pt x="88" y="120"/>
                      <a:pt x="88" y="120"/>
                      <a:pt x="88" y="120"/>
                    </a:cubicBezTo>
                    <a:cubicBezTo>
                      <a:pt x="66" y="216"/>
                      <a:pt x="66" y="216"/>
                      <a:pt x="66" y="216"/>
                    </a:cubicBezTo>
                    <a:cubicBezTo>
                      <a:pt x="65" y="220"/>
                      <a:pt x="61" y="224"/>
                      <a:pt x="56" y="223"/>
                    </a:cubicBezTo>
                    <a:cubicBezTo>
                      <a:pt x="51" y="222"/>
                      <a:pt x="48" y="218"/>
                      <a:pt x="49" y="213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58" y="52"/>
                      <a:pt x="57" y="52"/>
                      <a:pt x="57" y="52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4" y="36"/>
                      <a:pt x="12" y="34"/>
                      <a:pt x="11" y="3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75" y="35"/>
                      <a:pt x="75" y="35"/>
                      <a:pt x="75" y="35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15" y="35"/>
                      <a:pt x="115" y="35"/>
                      <a:pt x="115" y="35"/>
                    </a:cubicBezTo>
                    <a:cubicBezTo>
                      <a:pt x="148" y="22"/>
                      <a:pt x="148" y="22"/>
                      <a:pt x="148" y="22"/>
                    </a:cubicBezTo>
                    <a:cubicBezTo>
                      <a:pt x="160" y="0"/>
                      <a:pt x="160" y="0"/>
                      <a:pt x="160" y="0"/>
                    </a:cubicBezTo>
                    <a:lnTo>
                      <a:pt x="175" y="8"/>
                    </a:ln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$ľïḋê">
                <a:extLst>
                  <a:ext uri="{FF2B5EF4-FFF2-40B4-BE49-F238E27FC236}">
                    <a16:creationId xmlns:a16="http://schemas.microsoft.com/office/drawing/2014/main" id="{EAD84E3D-E595-407A-A0D6-37EF437C5A8E}"/>
                  </a:ext>
                </a:extLst>
              </p:cNvPr>
              <p:cNvSpPr/>
              <p:nvPr/>
            </p:nvSpPr>
            <p:spPr bwMode="auto">
              <a:xfrm>
                <a:off x="4728482" y="1116531"/>
                <a:ext cx="291093" cy="276141"/>
              </a:xfrm>
              <a:custGeom>
                <a:avLst/>
                <a:gdLst/>
                <a:ahLst/>
                <a:cxnLst>
                  <a:cxn ang="0">
                    <a:pos x="18" y="6"/>
                  </a:cxn>
                  <a:cxn ang="0">
                    <a:pos x="20" y="12"/>
                  </a:cxn>
                  <a:cxn ang="0">
                    <a:pos x="4" y="19"/>
                  </a:cxn>
                  <a:cxn ang="0">
                    <a:pos x="2" y="13"/>
                  </a:cxn>
                  <a:cxn ang="0">
                    <a:pos x="7" y="2"/>
                  </a:cxn>
                  <a:cxn ang="0">
                    <a:pos x="18" y="6"/>
                  </a:cxn>
                </a:cxnLst>
                <a:rect l="0" t="0" r="r" b="b"/>
                <a:pathLst>
                  <a:path w="20" h="19">
                    <a:moveTo>
                      <a:pt x="18" y="6"/>
                    </a:moveTo>
                    <a:cubicBezTo>
                      <a:pt x="20" y="12"/>
                      <a:pt x="20" y="12"/>
                      <a:pt x="20" y="12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0" y="9"/>
                      <a:pt x="2" y="4"/>
                      <a:pt x="7" y="2"/>
                    </a:cubicBezTo>
                    <a:cubicBezTo>
                      <a:pt x="11" y="0"/>
                      <a:pt x="16" y="2"/>
                      <a:pt x="18" y="6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îṧḻîḓé">
                <a:extLst>
                  <a:ext uri="{FF2B5EF4-FFF2-40B4-BE49-F238E27FC236}">
                    <a16:creationId xmlns:a16="http://schemas.microsoft.com/office/drawing/2014/main" id="{20024DE5-DFA5-4D67-BC69-7FA558F96754}"/>
                  </a:ext>
                </a:extLst>
              </p:cNvPr>
              <p:cNvSpPr/>
              <p:nvPr/>
            </p:nvSpPr>
            <p:spPr bwMode="auto">
              <a:xfrm>
                <a:off x="5993984" y="1784902"/>
                <a:ext cx="145985" cy="480169"/>
              </a:xfrm>
              <a:custGeom>
                <a:avLst/>
                <a:gdLst/>
                <a:ahLst/>
                <a:cxnLst>
                  <a:cxn ang="0">
                    <a:pos x="166" y="331"/>
                  </a:cxn>
                  <a:cxn ang="0">
                    <a:pos x="166" y="331"/>
                  </a:cxn>
                  <a:cxn ang="0">
                    <a:pos x="83" y="546"/>
                  </a:cxn>
                  <a:cxn ang="0">
                    <a:pos x="0" y="331"/>
                  </a:cxn>
                  <a:cxn ang="0">
                    <a:pos x="33" y="83"/>
                  </a:cxn>
                  <a:cxn ang="0">
                    <a:pos x="0" y="0"/>
                  </a:cxn>
                  <a:cxn ang="0">
                    <a:pos x="166" y="0"/>
                  </a:cxn>
                  <a:cxn ang="0">
                    <a:pos x="132" y="83"/>
                  </a:cxn>
                  <a:cxn ang="0">
                    <a:pos x="166" y="331"/>
                  </a:cxn>
                </a:cxnLst>
                <a:rect l="0" t="0" r="r" b="b"/>
                <a:pathLst>
                  <a:path w="166" h="546">
                    <a:moveTo>
                      <a:pt x="166" y="331"/>
                    </a:moveTo>
                    <a:lnTo>
                      <a:pt x="166" y="331"/>
                    </a:lnTo>
                    <a:lnTo>
                      <a:pt x="83" y="546"/>
                    </a:lnTo>
                    <a:lnTo>
                      <a:pt x="0" y="331"/>
                    </a:lnTo>
                    <a:lnTo>
                      <a:pt x="33" y="83"/>
                    </a:lnTo>
                    <a:lnTo>
                      <a:pt x="0" y="0"/>
                    </a:lnTo>
                    <a:lnTo>
                      <a:pt x="166" y="0"/>
                    </a:lnTo>
                    <a:lnTo>
                      <a:pt x="132" y="83"/>
                    </a:lnTo>
                    <a:lnTo>
                      <a:pt x="166" y="331"/>
                    </a:lnTo>
                    <a:close/>
                  </a:path>
                </a:pathLst>
              </a:custGeom>
              <a:solidFill>
                <a:srgbClr val="BC2B28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íSlíḋè">
                <a:extLst>
                  <a:ext uri="{FF2B5EF4-FFF2-40B4-BE49-F238E27FC236}">
                    <a16:creationId xmlns:a16="http://schemas.microsoft.com/office/drawing/2014/main" id="{0B4DB29C-657B-4577-BF20-5426F8C0FC2F}"/>
                  </a:ext>
                </a:extLst>
              </p:cNvPr>
              <p:cNvSpPr/>
              <p:nvPr/>
            </p:nvSpPr>
            <p:spPr bwMode="auto">
              <a:xfrm>
                <a:off x="5877899" y="1784902"/>
                <a:ext cx="145108" cy="291093"/>
              </a:xfrm>
              <a:custGeom>
                <a:avLst/>
                <a:gdLst/>
                <a:ahLst/>
                <a:cxnLst>
                  <a:cxn ang="0">
                    <a:pos x="165" y="83"/>
                  </a:cxn>
                  <a:cxn ang="0">
                    <a:pos x="132" y="331"/>
                  </a:cxn>
                  <a:cxn ang="0">
                    <a:pos x="0" y="0"/>
                  </a:cxn>
                  <a:cxn ang="0">
                    <a:pos x="132" y="0"/>
                  </a:cxn>
                  <a:cxn ang="0">
                    <a:pos x="165" y="83"/>
                  </a:cxn>
                </a:cxnLst>
                <a:rect l="0" t="0" r="r" b="b"/>
                <a:pathLst>
                  <a:path w="165" h="331">
                    <a:moveTo>
                      <a:pt x="165" y="83"/>
                    </a:moveTo>
                    <a:lnTo>
                      <a:pt x="132" y="331"/>
                    </a:lnTo>
                    <a:lnTo>
                      <a:pt x="0" y="0"/>
                    </a:lnTo>
                    <a:lnTo>
                      <a:pt x="132" y="0"/>
                    </a:lnTo>
                    <a:lnTo>
                      <a:pt x="165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i$lîdè">
                <a:extLst>
                  <a:ext uri="{FF2B5EF4-FFF2-40B4-BE49-F238E27FC236}">
                    <a16:creationId xmlns:a16="http://schemas.microsoft.com/office/drawing/2014/main" id="{C916D279-4B37-4D0A-9625-648CAA55041C}"/>
                  </a:ext>
                </a:extLst>
              </p:cNvPr>
              <p:cNvSpPr/>
              <p:nvPr/>
            </p:nvSpPr>
            <p:spPr bwMode="auto">
              <a:xfrm>
                <a:off x="6110069" y="1784902"/>
                <a:ext cx="145985" cy="291093"/>
              </a:xfrm>
              <a:custGeom>
                <a:avLst/>
                <a:gdLst/>
                <a:ahLst/>
                <a:cxnLst>
                  <a:cxn ang="0">
                    <a:pos x="166" y="0"/>
                  </a:cxn>
                  <a:cxn ang="0">
                    <a:pos x="34" y="331"/>
                  </a:cxn>
                  <a:cxn ang="0">
                    <a:pos x="0" y="83"/>
                  </a:cxn>
                  <a:cxn ang="0">
                    <a:pos x="34" y="0"/>
                  </a:cxn>
                  <a:cxn ang="0">
                    <a:pos x="166" y="0"/>
                  </a:cxn>
                </a:cxnLst>
                <a:rect l="0" t="0" r="r" b="b"/>
                <a:pathLst>
                  <a:path w="166" h="331">
                    <a:moveTo>
                      <a:pt x="166" y="0"/>
                    </a:moveTo>
                    <a:lnTo>
                      <a:pt x="34" y="331"/>
                    </a:lnTo>
                    <a:lnTo>
                      <a:pt x="0" y="83"/>
                    </a:lnTo>
                    <a:lnTo>
                      <a:pt x="34" y="0"/>
                    </a:lnTo>
                    <a:lnTo>
                      <a:pt x="16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ïṥḷïḋê">
                <a:extLst>
                  <a:ext uri="{FF2B5EF4-FFF2-40B4-BE49-F238E27FC236}">
                    <a16:creationId xmlns:a16="http://schemas.microsoft.com/office/drawing/2014/main" id="{6DE51E85-FFB4-4DF6-A8C9-ED11481DAE76}"/>
                  </a:ext>
                </a:extLst>
              </p:cNvPr>
              <p:cNvSpPr/>
              <p:nvPr/>
            </p:nvSpPr>
            <p:spPr bwMode="auto">
              <a:xfrm>
                <a:off x="4263261" y="1625723"/>
                <a:ext cx="436198" cy="436197"/>
              </a:xfrm>
              <a:prstGeom prst="ellipse">
                <a:avLst/>
              </a:pr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ïṥḷîḍe">
                <a:extLst>
                  <a:ext uri="{FF2B5EF4-FFF2-40B4-BE49-F238E27FC236}">
                    <a16:creationId xmlns:a16="http://schemas.microsoft.com/office/drawing/2014/main" id="{EB73025B-6448-4491-943B-448508923DA5}"/>
                  </a:ext>
                </a:extLst>
              </p:cNvPr>
              <p:cNvSpPr/>
              <p:nvPr/>
            </p:nvSpPr>
            <p:spPr bwMode="auto">
              <a:xfrm>
                <a:off x="3885106" y="3094376"/>
                <a:ext cx="262070" cy="247122"/>
              </a:xfrm>
              <a:custGeom>
                <a:avLst/>
                <a:gdLst/>
                <a:ahLst/>
                <a:cxnLst>
                  <a:cxn ang="0">
                    <a:pos x="18" y="8"/>
                  </a:cxn>
                  <a:cxn ang="0">
                    <a:pos x="13" y="16"/>
                  </a:cxn>
                  <a:cxn ang="0">
                    <a:pos x="10" y="17"/>
                  </a:cxn>
                  <a:cxn ang="0">
                    <a:pos x="2" y="11"/>
                  </a:cxn>
                  <a:cxn ang="0">
                    <a:pos x="0" y="6"/>
                  </a:cxn>
                  <a:cxn ang="0">
                    <a:pos x="15" y="0"/>
                  </a:cxn>
                  <a:cxn ang="0">
                    <a:pos x="17" y="5"/>
                  </a:cxn>
                  <a:cxn ang="0">
                    <a:pos x="18" y="8"/>
                  </a:cxn>
                </a:cxnLst>
                <a:rect l="0" t="0" r="r" b="b"/>
                <a:pathLst>
                  <a:path w="18" h="17">
                    <a:moveTo>
                      <a:pt x="18" y="8"/>
                    </a:moveTo>
                    <a:cubicBezTo>
                      <a:pt x="18" y="12"/>
                      <a:pt x="16" y="15"/>
                      <a:pt x="13" y="16"/>
                    </a:cubicBezTo>
                    <a:cubicBezTo>
                      <a:pt x="12" y="17"/>
                      <a:pt x="11" y="17"/>
                      <a:pt x="10" y="17"/>
                    </a:cubicBezTo>
                    <a:cubicBezTo>
                      <a:pt x="6" y="17"/>
                      <a:pt x="3" y="15"/>
                      <a:pt x="2" y="1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8" y="6"/>
                      <a:pt x="18" y="7"/>
                      <a:pt x="18" y="8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iŝľïdé">
                <a:extLst>
                  <a:ext uri="{FF2B5EF4-FFF2-40B4-BE49-F238E27FC236}">
                    <a16:creationId xmlns:a16="http://schemas.microsoft.com/office/drawing/2014/main" id="{6A78C804-8B08-44B2-A995-82C41E6B1B05}"/>
                  </a:ext>
                </a:extLst>
              </p:cNvPr>
              <p:cNvSpPr/>
              <p:nvPr/>
            </p:nvSpPr>
            <p:spPr bwMode="auto">
              <a:xfrm>
                <a:off x="4830496" y="3109324"/>
                <a:ext cx="262070" cy="247122"/>
              </a:xfrm>
              <a:custGeom>
                <a:avLst/>
                <a:gdLst/>
                <a:ahLst/>
                <a:cxnLst>
                  <a:cxn ang="0">
                    <a:pos x="18" y="5"/>
                  </a:cxn>
                  <a:cxn ang="0">
                    <a:pos x="16" y="10"/>
                  </a:cxn>
                  <a:cxn ang="0">
                    <a:pos x="5" y="15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18" y="5"/>
                  </a:cxn>
                </a:cxnLst>
                <a:rect l="0" t="0" r="r" b="b"/>
                <a:pathLst>
                  <a:path w="18" h="17">
                    <a:moveTo>
                      <a:pt x="18" y="5"/>
                    </a:moveTo>
                    <a:cubicBezTo>
                      <a:pt x="16" y="10"/>
                      <a:pt x="16" y="10"/>
                      <a:pt x="16" y="10"/>
                    </a:cubicBezTo>
                    <a:cubicBezTo>
                      <a:pt x="15" y="14"/>
                      <a:pt x="10" y="17"/>
                      <a:pt x="5" y="15"/>
                    </a:cubicBezTo>
                    <a:cubicBezTo>
                      <a:pt x="2" y="14"/>
                      <a:pt x="0" y="11"/>
                      <a:pt x="0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18" y="5"/>
                    </a:ln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şļíḋê">
                <a:extLst>
                  <a:ext uri="{FF2B5EF4-FFF2-40B4-BE49-F238E27FC236}">
                    <a16:creationId xmlns:a16="http://schemas.microsoft.com/office/drawing/2014/main" id="{7F46E4E3-078F-48FB-8529-A3A538D31894}"/>
                  </a:ext>
                </a:extLst>
              </p:cNvPr>
              <p:cNvSpPr/>
              <p:nvPr/>
            </p:nvSpPr>
            <p:spPr bwMode="auto">
              <a:xfrm>
                <a:off x="3710097" y="2119963"/>
                <a:ext cx="1513506" cy="2647093"/>
              </a:xfrm>
              <a:custGeom>
                <a:avLst/>
                <a:gdLst/>
                <a:ahLst/>
                <a:cxnLst>
                  <a:cxn ang="0">
                    <a:pos x="104" y="45"/>
                  </a:cxn>
                  <a:cxn ang="0">
                    <a:pos x="95" y="73"/>
                  </a:cxn>
                  <a:cxn ang="0">
                    <a:pos x="79" y="68"/>
                  </a:cxn>
                  <a:cxn ang="0">
                    <a:pos x="87" y="43"/>
                  </a:cxn>
                  <a:cxn ang="0">
                    <a:pos x="80" y="29"/>
                  </a:cxn>
                  <a:cxn ang="0">
                    <a:pos x="74" y="68"/>
                  </a:cxn>
                  <a:cxn ang="0">
                    <a:pos x="76" y="75"/>
                  </a:cxn>
                  <a:cxn ang="0">
                    <a:pos x="94" y="171"/>
                  </a:cxn>
                  <a:cxn ang="0">
                    <a:pos x="88" y="181"/>
                  </a:cxn>
                  <a:cxn ang="0">
                    <a:pos x="86" y="181"/>
                  </a:cxn>
                  <a:cxn ang="0">
                    <a:pos x="78" y="174"/>
                  </a:cxn>
                  <a:cxn ang="0">
                    <a:pos x="77" y="173"/>
                  </a:cxn>
                  <a:cxn ang="0">
                    <a:pos x="53" y="85"/>
                  </a:cxn>
                  <a:cxn ang="0">
                    <a:pos x="32" y="173"/>
                  </a:cxn>
                  <a:cxn ang="0">
                    <a:pos x="31" y="174"/>
                  </a:cxn>
                  <a:cxn ang="0">
                    <a:pos x="22" y="181"/>
                  </a:cxn>
                  <a:cxn ang="0">
                    <a:pos x="15" y="172"/>
                  </a:cxn>
                  <a:cxn ang="0">
                    <a:pos x="30" y="75"/>
                  </a:cxn>
                  <a:cxn ang="0">
                    <a:pos x="32" y="66"/>
                  </a:cxn>
                  <a:cxn ang="0">
                    <a:pos x="26" y="27"/>
                  </a:cxn>
                  <a:cxn ang="0">
                    <a:pos x="18" y="42"/>
                  </a:cxn>
                  <a:cxn ang="0">
                    <a:pos x="27" y="67"/>
                  </a:cxn>
                  <a:cxn ang="0">
                    <a:pos x="12" y="73"/>
                  </a:cxn>
                  <a:cxn ang="0">
                    <a:pos x="1" y="45"/>
                  </a:cxn>
                  <a:cxn ang="0">
                    <a:pos x="1" y="38"/>
                  </a:cxn>
                  <a:cxn ang="0">
                    <a:pos x="18" y="5"/>
                  </a:cxn>
                  <a:cxn ang="0">
                    <a:pos x="26" y="0"/>
                  </a:cxn>
                  <a:cxn ang="0">
                    <a:pos x="80" y="0"/>
                  </a:cxn>
                  <a:cxn ang="0">
                    <a:pos x="88" y="5"/>
                  </a:cxn>
                  <a:cxn ang="0">
                    <a:pos x="103" y="38"/>
                  </a:cxn>
                  <a:cxn ang="0">
                    <a:pos x="104" y="45"/>
                  </a:cxn>
                </a:cxnLst>
                <a:rect l="0" t="0" r="r" b="b"/>
                <a:pathLst>
                  <a:path w="104" h="182">
                    <a:moveTo>
                      <a:pt x="104" y="45"/>
                    </a:moveTo>
                    <a:cubicBezTo>
                      <a:pt x="95" y="73"/>
                      <a:pt x="95" y="73"/>
                      <a:pt x="95" y="73"/>
                    </a:cubicBezTo>
                    <a:cubicBezTo>
                      <a:pt x="79" y="68"/>
                      <a:pt x="79" y="68"/>
                      <a:pt x="79" y="68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29"/>
                      <a:pt x="80" y="29"/>
                      <a:pt x="80" y="29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94" y="171"/>
                      <a:pt x="94" y="171"/>
                      <a:pt x="94" y="171"/>
                    </a:cubicBezTo>
                    <a:cubicBezTo>
                      <a:pt x="95" y="176"/>
                      <a:pt x="92" y="180"/>
                      <a:pt x="88" y="181"/>
                    </a:cubicBezTo>
                    <a:cubicBezTo>
                      <a:pt x="87" y="181"/>
                      <a:pt x="86" y="181"/>
                      <a:pt x="86" y="181"/>
                    </a:cubicBezTo>
                    <a:cubicBezTo>
                      <a:pt x="82" y="181"/>
                      <a:pt x="78" y="179"/>
                      <a:pt x="78" y="174"/>
                    </a:cubicBezTo>
                    <a:cubicBezTo>
                      <a:pt x="77" y="173"/>
                      <a:pt x="77" y="173"/>
                      <a:pt x="77" y="173"/>
                    </a:cubicBezTo>
                    <a:cubicBezTo>
                      <a:pt x="53" y="85"/>
                      <a:pt x="53" y="85"/>
                      <a:pt x="53" y="85"/>
                    </a:cubicBezTo>
                    <a:cubicBezTo>
                      <a:pt x="32" y="173"/>
                      <a:pt x="32" y="173"/>
                      <a:pt x="32" y="173"/>
                    </a:cubicBezTo>
                    <a:cubicBezTo>
                      <a:pt x="31" y="174"/>
                      <a:pt x="31" y="174"/>
                      <a:pt x="31" y="174"/>
                    </a:cubicBezTo>
                    <a:cubicBezTo>
                      <a:pt x="31" y="179"/>
                      <a:pt x="26" y="182"/>
                      <a:pt x="22" y="181"/>
                    </a:cubicBezTo>
                    <a:cubicBezTo>
                      <a:pt x="17" y="180"/>
                      <a:pt x="14" y="176"/>
                      <a:pt x="15" y="172"/>
                    </a:cubicBezTo>
                    <a:cubicBezTo>
                      <a:pt x="30" y="75"/>
                      <a:pt x="30" y="75"/>
                      <a:pt x="30" y="75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12" y="73"/>
                      <a:pt x="12" y="73"/>
                      <a:pt x="12" y="73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43"/>
                      <a:pt x="0" y="40"/>
                      <a:pt x="1" y="38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9" y="2"/>
                      <a:pt x="22" y="0"/>
                      <a:pt x="26" y="0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4" y="0"/>
                      <a:pt x="87" y="2"/>
                      <a:pt x="88" y="5"/>
                    </a:cubicBezTo>
                    <a:cubicBezTo>
                      <a:pt x="103" y="38"/>
                      <a:pt x="103" y="38"/>
                      <a:pt x="103" y="38"/>
                    </a:cubicBezTo>
                    <a:cubicBezTo>
                      <a:pt x="104" y="40"/>
                      <a:pt x="104" y="43"/>
                      <a:pt x="104" y="45"/>
                    </a:cubicBezTo>
                    <a:close/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íśḷíḋe">
                <a:extLst>
                  <a:ext uri="{FF2B5EF4-FFF2-40B4-BE49-F238E27FC236}">
                    <a16:creationId xmlns:a16="http://schemas.microsoft.com/office/drawing/2014/main" id="{AE9BF367-7D15-42DC-9BEC-22A7020784EF}"/>
                  </a:ext>
                </a:extLst>
              </p:cNvPr>
              <p:cNvSpPr/>
              <p:nvPr/>
            </p:nvSpPr>
            <p:spPr bwMode="auto">
              <a:xfrm>
                <a:off x="4423317" y="2119963"/>
                <a:ext cx="131037" cy="407178"/>
              </a:xfrm>
              <a:custGeom>
                <a:avLst/>
                <a:gdLst/>
                <a:ahLst/>
                <a:cxnLst>
                  <a:cxn ang="0">
                    <a:pos x="149" y="281"/>
                  </a:cxn>
                  <a:cxn ang="0">
                    <a:pos x="149" y="281"/>
                  </a:cxn>
                  <a:cxn ang="0">
                    <a:pos x="66" y="463"/>
                  </a:cxn>
                  <a:cxn ang="0">
                    <a:pos x="0" y="281"/>
                  </a:cxn>
                  <a:cxn ang="0">
                    <a:pos x="33" y="66"/>
                  </a:cxn>
                  <a:cxn ang="0">
                    <a:pos x="0" y="0"/>
                  </a:cxn>
                  <a:cxn ang="0">
                    <a:pos x="132" y="0"/>
                  </a:cxn>
                  <a:cxn ang="0">
                    <a:pos x="116" y="66"/>
                  </a:cxn>
                  <a:cxn ang="0">
                    <a:pos x="149" y="281"/>
                  </a:cxn>
                </a:cxnLst>
                <a:rect l="0" t="0" r="r" b="b"/>
                <a:pathLst>
                  <a:path w="149" h="463">
                    <a:moveTo>
                      <a:pt x="149" y="281"/>
                    </a:moveTo>
                    <a:lnTo>
                      <a:pt x="149" y="281"/>
                    </a:lnTo>
                    <a:lnTo>
                      <a:pt x="66" y="463"/>
                    </a:lnTo>
                    <a:lnTo>
                      <a:pt x="0" y="281"/>
                    </a:lnTo>
                    <a:lnTo>
                      <a:pt x="33" y="66"/>
                    </a:lnTo>
                    <a:lnTo>
                      <a:pt x="0" y="0"/>
                    </a:lnTo>
                    <a:lnTo>
                      <a:pt x="132" y="0"/>
                    </a:lnTo>
                    <a:lnTo>
                      <a:pt x="116" y="66"/>
                    </a:lnTo>
                    <a:lnTo>
                      <a:pt x="149" y="281"/>
                    </a:lnTo>
                    <a:close/>
                  </a:path>
                </a:pathLst>
              </a:custGeom>
              <a:solidFill>
                <a:srgbClr val="00A0C6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iŝ1ïdê">
                <a:extLst>
                  <a:ext uri="{FF2B5EF4-FFF2-40B4-BE49-F238E27FC236}">
                    <a16:creationId xmlns:a16="http://schemas.microsoft.com/office/drawing/2014/main" id="{6F735CFA-B7DD-4C46-957A-E44FE195BB7E}"/>
                  </a:ext>
                </a:extLst>
              </p:cNvPr>
              <p:cNvSpPr/>
              <p:nvPr/>
            </p:nvSpPr>
            <p:spPr bwMode="auto">
              <a:xfrm>
                <a:off x="4321304" y="2119963"/>
                <a:ext cx="131037" cy="247122"/>
              </a:xfrm>
              <a:custGeom>
                <a:avLst/>
                <a:gdLst/>
                <a:ahLst/>
                <a:cxnLst>
                  <a:cxn ang="0">
                    <a:pos x="149" y="66"/>
                  </a:cxn>
                  <a:cxn ang="0">
                    <a:pos x="116" y="281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49" y="66"/>
                  </a:cxn>
                </a:cxnLst>
                <a:rect l="0" t="0" r="r" b="b"/>
                <a:pathLst>
                  <a:path w="149" h="281">
                    <a:moveTo>
                      <a:pt x="149" y="66"/>
                    </a:moveTo>
                    <a:lnTo>
                      <a:pt x="116" y="281"/>
                    </a:lnTo>
                    <a:lnTo>
                      <a:pt x="0" y="0"/>
                    </a:lnTo>
                    <a:lnTo>
                      <a:pt x="116" y="0"/>
                    </a:lnTo>
                    <a:lnTo>
                      <a:pt x="149" y="6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iṧļiḓe">
                <a:extLst>
                  <a:ext uri="{FF2B5EF4-FFF2-40B4-BE49-F238E27FC236}">
                    <a16:creationId xmlns:a16="http://schemas.microsoft.com/office/drawing/2014/main" id="{11BBA475-0F7A-4C3C-A3D0-5C0C3735E65D}"/>
                  </a:ext>
                </a:extLst>
              </p:cNvPr>
              <p:cNvSpPr/>
              <p:nvPr/>
            </p:nvSpPr>
            <p:spPr bwMode="auto">
              <a:xfrm>
                <a:off x="4525331" y="2119963"/>
                <a:ext cx="116085" cy="247122"/>
              </a:xfrm>
              <a:custGeom>
                <a:avLst/>
                <a:gdLst/>
                <a:ahLst/>
                <a:cxnLst>
                  <a:cxn ang="0">
                    <a:pos x="132" y="0"/>
                  </a:cxn>
                  <a:cxn ang="0">
                    <a:pos x="33" y="281"/>
                  </a:cxn>
                  <a:cxn ang="0">
                    <a:pos x="0" y="66"/>
                  </a:cxn>
                  <a:cxn ang="0">
                    <a:pos x="16" y="0"/>
                  </a:cxn>
                  <a:cxn ang="0">
                    <a:pos x="132" y="0"/>
                  </a:cxn>
                </a:cxnLst>
                <a:rect l="0" t="0" r="r" b="b"/>
                <a:pathLst>
                  <a:path w="132" h="281">
                    <a:moveTo>
                      <a:pt x="132" y="0"/>
                    </a:moveTo>
                    <a:lnTo>
                      <a:pt x="33" y="281"/>
                    </a:lnTo>
                    <a:lnTo>
                      <a:pt x="0" y="66"/>
                    </a:lnTo>
                    <a:lnTo>
                      <a:pt x="16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ïṧļïdè">
                <a:extLst>
                  <a:ext uri="{FF2B5EF4-FFF2-40B4-BE49-F238E27FC236}">
                    <a16:creationId xmlns:a16="http://schemas.microsoft.com/office/drawing/2014/main" id="{D4011D04-F0D5-42F1-8CA6-E2E7176F5F1A}"/>
                  </a:ext>
                </a:extLst>
              </p:cNvPr>
              <p:cNvSpPr/>
              <p:nvPr/>
            </p:nvSpPr>
            <p:spPr bwMode="auto">
              <a:xfrm>
                <a:off x="7492538" y="1959907"/>
                <a:ext cx="422127" cy="436197"/>
              </a:xfrm>
              <a:prstGeom prst="ellipse">
                <a:avLst/>
              </a:pr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ïś1îďe">
                <a:extLst>
                  <a:ext uri="{FF2B5EF4-FFF2-40B4-BE49-F238E27FC236}">
                    <a16:creationId xmlns:a16="http://schemas.microsoft.com/office/drawing/2014/main" id="{AB2EBA17-DE75-47C9-9FCA-DE0291E9D5DC}"/>
                  </a:ext>
                </a:extLst>
              </p:cNvPr>
              <p:cNvSpPr/>
              <p:nvPr/>
            </p:nvSpPr>
            <p:spPr bwMode="auto">
              <a:xfrm>
                <a:off x="7128453" y="3385469"/>
                <a:ext cx="247999" cy="232170"/>
              </a:xfrm>
              <a:custGeom>
                <a:avLst/>
                <a:gdLst/>
                <a:ahLst/>
                <a:cxnLst>
                  <a:cxn ang="0">
                    <a:pos x="17" y="8"/>
                  </a:cxn>
                  <a:cxn ang="0">
                    <a:pos x="12" y="15"/>
                  </a:cxn>
                  <a:cxn ang="0">
                    <a:pos x="9" y="16"/>
                  </a:cxn>
                  <a:cxn ang="0">
                    <a:pos x="2" y="11"/>
                  </a:cxn>
                  <a:cxn ang="0">
                    <a:pos x="0" y="6"/>
                  </a:cxn>
                  <a:cxn ang="0">
                    <a:pos x="15" y="0"/>
                  </a:cxn>
                  <a:cxn ang="0">
                    <a:pos x="17" y="5"/>
                  </a:cxn>
                  <a:cxn ang="0">
                    <a:pos x="17" y="8"/>
                  </a:cxn>
                </a:cxnLst>
                <a:rect l="0" t="0" r="r" b="b"/>
                <a:pathLst>
                  <a:path w="17" h="16">
                    <a:moveTo>
                      <a:pt x="17" y="8"/>
                    </a:moveTo>
                    <a:cubicBezTo>
                      <a:pt x="17" y="11"/>
                      <a:pt x="15" y="14"/>
                      <a:pt x="12" y="15"/>
                    </a:cubicBezTo>
                    <a:cubicBezTo>
                      <a:pt x="11" y="16"/>
                      <a:pt x="10" y="16"/>
                      <a:pt x="9" y="16"/>
                    </a:cubicBezTo>
                    <a:cubicBezTo>
                      <a:pt x="6" y="16"/>
                      <a:pt x="3" y="14"/>
                      <a:pt x="2" y="1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6"/>
                      <a:pt x="17" y="7"/>
                      <a:pt x="17" y="8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ïṩlïḑê">
                <a:extLst>
                  <a:ext uri="{FF2B5EF4-FFF2-40B4-BE49-F238E27FC236}">
                    <a16:creationId xmlns:a16="http://schemas.microsoft.com/office/drawing/2014/main" id="{EA7BC68E-A10C-434C-84DC-1D166AA18A5F}"/>
                  </a:ext>
                </a:extLst>
              </p:cNvPr>
              <p:cNvSpPr/>
              <p:nvPr/>
            </p:nvSpPr>
            <p:spPr bwMode="auto">
              <a:xfrm>
                <a:off x="8030749" y="3399540"/>
                <a:ext cx="247122" cy="233051"/>
              </a:xfrm>
              <a:custGeom>
                <a:avLst/>
                <a:gdLst/>
                <a:ahLst/>
                <a:cxnLst>
                  <a:cxn ang="0">
                    <a:pos x="17" y="5"/>
                  </a:cxn>
                  <a:cxn ang="0">
                    <a:pos x="16" y="9"/>
                  </a:cxn>
                  <a:cxn ang="0">
                    <a:pos x="6" y="15"/>
                  </a:cxn>
                  <a:cxn ang="0">
                    <a:pos x="0" y="7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17" y="5"/>
                  </a:cxn>
                </a:cxnLst>
                <a:rect l="0" t="0" r="r" b="b"/>
                <a:pathLst>
                  <a:path w="17" h="16">
                    <a:moveTo>
                      <a:pt x="17" y="5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4" y="14"/>
                      <a:pt x="10" y="16"/>
                      <a:pt x="6" y="15"/>
                    </a:cubicBezTo>
                    <a:cubicBezTo>
                      <a:pt x="2" y="13"/>
                      <a:pt x="0" y="10"/>
                      <a:pt x="0" y="7"/>
                    </a:cubicBezTo>
                    <a:cubicBezTo>
                      <a:pt x="0" y="6"/>
                      <a:pt x="0" y="5"/>
                      <a:pt x="0" y="4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17" y="5"/>
                    </a:ln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iṥlîḍé">
                <a:extLst>
                  <a:ext uri="{FF2B5EF4-FFF2-40B4-BE49-F238E27FC236}">
                    <a16:creationId xmlns:a16="http://schemas.microsoft.com/office/drawing/2014/main" id="{7F78690D-9C54-4AE4-9662-DF85E598B754}"/>
                  </a:ext>
                </a:extLst>
              </p:cNvPr>
              <p:cNvSpPr/>
              <p:nvPr/>
            </p:nvSpPr>
            <p:spPr bwMode="auto">
              <a:xfrm>
                <a:off x="6968397" y="2454150"/>
                <a:ext cx="1454582" cy="2531008"/>
              </a:xfrm>
              <a:custGeom>
                <a:avLst/>
                <a:gdLst/>
                <a:ahLst/>
                <a:cxnLst>
                  <a:cxn ang="0">
                    <a:pos x="99" y="42"/>
                  </a:cxn>
                  <a:cxn ang="0">
                    <a:pos x="90" y="70"/>
                  </a:cxn>
                  <a:cxn ang="0">
                    <a:pos x="75" y="65"/>
                  </a:cxn>
                  <a:cxn ang="0">
                    <a:pos x="83" y="40"/>
                  </a:cxn>
                  <a:cxn ang="0">
                    <a:pos x="77" y="27"/>
                  </a:cxn>
                  <a:cxn ang="0">
                    <a:pos x="71" y="64"/>
                  </a:cxn>
                  <a:cxn ang="0">
                    <a:pos x="72" y="72"/>
                  </a:cxn>
                  <a:cxn ang="0">
                    <a:pos x="90" y="164"/>
                  </a:cxn>
                  <a:cxn ang="0">
                    <a:pos x="84" y="173"/>
                  </a:cxn>
                  <a:cxn ang="0">
                    <a:pos x="82" y="174"/>
                  </a:cxn>
                  <a:cxn ang="0">
                    <a:pos x="74" y="167"/>
                  </a:cxn>
                  <a:cxn ang="0">
                    <a:pos x="74" y="165"/>
                  </a:cxn>
                  <a:cxn ang="0">
                    <a:pos x="50" y="81"/>
                  </a:cxn>
                  <a:cxn ang="0">
                    <a:pos x="30" y="165"/>
                  </a:cxn>
                  <a:cxn ang="0">
                    <a:pos x="30" y="167"/>
                  </a:cxn>
                  <a:cxn ang="0">
                    <a:pos x="20" y="173"/>
                  </a:cxn>
                  <a:cxn ang="0">
                    <a:pos x="14" y="164"/>
                  </a:cxn>
                  <a:cxn ang="0">
                    <a:pos x="28" y="72"/>
                  </a:cxn>
                  <a:cxn ang="0">
                    <a:pos x="30" y="63"/>
                  </a:cxn>
                  <a:cxn ang="0">
                    <a:pos x="24" y="25"/>
                  </a:cxn>
                  <a:cxn ang="0">
                    <a:pos x="17" y="40"/>
                  </a:cxn>
                  <a:cxn ang="0">
                    <a:pos x="26" y="64"/>
                  </a:cxn>
                  <a:cxn ang="0">
                    <a:pos x="11" y="70"/>
                  </a:cxn>
                  <a:cxn ang="0">
                    <a:pos x="0" y="42"/>
                  </a:cxn>
                  <a:cxn ang="0">
                    <a:pos x="1" y="36"/>
                  </a:cxn>
                  <a:cxn ang="0">
                    <a:pos x="17" y="4"/>
                  </a:cxn>
                  <a:cxn ang="0">
                    <a:pos x="24" y="0"/>
                  </a:cxn>
                  <a:cxn ang="0">
                    <a:pos x="77" y="0"/>
                  </a:cxn>
                  <a:cxn ang="0">
                    <a:pos x="84" y="4"/>
                  </a:cxn>
                  <a:cxn ang="0">
                    <a:pos x="99" y="36"/>
                  </a:cxn>
                  <a:cxn ang="0">
                    <a:pos x="99" y="42"/>
                  </a:cxn>
                </a:cxnLst>
                <a:rect l="0" t="0" r="r" b="b"/>
                <a:pathLst>
                  <a:path w="100" h="174">
                    <a:moveTo>
                      <a:pt x="99" y="42"/>
                    </a:moveTo>
                    <a:cubicBezTo>
                      <a:pt x="90" y="70"/>
                      <a:pt x="90" y="70"/>
                      <a:pt x="90" y="70"/>
                    </a:cubicBezTo>
                    <a:cubicBezTo>
                      <a:pt x="75" y="65"/>
                      <a:pt x="75" y="65"/>
                      <a:pt x="75" y="65"/>
                    </a:cubicBezTo>
                    <a:cubicBezTo>
                      <a:pt x="83" y="40"/>
                      <a:pt x="83" y="40"/>
                      <a:pt x="83" y="40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1" y="64"/>
                      <a:pt x="71" y="64"/>
                      <a:pt x="71" y="64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90" y="164"/>
                      <a:pt x="90" y="164"/>
                      <a:pt x="90" y="164"/>
                    </a:cubicBezTo>
                    <a:cubicBezTo>
                      <a:pt x="91" y="168"/>
                      <a:pt x="88" y="173"/>
                      <a:pt x="84" y="173"/>
                    </a:cubicBezTo>
                    <a:cubicBezTo>
                      <a:pt x="83" y="173"/>
                      <a:pt x="82" y="174"/>
                      <a:pt x="82" y="174"/>
                    </a:cubicBezTo>
                    <a:cubicBezTo>
                      <a:pt x="78" y="174"/>
                      <a:pt x="75" y="171"/>
                      <a:pt x="74" y="167"/>
                    </a:cubicBezTo>
                    <a:cubicBezTo>
                      <a:pt x="74" y="165"/>
                      <a:pt x="74" y="165"/>
                      <a:pt x="74" y="165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30" y="165"/>
                      <a:pt x="30" y="165"/>
                      <a:pt x="30" y="165"/>
                    </a:cubicBezTo>
                    <a:cubicBezTo>
                      <a:pt x="30" y="167"/>
                      <a:pt x="30" y="167"/>
                      <a:pt x="30" y="167"/>
                    </a:cubicBezTo>
                    <a:cubicBezTo>
                      <a:pt x="29" y="171"/>
                      <a:pt x="25" y="174"/>
                      <a:pt x="20" y="173"/>
                    </a:cubicBezTo>
                    <a:cubicBezTo>
                      <a:pt x="16" y="173"/>
                      <a:pt x="13" y="169"/>
                      <a:pt x="14" y="164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30" y="63"/>
                      <a:pt x="30" y="63"/>
                      <a:pt x="30" y="63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11" y="70"/>
                      <a:pt x="11" y="70"/>
                      <a:pt x="11" y="7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0"/>
                      <a:pt x="0" y="38"/>
                      <a:pt x="1" y="36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1"/>
                      <a:pt x="21" y="0"/>
                      <a:pt x="24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80" y="0"/>
                      <a:pt x="83" y="1"/>
                      <a:pt x="84" y="4"/>
                    </a:cubicBezTo>
                    <a:cubicBezTo>
                      <a:pt x="99" y="36"/>
                      <a:pt x="99" y="36"/>
                      <a:pt x="99" y="36"/>
                    </a:cubicBezTo>
                    <a:cubicBezTo>
                      <a:pt x="100" y="38"/>
                      <a:pt x="100" y="40"/>
                      <a:pt x="99" y="42"/>
                    </a:cubicBezTo>
                  </a:path>
                </a:pathLst>
              </a:custGeom>
              <a:solidFill>
                <a:srgbClr val="4D4D4D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iṡļîḑè">
                <a:extLst>
                  <a:ext uri="{FF2B5EF4-FFF2-40B4-BE49-F238E27FC236}">
                    <a16:creationId xmlns:a16="http://schemas.microsoft.com/office/drawing/2014/main" id="{3E1E524B-0E02-49E4-A254-AAA93EB4E8A4}"/>
                  </a:ext>
                </a:extLst>
              </p:cNvPr>
              <p:cNvSpPr/>
              <p:nvPr/>
            </p:nvSpPr>
            <p:spPr bwMode="auto">
              <a:xfrm>
                <a:off x="7637645" y="2454150"/>
                <a:ext cx="131037" cy="393107"/>
              </a:xfrm>
              <a:custGeom>
                <a:avLst/>
                <a:gdLst/>
                <a:ahLst/>
                <a:cxnLst>
                  <a:cxn ang="0">
                    <a:pos x="149" y="265"/>
                  </a:cxn>
                  <a:cxn ang="0">
                    <a:pos x="149" y="265"/>
                  </a:cxn>
                  <a:cxn ang="0">
                    <a:pos x="83" y="447"/>
                  </a:cxn>
                  <a:cxn ang="0">
                    <a:pos x="0" y="265"/>
                  </a:cxn>
                  <a:cxn ang="0">
                    <a:pos x="33" y="50"/>
                  </a:cxn>
                  <a:cxn ang="0">
                    <a:pos x="17" y="0"/>
                  </a:cxn>
                  <a:cxn ang="0">
                    <a:pos x="149" y="0"/>
                  </a:cxn>
                  <a:cxn ang="0">
                    <a:pos x="116" y="50"/>
                  </a:cxn>
                  <a:cxn ang="0">
                    <a:pos x="149" y="265"/>
                  </a:cxn>
                </a:cxnLst>
                <a:rect l="0" t="0" r="r" b="b"/>
                <a:pathLst>
                  <a:path w="149" h="447">
                    <a:moveTo>
                      <a:pt x="149" y="265"/>
                    </a:moveTo>
                    <a:lnTo>
                      <a:pt x="149" y="265"/>
                    </a:lnTo>
                    <a:lnTo>
                      <a:pt x="83" y="447"/>
                    </a:lnTo>
                    <a:lnTo>
                      <a:pt x="0" y="265"/>
                    </a:lnTo>
                    <a:lnTo>
                      <a:pt x="33" y="50"/>
                    </a:lnTo>
                    <a:lnTo>
                      <a:pt x="17" y="0"/>
                    </a:lnTo>
                    <a:lnTo>
                      <a:pt x="149" y="0"/>
                    </a:lnTo>
                    <a:lnTo>
                      <a:pt x="116" y="50"/>
                    </a:lnTo>
                    <a:lnTo>
                      <a:pt x="149" y="265"/>
                    </a:lnTo>
                    <a:close/>
                  </a:path>
                </a:pathLst>
              </a:custGeom>
              <a:solidFill>
                <a:srgbClr val="40A629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iŝlíḍè">
                <a:extLst>
                  <a:ext uri="{FF2B5EF4-FFF2-40B4-BE49-F238E27FC236}">
                    <a16:creationId xmlns:a16="http://schemas.microsoft.com/office/drawing/2014/main" id="{CDC24D2A-821E-4238-825A-E5A37BB39198}"/>
                  </a:ext>
                </a:extLst>
              </p:cNvPr>
              <p:cNvSpPr/>
              <p:nvPr/>
            </p:nvSpPr>
            <p:spPr bwMode="auto">
              <a:xfrm>
                <a:off x="7550580" y="2454150"/>
                <a:ext cx="116085" cy="233051"/>
              </a:xfrm>
              <a:custGeom>
                <a:avLst/>
                <a:gdLst/>
                <a:ahLst/>
                <a:cxnLst>
                  <a:cxn ang="0">
                    <a:pos x="132" y="50"/>
                  </a:cxn>
                  <a:cxn ang="0">
                    <a:pos x="99" y="265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32" y="50"/>
                  </a:cxn>
                </a:cxnLst>
                <a:rect l="0" t="0" r="r" b="b"/>
                <a:pathLst>
                  <a:path w="132" h="265">
                    <a:moveTo>
                      <a:pt x="132" y="50"/>
                    </a:moveTo>
                    <a:lnTo>
                      <a:pt x="99" y="265"/>
                    </a:lnTo>
                    <a:lnTo>
                      <a:pt x="0" y="0"/>
                    </a:lnTo>
                    <a:lnTo>
                      <a:pt x="116" y="0"/>
                    </a:lnTo>
                    <a:lnTo>
                      <a:pt x="132" y="5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íṡlíḋê">
                <a:extLst>
                  <a:ext uri="{FF2B5EF4-FFF2-40B4-BE49-F238E27FC236}">
                    <a16:creationId xmlns:a16="http://schemas.microsoft.com/office/drawing/2014/main" id="{1AF8F035-667C-4C14-9077-6CFE05E7CD1B}"/>
                  </a:ext>
                </a:extLst>
              </p:cNvPr>
              <p:cNvSpPr/>
              <p:nvPr/>
            </p:nvSpPr>
            <p:spPr bwMode="auto">
              <a:xfrm>
                <a:off x="7739659" y="2454150"/>
                <a:ext cx="116085" cy="233051"/>
              </a:xfrm>
              <a:custGeom>
                <a:avLst/>
                <a:gdLst/>
                <a:ahLst/>
                <a:cxnLst>
                  <a:cxn ang="0">
                    <a:pos x="132" y="0"/>
                  </a:cxn>
                  <a:cxn ang="0">
                    <a:pos x="33" y="265"/>
                  </a:cxn>
                  <a:cxn ang="0">
                    <a:pos x="0" y="50"/>
                  </a:cxn>
                  <a:cxn ang="0">
                    <a:pos x="33" y="0"/>
                  </a:cxn>
                  <a:cxn ang="0">
                    <a:pos x="132" y="0"/>
                  </a:cxn>
                </a:cxnLst>
                <a:rect l="0" t="0" r="r" b="b"/>
                <a:pathLst>
                  <a:path w="132" h="265">
                    <a:moveTo>
                      <a:pt x="132" y="0"/>
                    </a:moveTo>
                    <a:lnTo>
                      <a:pt x="33" y="265"/>
                    </a:lnTo>
                    <a:lnTo>
                      <a:pt x="0" y="50"/>
                    </a:lnTo>
                    <a:lnTo>
                      <a:pt x="33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ïṥḷiďé">
                <a:extLst>
                  <a:ext uri="{FF2B5EF4-FFF2-40B4-BE49-F238E27FC236}">
                    <a16:creationId xmlns:a16="http://schemas.microsoft.com/office/drawing/2014/main" id="{5BD55AE7-5F81-4F33-82C3-BC44A7B32727}"/>
                  </a:ext>
                </a:extLst>
              </p:cNvPr>
              <p:cNvSpPr/>
              <p:nvPr/>
            </p:nvSpPr>
            <p:spPr bwMode="auto">
              <a:xfrm>
                <a:off x="7114382" y="1116531"/>
                <a:ext cx="291093" cy="276141"/>
              </a:xfrm>
              <a:custGeom>
                <a:avLst/>
                <a:gdLst/>
                <a:ahLst/>
                <a:cxnLst>
                  <a:cxn ang="0">
                    <a:pos x="18" y="14"/>
                  </a:cxn>
                  <a:cxn ang="0">
                    <a:pos x="15" y="19"/>
                  </a:cxn>
                  <a:cxn ang="0">
                    <a:pos x="0" y="11"/>
                  </a:cxn>
                  <a:cxn ang="0">
                    <a:pos x="3" y="6"/>
                  </a:cxn>
                  <a:cxn ang="0">
                    <a:pos x="14" y="2"/>
                  </a:cxn>
                  <a:cxn ang="0">
                    <a:pos x="18" y="14"/>
                  </a:cxn>
                </a:cxnLst>
                <a:rect l="0" t="0" r="r" b="b"/>
                <a:pathLst>
                  <a:path w="20" h="19">
                    <a:moveTo>
                      <a:pt x="18" y="14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2"/>
                      <a:pt x="10" y="0"/>
                      <a:pt x="14" y="2"/>
                    </a:cubicBezTo>
                    <a:cubicBezTo>
                      <a:pt x="19" y="5"/>
                      <a:pt x="20" y="10"/>
                      <a:pt x="18" y="14"/>
                    </a:cubicBezTo>
                    <a:close/>
                  </a:path>
                </a:pathLst>
              </a:custGeom>
              <a:solidFill>
                <a:srgbClr val="FDCD9C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îślîďe">
                <a:extLst>
                  <a:ext uri="{FF2B5EF4-FFF2-40B4-BE49-F238E27FC236}">
                    <a16:creationId xmlns:a16="http://schemas.microsoft.com/office/drawing/2014/main" id="{B6C5BA72-A73D-4167-9490-419E8B538F5F}"/>
                  </a:ext>
                </a:extLst>
              </p:cNvPr>
              <p:cNvSpPr/>
              <p:nvPr/>
            </p:nvSpPr>
            <p:spPr bwMode="auto">
              <a:xfrm>
                <a:off x="5281645" y="4475963"/>
                <a:ext cx="1628709" cy="1265502"/>
              </a:xfrm>
              <a:prstGeom prst="rect">
                <a:avLst/>
              </a:prstGeom>
              <a:solidFill>
                <a:srgbClr val="FEA6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ï$ľïďê">
                <a:extLst>
                  <a:ext uri="{FF2B5EF4-FFF2-40B4-BE49-F238E27FC236}">
                    <a16:creationId xmlns:a16="http://schemas.microsoft.com/office/drawing/2014/main" id="{ACFC47D1-7D08-4E4B-B539-2A684611F417}"/>
                  </a:ext>
                </a:extLst>
              </p:cNvPr>
              <p:cNvSpPr/>
              <p:nvPr/>
            </p:nvSpPr>
            <p:spPr bwMode="auto">
              <a:xfrm>
                <a:off x="5281645" y="4475963"/>
                <a:ext cx="1628709" cy="12655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ïṡḷïḍe">
                <a:extLst>
                  <a:ext uri="{FF2B5EF4-FFF2-40B4-BE49-F238E27FC236}">
                    <a16:creationId xmlns:a16="http://schemas.microsoft.com/office/drawing/2014/main" id="{7D43C748-4D84-4EDB-9FB3-8FED56E5AE82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1629590" cy="800286"/>
              </a:xfrm>
              <a:prstGeom prst="rect">
                <a:avLst/>
              </a:prstGeom>
              <a:solidFill>
                <a:srgbClr val="FEA6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ïṥ1îḑe">
                <a:extLst>
                  <a:ext uri="{FF2B5EF4-FFF2-40B4-BE49-F238E27FC236}">
                    <a16:creationId xmlns:a16="http://schemas.microsoft.com/office/drawing/2014/main" id="{C47EF173-17F0-4CFF-B279-E65780D2E17A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1629590" cy="800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îṧlíḓê">
                <a:extLst>
                  <a:ext uri="{FF2B5EF4-FFF2-40B4-BE49-F238E27FC236}">
                    <a16:creationId xmlns:a16="http://schemas.microsoft.com/office/drawing/2014/main" id="{0098C5F2-7D51-4E54-A668-099F2593EE6C}"/>
                  </a:ext>
                </a:extLst>
              </p:cNvPr>
              <p:cNvSpPr/>
              <p:nvPr/>
            </p:nvSpPr>
            <p:spPr bwMode="auto">
              <a:xfrm>
                <a:off x="3652055" y="4723085"/>
                <a:ext cx="1629590" cy="1018384"/>
              </a:xfrm>
              <a:prstGeom prst="rect">
                <a:avLst/>
              </a:prstGeom>
              <a:solidFill>
                <a:srgbClr val="FEA6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ïSľidè">
                <a:extLst>
                  <a:ext uri="{FF2B5EF4-FFF2-40B4-BE49-F238E27FC236}">
                    <a16:creationId xmlns:a16="http://schemas.microsoft.com/office/drawing/2014/main" id="{DBF3329E-4D0E-4EE8-9445-C7942D4064F8}"/>
                  </a:ext>
                </a:extLst>
              </p:cNvPr>
              <p:cNvSpPr/>
              <p:nvPr/>
            </p:nvSpPr>
            <p:spPr bwMode="auto">
              <a:xfrm>
                <a:off x="3652055" y="4723085"/>
                <a:ext cx="1629590" cy="10183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iṥḷïḍe">
                <a:extLst>
                  <a:ext uri="{FF2B5EF4-FFF2-40B4-BE49-F238E27FC236}">
                    <a16:creationId xmlns:a16="http://schemas.microsoft.com/office/drawing/2014/main" id="{15224FF4-B16C-4825-AB8C-FF814ED28F71}"/>
                  </a:ext>
                </a:extLst>
              </p:cNvPr>
              <p:cNvSpPr/>
              <p:nvPr/>
            </p:nvSpPr>
            <p:spPr bwMode="auto">
              <a:xfrm>
                <a:off x="5979913" y="4825099"/>
                <a:ext cx="160056" cy="582183"/>
              </a:xfrm>
              <a:custGeom>
                <a:avLst/>
                <a:gdLst/>
                <a:ahLst/>
                <a:cxnLst>
                  <a:cxn ang="0">
                    <a:pos x="5" y="40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0" y="5"/>
                  </a:cxn>
                  <a:cxn ang="0">
                    <a:pos x="4" y="3"/>
                  </a:cxn>
                  <a:cxn ang="0">
                    <a:pos x="7" y="0"/>
                  </a:cxn>
                  <a:cxn ang="0">
                    <a:pos x="11" y="0"/>
                  </a:cxn>
                  <a:cxn ang="0">
                    <a:pos x="11" y="40"/>
                  </a:cxn>
                  <a:cxn ang="0">
                    <a:pos x="5" y="40"/>
                  </a:cxn>
                </a:cxnLst>
                <a:rect l="0" t="0" r="r" b="b"/>
                <a:pathLst>
                  <a:path w="11" h="40">
                    <a:moveTo>
                      <a:pt x="5" y="4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5"/>
                      <a:pt x="3" y="4"/>
                      <a:pt x="4" y="3"/>
                    </a:cubicBezTo>
                    <a:cubicBezTo>
                      <a:pt x="6" y="2"/>
                      <a:pt x="7" y="1"/>
                      <a:pt x="7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40"/>
                      <a:pt x="11" y="40"/>
                      <a:pt x="11" y="40"/>
                    </a:cubicBezTo>
                    <a:lnTo>
                      <a:pt x="5" y="40"/>
                    </a:lnTo>
                    <a:close/>
                  </a:path>
                </a:pathLst>
              </a:custGeom>
              <a:solidFill>
                <a:srgbClr val="FFE61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iṩľíḑê">
                <a:extLst>
                  <a:ext uri="{FF2B5EF4-FFF2-40B4-BE49-F238E27FC236}">
                    <a16:creationId xmlns:a16="http://schemas.microsoft.com/office/drawing/2014/main" id="{E300E6F1-2625-414C-BEC2-191F97FB2194}"/>
                  </a:ext>
                </a:extLst>
              </p:cNvPr>
              <p:cNvSpPr/>
              <p:nvPr/>
            </p:nvSpPr>
            <p:spPr bwMode="auto">
              <a:xfrm>
                <a:off x="4321304" y="4941183"/>
                <a:ext cx="291093" cy="582183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2"/>
                  </a:cxn>
                  <a:cxn ang="0">
                    <a:pos x="10" y="0"/>
                  </a:cxn>
                  <a:cxn ang="0">
                    <a:pos x="17" y="3"/>
                  </a:cxn>
                  <a:cxn ang="0">
                    <a:pos x="20" y="10"/>
                  </a:cxn>
                  <a:cxn ang="0">
                    <a:pos x="18" y="18"/>
                  </a:cxn>
                  <a:cxn ang="0">
                    <a:pos x="14" y="25"/>
                  </a:cxn>
                  <a:cxn ang="0">
                    <a:pos x="11" y="30"/>
                  </a:cxn>
                  <a:cxn ang="0">
                    <a:pos x="10" y="31"/>
                  </a:cxn>
                  <a:cxn ang="0">
                    <a:pos x="8" y="34"/>
                  </a:cxn>
                  <a:cxn ang="0">
                    <a:pos x="8" y="34"/>
                  </a:cxn>
                  <a:cxn ang="0">
                    <a:pos x="20" y="34"/>
                  </a:cxn>
                  <a:cxn ang="0">
                    <a:pos x="20" y="40"/>
                  </a:cxn>
                  <a:cxn ang="0">
                    <a:pos x="0" y="40"/>
                  </a:cxn>
                  <a:cxn ang="0">
                    <a:pos x="0" y="35"/>
                  </a:cxn>
                  <a:cxn ang="0">
                    <a:pos x="2" y="33"/>
                  </a:cxn>
                  <a:cxn ang="0">
                    <a:pos x="3" y="30"/>
                  </a:cxn>
                  <a:cxn ang="0">
                    <a:pos x="5" y="28"/>
                  </a:cxn>
                  <a:cxn ang="0">
                    <a:pos x="9" y="22"/>
                  </a:cxn>
                  <a:cxn ang="0">
                    <a:pos x="13" y="15"/>
                  </a:cxn>
                  <a:cxn ang="0">
                    <a:pos x="14" y="10"/>
                  </a:cxn>
                  <a:cxn ang="0">
                    <a:pos x="13" y="7"/>
                  </a:cxn>
                  <a:cxn ang="0">
                    <a:pos x="10" y="5"/>
                  </a:cxn>
                  <a:cxn ang="0">
                    <a:pos x="7" y="8"/>
                  </a:cxn>
                  <a:cxn ang="0">
                    <a:pos x="6" y="11"/>
                  </a:cxn>
                  <a:cxn ang="0">
                    <a:pos x="6" y="12"/>
                  </a:cxn>
                  <a:cxn ang="0">
                    <a:pos x="0" y="12"/>
                  </a:cxn>
                  <a:cxn ang="0">
                    <a:pos x="0" y="11"/>
                  </a:cxn>
                </a:cxnLst>
                <a:rect l="0" t="0" r="r" b="b"/>
                <a:pathLst>
                  <a:path w="20" h="40">
                    <a:moveTo>
                      <a:pt x="0" y="11"/>
                    </a:moveTo>
                    <a:cubicBezTo>
                      <a:pt x="0" y="7"/>
                      <a:pt x="1" y="4"/>
                      <a:pt x="3" y="2"/>
                    </a:cubicBezTo>
                    <a:cubicBezTo>
                      <a:pt x="5" y="1"/>
                      <a:pt x="8" y="0"/>
                      <a:pt x="10" y="0"/>
                    </a:cubicBezTo>
                    <a:cubicBezTo>
                      <a:pt x="13" y="0"/>
                      <a:pt x="15" y="1"/>
                      <a:pt x="17" y="3"/>
                    </a:cubicBezTo>
                    <a:cubicBezTo>
                      <a:pt x="19" y="5"/>
                      <a:pt x="20" y="7"/>
                      <a:pt x="20" y="10"/>
                    </a:cubicBezTo>
                    <a:cubicBezTo>
                      <a:pt x="20" y="13"/>
                      <a:pt x="20" y="15"/>
                      <a:pt x="18" y="18"/>
                    </a:cubicBezTo>
                    <a:cubicBezTo>
                      <a:pt x="18" y="19"/>
                      <a:pt x="16" y="22"/>
                      <a:pt x="14" y="25"/>
                    </a:cubicBezTo>
                    <a:cubicBezTo>
                      <a:pt x="13" y="26"/>
                      <a:pt x="12" y="28"/>
                      <a:pt x="11" y="30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9" y="32"/>
                      <a:pt x="8" y="33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1" y="34"/>
                      <a:pt x="2" y="33"/>
                    </a:cubicBezTo>
                    <a:cubicBezTo>
                      <a:pt x="2" y="32"/>
                      <a:pt x="2" y="31"/>
                      <a:pt x="3" y="30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7"/>
                      <a:pt x="7" y="25"/>
                      <a:pt x="9" y="22"/>
                    </a:cubicBezTo>
                    <a:cubicBezTo>
                      <a:pt x="11" y="19"/>
                      <a:pt x="12" y="17"/>
                      <a:pt x="13" y="15"/>
                    </a:cubicBezTo>
                    <a:cubicBezTo>
                      <a:pt x="14" y="13"/>
                      <a:pt x="14" y="11"/>
                      <a:pt x="14" y="10"/>
                    </a:cubicBezTo>
                    <a:cubicBezTo>
                      <a:pt x="14" y="9"/>
                      <a:pt x="14" y="8"/>
                      <a:pt x="13" y="7"/>
                    </a:cubicBezTo>
                    <a:cubicBezTo>
                      <a:pt x="12" y="6"/>
                      <a:pt x="12" y="5"/>
                      <a:pt x="10" y="5"/>
                    </a:cubicBezTo>
                    <a:cubicBezTo>
                      <a:pt x="9" y="5"/>
                      <a:pt x="7" y="6"/>
                      <a:pt x="7" y="8"/>
                    </a:cubicBezTo>
                    <a:cubicBezTo>
                      <a:pt x="6" y="9"/>
                      <a:pt x="6" y="10"/>
                      <a:pt x="6" y="11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E61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islîdè">
                <a:extLst>
                  <a:ext uri="{FF2B5EF4-FFF2-40B4-BE49-F238E27FC236}">
                    <a16:creationId xmlns:a16="http://schemas.microsoft.com/office/drawing/2014/main" id="{C0B41C41-4385-48EC-869D-E7CC6DF82C80}"/>
                  </a:ext>
                </a:extLst>
              </p:cNvPr>
              <p:cNvSpPr/>
              <p:nvPr/>
            </p:nvSpPr>
            <p:spPr bwMode="auto">
              <a:xfrm>
                <a:off x="7550580" y="5043197"/>
                <a:ext cx="276141" cy="596254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13" y="31"/>
                  </a:cxn>
                  <a:cxn ang="0">
                    <a:pos x="13" y="29"/>
                  </a:cxn>
                  <a:cxn ang="0">
                    <a:pos x="7" y="23"/>
                  </a:cxn>
                  <a:cxn ang="0">
                    <a:pos x="7" y="17"/>
                  </a:cxn>
                  <a:cxn ang="0">
                    <a:pos x="12" y="16"/>
                  </a:cxn>
                  <a:cxn ang="0">
                    <a:pos x="14" y="11"/>
                  </a:cxn>
                  <a:cxn ang="0">
                    <a:pos x="14" y="10"/>
                  </a:cxn>
                  <a:cxn ang="0">
                    <a:pos x="10" y="6"/>
                  </a:cxn>
                  <a:cxn ang="0">
                    <a:pos x="7" y="7"/>
                  </a:cxn>
                  <a:cxn ang="0">
                    <a:pos x="7" y="10"/>
                  </a:cxn>
                  <a:cxn ang="0">
                    <a:pos x="7" y="11"/>
                  </a:cxn>
                  <a:cxn ang="0">
                    <a:pos x="1" y="11"/>
                  </a:cxn>
                  <a:cxn ang="0">
                    <a:pos x="1" y="10"/>
                  </a:cxn>
                  <a:cxn ang="0">
                    <a:pos x="3" y="3"/>
                  </a:cxn>
                  <a:cxn ang="0">
                    <a:pos x="10" y="0"/>
                  </a:cxn>
                  <a:cxn ang="0">
                    <a:pos x="17" y="3"/>
                  </a:cxn>
                  <a:cxn ang="0">
                    <a:pos x="19" y="10"/>
                  </a:cxn>
                  <a:cxn ang="0">
                    <a:pos x="19" y="11"/>
                  </a:cxn>
                  <a:cxn ang="0">
                    <a:pos x="17" y="18"/>
                  </a:cxn>
                  <a:cxn ang="0">
                    <a:pos x="14" y="20"/>
                  </a:cxn>
                  <a:cxn ang="0">
                    <a:pos x="19" y="24"/>
                  </a:cxn>
                  <a:cxn ang="0">
                    <a:pos x="19" y="28"/>
                  </a:cxn>
                  <a:cxn ang="0">
                    <a:pos x="19" y="31"/>
                  </a:cxn>
                  <a:cxn ang="0">
                    <a:pos x="16" y="38"/>
                  </a:cxn>
                  <a:cxn ang="0">
                    <a:pos x="9" y="41"/>
                  </a:cxn>
                  <a:cxn ang="0">
                    <a:pos x="3" y="38"/>
                  </a:cxn>
                  <a:cxn ang="0">
                    <a:pos x="0" y="32"/>
                  </a:cxn>
                  <a:cxn ang="0">
                    <a:pos x="0" y="31"/>
                  </a:cxn>
                  <a:cxn ang="0">
                    <a:pos x="6" y="30"/>
                  </a:cxn>
                  <a:cxn ang="0">
                    <a:pos x="6" y="32"/>
                  </a:cxn>
                  <a:cxn ang="0">
                    <a:pos x="7" y="34"/>
                  </a:cxn>
                  <a:cxn ang="0">
                    <a:pos x="9" y="35"/>
                  </a:cxn>
                </a:cxnLst>
                <a:rect l="0" t="0" r="r" b="b"/>
                <a:pathLst>
                  <a:path w="19" h="41">
                    <a:moveTo>
                      <a:pt x="9" y="35"/>
                    </a:moveTo>
                    <a:cubicBezTo>
                      <a:pt x="12" y="35"/>
                      <a:pt x="13" y="34"/>
                      <a:pt x="13" y="31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3" y="25"/>
                      <a:pt x="11" y="23"/>
                      <a:pt x="7" y="23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9" y="17"/>
                      <a:pt x="11" y="17"/>
                      <a:pt x="12" y="16"/>
                    </a:cubicBezTo>
                    <a:cubicBezTo>
                      <a:pt x="13" y="14"/>
                      <a:pt x="14" y="13"/>
                      <a:pt x="14" y="11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4" y="7"/>
                      <a:pt x="12" y="6"/>
                      <a:pt x="10" y="6"/>
                    </a:cubicBezTo>
                    <a:cubicBezTo>
                      <a:pt x="9" y="6"/>
                      <a:pt x="8" y="6"/>
                      <a:pt x="7" y="7"/>
                    </a:cubicBezTo>
                    <a:cubicBezTo>
                      <a:pt x="7" y="8"/>
                      <a:pt x="7" y="9"/>
                      <a:pt x="7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7"/>
                      <a:pt x="1" y="5"/>
                      <a:pt x="3" y="3"/>
                    </a:cubicBezTo>
                    <a:cubicBezTo>
                      <a:pt x="5" y="1"/>
                      <a:pt x="7" y="0"/>
                      <a:pt x="10" y="0"/>
                    </a:cubicBezTo>
                    <a:cubicBezTo>
                      <a:pt x="13" y="0"/>
                      <a:pt x="15" y="1"/>
                      <a:pt x="17" y="3"/>
                    </a:cubicBezTo>
                    <a:cubicBezTo>
                      <a:pt x="18" y="5"/>
                      <a:pt x="19" y="7"/>
                      <a:pt x="19" y="10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4"/>
                      <a:pt x="18" y="16"/>
                      <a:pt x="17" y="18"/>
                    </a:cubicBezTo>
                    <a:cubicBezTo>
                      <a:pt x="16" y="18"/>
                      <a:pt x="15" y="19"/>
                      <a:pt x="14" y="20"/>
                    </a:cubicBezTo>
                    <a:cubicBezTo>
                      <a:pt x="16" y="21"/>
                      <a:pt x="18" y="22"/>
                      <a:pt x="19" y="24"/>
                    </a:cubicBezTo>
                    <a:cubicBezTo>
                      <a:pt x="19" y="25"/>
                      <a:pt x="19" y="26"/>
                      <a:pt x="19" y="28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19" y="34"/>
                      <a:pt x="18" y="37"/>
                      <a:pt x="16" y="38"/>
                    </a:cubicBezTo>
                    <a:cubicBezTo>
                      <a:pt x="14" y="40"/>
                      <a:pt x="12" y="41"/>
                      <a:pt x="9" y="41"/>
                    </a:cubicBezTo>
                    <a:cubicBezTo>
                      <a:pt x="7" y="41"/>
                      <a:pt x="4" y="40"/>
                      <a:pt x="3" y="38"/>
                    </a:cubicBezTo>
                    <a:cubicBezTo>
                      <a:pt x="1" y="36"/>
                      <a:pt x="0" y="34"/>
                      <a:pt x="0" y="3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3"/>
                      <a:pt x="6" y="33"/>
                      <a:pt x="7" y="34"/>
                    </a:cubicBezTo>
                    <a:cubicBezTo>
                      <a:pt x="7" y="35"/>
                      <a:pt x="8" y="35"/>
                      <a:pt x="9" y="35"/>
                    </a:cubicBezTo>
                    <a:close/>
                  </a:path>
                </a:pathLst>
              </a:custGeom>
              <a:solidFill>
                <a:srgbClr val="FFE61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îṧḷiďe">
                <a:extLst>
                  <a:ext uri="{FF2B5EF4-FFF2-40B4-BE49-F238E27FC236}">
                    <a16:creationId xmlns:a16="http://schemas.microsoft.com/office/drawing/2014/main" id="{822CDA30-8BAA-4946-AECA-FA3F7A85D974}"/>
                  </a:ext>
                </a:extLst>
              </p:cNvPr>
              <p:cNvSpPr/>
              <p:nvPr/>
            </p:nvSpPr>
            <p:spPr bwMode="auto">
              <a:xfrm>
                <a:off x="5077614" y="4723085"/>
                <a:ext cx="204028" cy="1018384"/>
              </a:xfrm>
              <a:custGeom>
                <a:avLst/>
                <a:gdLst/>
                <a:ahLst/>
                <a:cxnLst>
                  <a:cxn ang="0">
                    <a:pos x="232" y="0"/>
                  </a:cxn>
                  <a:cxn ang="0">
                    <a:pos x="232" y="0"/>
                  </a:cxn>
                  <a:cxn ang="0">
                    <a:pos x="0" y="0"/>
                  </a:cxn>
                  <a:cxn ang="0">
                    <a:pos x="0" y="1158"/>
                  </a:cxn>
                  <a:cxn ang="0">
                    <a:pos x="232" y="1158"/>
                  </a:cxn>
                  <a:cxn ang="0">
                    <a:pos x="232" y="0"/>
                  </a:cxn>
                </a:cxnLst>
                <a:rect l="0" t="0" r="r" b="b"/>
                <a:pathLst>
                  <a:path w="232" h="1158">
                    <a:moveTo>
                      <a:pt x="232" y="0"/>
                    </a:moveTo>
                    <a:lnTo>
                      <a:pt x="232" y="0"/>
                    </a:lnTo>
                    <a:lnTo>
                      <a:pt x="0" y="0"/>
                    </a:lnTo>
                    <a:lnTo>
                      <a:pt x="0" y="1158"/>
                    </a:lnTo>
                    <a:lnTo>
                      <a:pt x="232" y="1158"/>
                    </a:lnTo>
                    <a:lnTo>
                      <a:pt x="232" y="0"/>
                    </a:lnTo>
                    <a:close/>
                  </a:path>
                </a:pathLst>
              </a:custGeom>
              <a:solidFill>
                <a:srgbClr val="CB851A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iṣļíďê">
                <a:extLst>
                  <a:ext uri="{FF2B5EF4-FFF2-40B4-BE49-F238E27FC236}">
                    <a16:creationId xmlns:a16="http://schemas.microsoft.com/office/drawing/2014/main" id="{26A1A4E5-F873-4C71-A523-D7CCC0DDEC94}"/>
                  </a:ext>
                </a:extLst>
              </p:cNvPr>
              <p:cNvSpPr/>
              <p:nvPr/>
            </p:nvSpPr>
            <p:spPr bwMode="auto">
              <a:xfrm>
                <a:off x="5077614" y="4723085"/>
                <a:ext cx="204028" cy="1018384"/>
              </a:xfrm>
              <a:custGeom>
                <a:avLst/>
                <a:gdLst/>
                <a:ahLst/>
                <a:cxnLst>
                  <a:cxn ang="0">
                    <a:pos x="232" y="0"/>
                  </a:cxn>
                  <a:cxn ang="0">
                    <a:pos x="232" y="0"/>
                  </a:cxn>
                  <a:cxn ang="0">
                    <a:pos x="0" y="0"/>
                  </a:cxn>
                  <a:cxn ang="0">
                    <a:pos x="0" y="1158"/>
                  </a:cxn>
                  <a:cxn ang="0">
                    <a:pos x="232" y="1158"/>
                  </a:cxn>
                  <a:cxn ang="0">
                    <a:pos x="232" y="0"/>
                  </a:cxn>
                </a:cxnLst>
                <a:rect l="0" t="0" r="r" b="b"/>
                <a:pathLst>
                  <a:path w="232" h="1158">
                    <a:moveTo>
                      <a:pt x="232" y="0"/>
                    </a:moveTo>
                    <a:lnTo>
                      <a:pt x="232" y="0"/>
                    </a:lnTo>
                    <a:lnTo>
                      <a:pt x="0" y="0"/>
                    </a:lnTo>
                    <a:lnTo>
                      <a:pt x="0" y="1158"/>
                    </a:lnTo>
                    <a:lnTo>
                      <a:pt x="232" y="1158"/>
                    </a:lnTo>
                    <a:lnTo>
                      <a:pt x="232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íṧlíḓê">
                <a:extLst>
                  <a:ext uri="{FF2B5EF4-FFF2-40B4-BE49-F238E27FC236}">
                    <a16:creationId xmlns:a16="http://schemas.microsoft.com/office/drawing/2014/main" id="{F5D7200E-EE4A-486C-9354-1D853459B5B7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320113" cy="800286"/>
              </a:xfrm>
              <a:prstGeom prst="rect">
                <a:avLst/>
              </a:prstGeom>
              <a:solidFill>
                <a:srgbClr val="E0931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íş1ïḑe">
                <a:extLst>
                  <a:ext uri="{FF2B5EF4-FFF2-40B4-BE49-F238E27FC236}">
                    <a16:creationId xmlns:a16="http://schemas.microsoft.com/office/drawing/2014/main" id="{5CEF0D4A-3645-4F2D-9C4A-894AD2003D30}"/>
                  </a:ext>
                </a:extLst>
              </p:cNvPr>
              <p:cNvSpPr/>
              <p:nvPr/>
            </p:nvSpPr>
            <p:spPr bwMode="auto">
              <a:xfrm>
                <a:off x="6910355" y="4941183"/>
                <a:ext cx="320113" cy="800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CA364309-B65E-4206-8498-401684BB2776}"/>
              </a:ext>
            </a:extLst>
          </p:cNvPr>
          <p:cNvSpPr>
            <a:spLocks/>
          </p:cNvSpPr>
          <p:nvPr/>
        </p:nvSpPr>
        <p:spPr>
          <a:xfrm>
            <a:off x="669924" y="-741504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5"/>
                </a:solidFill>
                <a:latin typeface="Bahnschrift SemiCondensed" panose="020B0502040204020203" pitchFamily="34" charset="0"/>
              </a:rPr>
              <a:t>incomplete data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iś1ï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iṥḷïḑê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íṡlidé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íś1îḋé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iSḷiḋé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ïSḷïḋe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îṩļîḓè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íšliďê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ṩ1iḋé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îṡḻíḓè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íšliďé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iṣ1iḑé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iŝļîḍè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îş1ïḋê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</a:t>
            </a:r>
            <a:r>
              <a:rPr lang="zh-CN" altLang="en-US" sz="1600"/>
              <a:t>色彩 </a:t>
            </a:r>
            <a:r>
              <a:rPr lang="en-US" altLang="zh-CN" sz="1600"/>
              <a:t>THE</a:t>
            </a:r>
            <a:r>
              <a:rPr lang="en-US" altLang="zh-CN" sz="100"/>
              <a:t> </a:t>
            </a:r>
            <a:r>
              <a:rPr lang="en-US" altLang="zh-CN" sz="1600"/>
              <a:t>ME </a:t>
            </a:r>
            <a:r>
              <a:rPr lang="en-US" altLang="zh-CN" sz="1600" dirty="0"/>
              <a:t>COLORS</a:t>
            </a:r>
            <a:endParaRPr lang="zh-CN" altLang="en-US" sz="1600" dirty="0"/>
          </a:p>
        </p:txBody>
      </p:sp>
      <p:cxnSp>
        <p:nvCxnSpPr>
          <p:cNvPr id="20" name="íṧḷïḋê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i$ḷiḍê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</a:t>
            </a:r>
            <a:r>
              <a:rPr lang="en-US" altLang="zh-CN" sz="10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íSḻîdè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</a:t>
            </a:r>
            <a:r>
              <a:rPr lang="en-US" altLang="zh-CN" sz="10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ïŝḻîďé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/>
              <a:t>THEME FO</a:t>
            </a:r>
            <a:r>
              <a:rPr lang="en-US" altLang="zh-CN" sz="100"/>
              <a:t> </a:t>
            </a:r>
            <a:r>
              <a:rPr lang="en-US" altLang="zh-CN" sz="1600"/>
              <a:t>NTS</a:t>
            </a:r>
            <a:endParaRPr lang="zh-CN" altLang="en-US" sz="1600" dirty="0"/>
          </a:p>
        </p:txBody>
      </p:sp>
      <p:cxnSp>
        <p:nvCxnSpPr>
          <p:cNvPr id="26" name="işḻîḓê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íṥļíḓe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</a:t>
            </a:r>
            <a:r>
              <a:rPr lang="en-US" altLang="zh-CN" sz="10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ï$ľidè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</a:t>
            </a:r>
            <a:r>
              <a:rPr lang="zh-CN" altLang="en-US" sz="1600"/>
              <a:t>考线</a:t>
            </a:r>
            <a:r>
              <a:rPr lang="zh-CN" altLang="en-US" sz="100"/>
              <a:t> </a:t>
            </a:r>
            <a:r>
              <a:rPr lang="zh-CN" altLang="en-US" sz="1600"/>
              <a:t>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ïSľîḍè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íšḻïďé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iṧḷíďè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ïṥľïḓê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íSlïḓê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ïṧļîḓê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iṡļîdê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ïṥḷïḋê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íṥľidè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ïşlîḍè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iṥ1iḓe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</a:t>
              </a:r>
              <a:r>
                <a:rPr lang="en-US" altLang="zh-CN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+F</a:t>
              </a:r>
              <a:r>
                <a:rPr lang="en-US" altLang="zh-CN" sz="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ïṩ1ïdè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</a:t>
            </a:r>
            <a:r>
              <a:rPr lang="zh-CN" altLang="en-US" sz="1000">
                <a:solidFill>
                  <a:srgbClr val="CC4A4A"/>
                </a:solidFill>
              </a:rPr>
              <a:t>通过</a:t>
            </a:r>
            <a:r>
              <a:rPr lang="zh-CN" altLang="en-US" sz="1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 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îśľîde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</a:t>
            </a:r>
            <a:r>
              <a:rPr lang="en-US" altLang="zh-CN" sz="1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iṡḷíḑè">
            <a:extLst>
              <a:ext uri="{FF2B5EF4-FFF2-40B4-BE49-F238E27FC236}">
                <a16:creationId xmlns:a16="http://schemas.microsoft.com/office/drawing/2014/main" id="{7F5B46B9-6DA9-43A1-B6EB-AFAA02758115}"/>
              </a:ext>
            </a:extLst>
          </p:cNvPr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</a:t>
            </a:r>
            <a:r>
              <a:rPr lang="en-US" altLang="zh-CN" sz="100">
                <a:solidFill>
                  <a:srgbClr val="5F5F5F"/>
                </a:solidFill>
              </a:rPr>
              <a:t> </a:t>
            </a:r>
            <a:r>
              <a:rPr lang="en-US" altLang="zh-CN" sz="1051">
                <a:solidFill>
                  <a:srgbClr val="5F5F5F"/>
                </a:solidFill>
              </a:rPr>
              <a:t>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sp>
        <p:nvSpPr>
          <p:cNvPr id="6" name="íšḷiḓê">
            <a:extLst>
              <a:ext uri="{FF2B5EF4-FFF2-40B4-BE49-F238E27FC236}">
                <a16:creationId xmlns:a16="http://schemas.microsoft.com/office/drawing/2014/main" id="{821214C4-3D8B-473D-9D9C-F2F23FBFB600}"/>
              </a:ext>
            </a:extLst>
          </p:cNvPr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</a:t>
            </a:r>
            <a:r>
              <a:rPr lang="zh-CN" altLang="en-US" sz="100">
                <a:solidFill>
                  <a:srgbClr val="CC4A4A"/>
                </a:solidFill>
              </a:rPr>
              <a:t> </a:t>
            </a:r>
            <a:r>
              <a:rPr lang="zh-CN" altLang="en-US" sz="1000">
                <a:solidFill>
                  <a:srgbClr val="CC4A4A"/>
                </a:solidFill>
              </a:rPr>
              <a:t>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ïṩḻíḑé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/>
            <a:r>
              <a:rPr lang="zh-CN" altLang="en-US" sz="2800" b="1"/>
              <a:t>主题模板的标准 </a:t>
            </a:r>
            <a:r>
              <a:rPr lang="zh-CN" altLang="en-US" sz="100" b="1"/>
              <a:t>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ïṧḷîďé">
            <a:extLst>
              <a:ext uri="{FF2B5EF4-FFF2-40B4-BE49-F238E27FC236}">
                <a16:creationId xmlns:a16="http://schemas.microsoft.com/office/drawing/2014/main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ïṥľï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iśḻïḑe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îṧ1ïḑê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íṧḷidé"/>
              <p:cNvSpPr>
                <a:spLocks/>
              </p:cNvSpPr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íṡḷïḓe"/>
              <p:cNvSpPr>
                <a:spLocks/>
              </p:cNvSpPr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íṥľiḍê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ïṣľïḋè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ïšḻïḓé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îSlïde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ïŝļîḍe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isļîḍe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îṩľiďê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îṩļíḋe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ïṣļiḍé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ïŝľidé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íśliďe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ï$ľïḋè"/>
              <p:cNvSpPr>
                <a:spLocks/>
              </p:cNvSpPr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íṥliḋé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îṥľíďê"/>
              <p:cNvSpPr>
                <a:spLocks/>
              </p:cNvSpPr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îşḷïḓê"/>
              <p:cNvSpPr>
                <a:spLocks/>
              </p:cNvSpPr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îṩlïḑé"/>
              <p:cNvSpPr>
                <a:spLocks/>
              </p:cNvSpPr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ïśļîḍe"/>
              <p:cNvSpPr>
                <a:spLocks/>
              </p:cNvSpPr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32" name="ïşľíḓê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îŝľîḑé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isľíḓê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ísľîḋé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ïṩḻîḍê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iS1íḑê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íślïḋe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íşḻîḑè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iṡļîḋè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î$ḷïḋè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ïşlîḑé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îšļîdè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îśḻíḋè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ï$ḻíḑe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332"/>
            <a:r>
              <a:rPr lang="zh-CN" altLang="en-US" sz="2800" b="1"/>
              <a:t>快速设计页面  </a:t>
            </a:r>
            <a:r>
              <a:rPr lang="en-US" altLang="zh-CN" sz="2800" b="1"/>
              <a:t>Quick de</a:t>
            </a:r>
            <a:r>
              <a:rPr lang="en-US" altLang="zh-CN" sz="100" b="1"/>
              <a:t> </a:t>
            </a:r>
            <a:r>
              <a:rPr lang="en-US" altLang="zh-CN" sz="2800" b="1"/>
              <a:t>sign slides</a:t>
            </a:r>
            <a:endParaRPr lang="zh-CN" altLang="en-US" sz="2800" b="1" dirty="0"/>
          </a:p>
        </p:txBody>
      </p:sp>
      <p:grpSp>
        <p:nvGrpSpPr>
          <p:cNvPr id="347" name="íṩḷîḓè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iṥḻïdè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3" name="îṧliḋé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/>
                  <a:ea typeface="微软雅黑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/Diagram Libra</a:t>
              </a:r>
              <a:r>
                <a:rPr lang="en-US" altLang="zh-CN" sz="100" kern="0">
                  <a:solidFill>
                    <a:srgbClr val="FFFFFF"/>
                  </a:solidFill>
                  <a:latin typeface="Arial"/>
                  <a:ea typeface="微软雅黑"/>
                </a:rPr>
                <a:t> 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ry</a:t>
              </a:r>
              <a:endParaRPr lang="zh-CN" altLang="en-US" sz="1000" kern="0" dirty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4" name="ïṣľiďe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174" name="ís1íďe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175" name="íṡľiḋe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/>
                  <a:ea typeface="微软雅黑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/>
                <a:ea typeface="微软雅黑"/>
              </a:endParaRPr>
            </a:p>
          </p:txBody>
        </p:sp>
        <p:cxnSp>
          <p:nvCxnSpPr>
            <p:cNvPr id="176" name="ïš1iḍè"/>
            <p:cNvCxnSpPr>
              <a:cxnSpLocks/>
            </p:cNvCxnSpPr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íṧlîḓè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97" name="ïṣ1iḑê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grpSp>
          <p:nvGrpSpPr>
            <p:cNvPr id="100" name="îsļîḍé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íṣļïḑé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ïṥļiḋè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îŝlïḓe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ïŝľîḑè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ïśḻíḍe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îśľíďé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ïṣlîḓe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ïšľîḑê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îšľíďé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íṣ1íďe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ïṡ1íḍe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ïsḷíde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ï$ḻiḓé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ïśḷiḓé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îśľïḋè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îṩḷiḓè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iṡľíďé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ï$ḷíḍé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ïSḻíḍé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îṧļíḓe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îSḻîďé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íšļídè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íṣľidé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ïṡḻîde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í$1iḍê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îṧļiḓê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îṩľiďé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iś1ídé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iṡḷiḑè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íş1îdé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í$ľîḓè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ïsḻîḑé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iṣľíḑê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iS1íďe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iṣlíďê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ïšlîḓé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iṣļîḑê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ïṣḷiďê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ïSľíḑe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îSľíḍe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iṩliḓé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íṥḻîdê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iṡľiḑè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íSļíḋê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íṥlidé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íṧlíḓe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ïŝḻiḓè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ïṡḻíde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îṥľidè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îṣlíḓe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í$ľiḋè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îšḷíḍê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ísliḍê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ïšļiḍé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íśḷïḓe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ïṡḻîḓé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ïš1îḓe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íṩ1îḑê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iṡlíḑê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îśḷïďê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îṧ1îḍê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iṧľîḋé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ïś1íḑê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íŝḷïďè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ïṣḻïďé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ïS1ide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ïṧ1iḑê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îṡ1îḍe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ï$ļïḑe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iŝḻîḓé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iSḻïďe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îṥliḍê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ï$1ïḋé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íślîdé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ïSľïdè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iś1ídè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ïŝľïdê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4" name="ïŝḷïḓè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5" name="ïṡľíḍé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6" name="îṩḻiďê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7" name="îṣļïďe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grpSp>
          <p:nvGrpSpPr>
            <p:cNvPr id="248" name="ïṣ1îďé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iṡlíḓè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ïsliďé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ïṧḻîḓé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îṧḷîdè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0" name="íşḷîďe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1" name="íśľïḋe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2" name="í$ḷîḋê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îṣḷïde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6" name="íśḻíde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7" name="îṡlïďé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8" name="îṡ1iďé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3" name="íšľïḋé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ïSļïďé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3" name="îṥḷîḋé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4" name="íṧ1íḋê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7" name="ïṥliďê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8" name="îṣḷiḑè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9" name="îṥ1íḑe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4" name="îŝľîdè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ïşlíḓe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0" name="íşļîdé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1" name="íṧ1îḋè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5" name="îṥḻîdé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îş1iḑé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7" name="îsľïdê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8" name="î$ḻîḑé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72" name="îSľíďê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ïSľiďé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íṡḻîďê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ïṩľïdê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íṩļiďe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7" name="îSḻíḓê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8" name="i$1ídé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6" name="iṥ1ïḍê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isľiḓe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3" name="íṧḻîdé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4" name="iŝ1iḍê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5" name="îsļïḍé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7" name="îŝlîḓé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ïṩ1ïḋê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9" name="ïṩlîde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0" name="iṣ1ídè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1" name="îş1iḋe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89" name="isḷîḍe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ïṥḻíḓé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îśľíḍe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îš1îďê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3" name="íśļïḋê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4" name="îṣ1ïḓe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5" name="iS1iḓé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6" name="iṣḷîďê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7" name="ïśļiḍè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8" name="iṥliḋe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9" name="íSliďe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0" name="îŝļíḋè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1" name="ïṥ1îḑè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2" name="ïşlïďê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sp>
          <p:nvSpPr>
            <p:cNvPr id="348" name="íṩlîḑe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349" name="ïSḷiḓê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351" name="iṧḷîďè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</a:t>
            </a:r>
            <a:r>
              <a:rPr lang="en-US" altLang="zh-CN" sz="100"/>
              <a:t> </a:t>
            </a:r>
            <a:r>
              <a:rPr lang="en-US" altLang="zh-CN" sz="1000"/>
              <a:t>brary to search diagram</a:t>
            </a:r>
            <a:endParaRPr lang="zh-CN" altLang="en-US" sz="1000" dirty="0"/>
          </a:p>
        </p:txBody>
      </p:sp>
      <p:sp>
        <p:nvSpPr>
          <p:cNvPr id="350" name="íṣ1idê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íṣḻïdè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ïṣlíďè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</a:t>
            </a:r>
            <a:r>
              <a:rPr lang="en-US" altLang="zh-CN" sz="100"/>
              <a:t> </a:t>
            </a:r>
            <a:r>
              <a:rPr lang="en-US" altLang="zh-CN" sz="1000"/>
              <a:t>nt presentation, edit text, replace icon or fill pictures.</a:t>
            </a:r>
            <a:endParaRPr lang="zh-CN" altLang="en-US" sz="1000" dirty="0"/>
          </a:p>
        </p:txBody>
      </p:sp>
      <p:sp>
        <p:nvSpPr>
          <p:cNvPr id="354" name="ïṧ1íḍe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1"/>
              <a:t>Get</a:t>
            </a:r>
            <a:r>
              <a:rPr lang="en-US" altLang="zh-CN" sz="100"/>
              <a:t> </a:t>
            </a:r>
            <a:r>
              <a:rPr lang="en-US" altLang="zh-CN" sz="1051"/>
              <a:t> more help</a:t>
            </a:r>
            <a:endParaRPr lang="zh-CN" altLang="en-US" sz="1051" dirty="0"/>
          </a:p>
        </p:txBody>
      </p:sp>
      <p:sp>
        <p:nvSpPr>
          <p:cNvPr id="355" name="îšḻíḋê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</a:t>
            </a:r>
            <a:r>
              <a:rPr lang="en-US" altLang="zh-CN" sz="100">
                <a:solidFill>
                  <a:srgbClr val="5F5F5F"/>
                </a:solidFill>
              </a:rPr>
              <a:t> </a:t>
            </a:r>
            <a:r>
              <a:rPr lang="en-US" altLang="zh-CN" sz="1051">
                <a:solidFill>
                  <a:srgbClr val="5F5F5F"/>
                </a:solidFill>
              </a:rPr>
              <a:t>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grpSp>
        <p:nvGrpSpPr>
          <p:cNvPr id="195" name="î$ḻiḑè">
            <a:extLst>
              <a:ext uri="{FF2B5EF4-FFF2-40B4-BE49-F238E27FC236}">
                <a16:creationId xmlns:a16="http://schemas.microsoft.com/office/drawing/2014/main" id="{B01F4E16-0C10-4EC4-8A41-53B393FD2E7B}"/>
              </a:ext>
            </a:extLst>
          </p:cNvPr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ï$ľíḋe">
              <a:extLst>
                <a:ext uri="{FF2B5EF4-FFF2-40B4-BE49-F238E27FC236}">
                  <a16:creationId xmlns:a16="http://schemas.microsoft.com/office/drawing/2014/main" id="{5D4E8461-AFC3-4BD3-9434-5D62260C034A}"/>
                </a:ext>
              </a:extLst>
            </p:cNvPr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íSḻíḋe">
              <a:extLst>
                <a:ext uri="{FF2B5EF4-FFF2-40B4-BE49-F238E27FC236}">
                  <a16:creationId xmlns:a16="http://schemas.microsoft.com/office/drawing/2014/main" id="{62F93730-82B7-4006-9BD8-4D2DCA55CBD7}"/>
                </a:ext>
              </a:extLst>
            </p:cNvPr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îṧḻíďe">
              <a:extLst>
                <a:ext uri="{FF2B5EF4-FFF2-40B4-BE49-F238E27FC236}">
                  <a16:creationId xmlns:a16="http://schemas.microsoft.com/office/drawing/2014/main" id="{E9BF702A-0680-40BC-BBBC-CE956AA0699E}"/>
                </a:ext>
              </a:extLst>
            </p:cNvPr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işlïḍè">
            <a:extLst>
              <a:ext uri="{FF2B5EF4-FFF2-40B4-BE49-F238E27FC236}">
                <a16:creationId xmlns:a16="http://schemas.microsoft.com/office/drawing/2014/main" id="{9EF3CA65-FB3F-47A3-BCF1-23E3EE554F5F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3302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isl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íŝ1ïḑê">
            <a:extLst>
              <a:ext uri="{FF2B5EF4-FFF2-40B4-BE49-F238E27FC236}">
                <a16:creationId xmlns:a16="http://schemas.microsoft.com/office/drawing/2014/main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iṩľïďè">
              <a:extLst>
                <a:ext uri="{FF2B5EF4-FFF2-40B4-BE49-F238E27FC236}">
                  <a16:creationId xmlns:a16="http://schemas.microsoft.com/office/drawing/2014/main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</a:t>
              </a:r>
              <a:r>
                <a:rPr lang="en-US" altLang="zh-CN" sz="7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users acquir</a:t>
              </a:r>
              <a:r>
                <a:rPr lang="en-US" altLang="zh-CN" sz="1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</a:t>
              </a:r>
              <a:r>
                <a:rPr lang="en-US" altLang="zh-CN" sz="7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ed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í$ļïḓé">
              <a:extLst>
                <a:ext uri="{FF2B5EF4-FFF2-40B4-BE49-F238E27FC236}">
                  <a16:creationId xmlns:a16="http://schemas.microsoft.com/office/drawing/2014/main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</a:t>
              </a:r>
              <a:r>
                <a:rPr lang="zh-CN" altLang="en-US" sz="1051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权声</a:t>
              </a:r>
              <a:r>
                <a:rPr lang="zh-CN" altLang="en-US" sz="1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</a:t>
              </a:r>
              <a:r>
                <a:rPr lang="zh-CN" altLang="en-US" sz="1051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明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ïśľîḓé">
            <a:extLst>
              <a:ext uri="{FF2B5EF4-FFF2-40B4-BE49-F238E27FC236}">
                <a16:creationId xmlns:a16="http://schemas.microsoft.com/office/drawing/2014/main" id="{FCA4820A-B8E1-434F-B66D-EB93F605CDC9}"/>
              </a:ext>
            </a:extLst>
          </p:cNvPr>
          <p:cNvGrpSpPr/>
          <p:nvPr/>
        </p:nvGrpSpPr>
        <p:grpSpPr>
          <a:xfrm>
            <a:off x="669926" y="1070043"/>
            <a:ext cx="8418118" cy="1816466"/>
            <a:chOff x="669926" y="1070043"/>
            <a:chExt cx="8418118" cy="1816466"/>
          </a:xfrm>
        </p:grpSpPr>
        <p:grpSp>
          <p:nvGrpSpPr>
            <p:cNvPr id="55" name="iSḷiḍe">
              <a:extLst>
                <a:ext uri="{FF2B5EF4-FFF2-40B4-BE49-F238E27FC236}">
                  <a16:creationId xmlns:a16="http://schemas.microsoft.com/office/drawing/2014/main" id="{205E32D3-F97D-4444-85C3-800AAD5285EE}"/>
                </a:ext>
              </a:extLst>
            </p:cNvPr>
            <p:cNvGrpSpPr/>
            <p:nvPr/>
          </p:nvGrpSpPr>
          <p:grpSpPr>
            <a:xfrm>
              <a:off x="3351892" y="1132701"/>
              <a:ext cx="3551553" cy="1629690"/>
              <a:chOff x="3351892" y="1132701"/>
              <a:chExt cx="3551553" cy="1629690"/>
            </a:xfrm>
          </p:grpSpPr>
          <p:sp>
            <p:nvSpPr>
              <p:cNvPr id="32" name="ï$ḷidé">
                <a:extLst>
                  <a:ext uri="{FF2B5EF4-FFF2-40B4-BE49-F238E27FC236}">
                    <a16:creationId xmlns:a16="http://schemas.microsoft.com/office/drawing/2014/main" id="{FEBC6BBC-BB54-4927-B452-5451B28DDDA5}"/>
                  </a:ext>
                </a:extLst>
              </p:cNvPr>
              <p:cNvSpPr/>
              <p:nvPr/>
            </p:nvSpPr>
            <p:spPr>
              <a:xfrm>
                <a:off x="3351892" y="2467759"/>
                <a:ext cx="3336479" cy="2946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4354">
                  <a:lnSpc>
                    <a:spcPct val="15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www</a:t>
                </a:r>
                <a:r>
                  <a:rPr lang="en-US" altLang="zh-CN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.islid</a:t>
                </a:r>
                <a:r>
                  <a:rPr lang="en-US" altLang="zh-CN" sz="1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 </a:t>
                </a:r>
                <a:r>
                  <a:rPr lang="en-US" altLang="zh-CN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e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ïṣliḋè">
                <a:extLst>
                  <a:ext uri="{FF2B5EF4-FFF2-40B4-BE49-F238E27FC236}">
                    <a16:creationId xmlns:a16="http://schemas.microsoft.com/office/drawing/2014/main" id="{387C4D2F-DDE4-4325-9289-797FA395D4BE}"/>
                  </a:ext>
                </a:extLst>
              </p:cNvPr>
              <p:cNvSpPr/>
              <p:nvPr/>
            </p:nvSpPr>
            <p:spPr>
              <a:xfrm>
                <a:off x="3351892" y="1132701"/>
                <a:ext cx="3551553" cy="11079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</a:t>
                </a:r>
                <a:r>
                  <a:rPr lang="en-US" altLang="zh-CN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+ P</a:t>
                </a:r>
                <a:r>
                  <a:rPr lang="en-US" altLang="zh-CN" sz="1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 </a:t>
                </a:r>
                <a:r>
                  <a:rPr lang="en-US" altLang="zh-CN" sz="100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rofessional 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îś1ïḑe">
              <a:extLst>
                <a:ext uri="{FF2B5EF4-FFF2-40B4-BE49-F238E27FC236}">
                  <a16:creationId xmlns:a16="http://schemas.microsoft.com/office/drawing/2014/main" id="{DBF86C5A-46C1-4DD7-84CF-BB20DBAF36B2}"/>
                </a:ext>
              </a:extLst>
            </p:cNvPr>
            <p:cNvGrpSpPr/>
            <p:nvPr/>
          </p:nvGrpSpPr>
          <p:grpSpPr>
            <a:xfrm>
              <a:off x="7654638" y="1128666"/>
              <a:ext cx="1433406" cy="1757843"/>
              <a:chOff x="7654638" y="1128666"/>
              <a:chExt cx="1433406" cy="1757843"/>
            </a:xfrm>
          </p:grpSpPr>
          <p:sp>
            <p:nvSpPr>
              <p:cNvPr id="34" name="î$ľîḋê">
                <a:extLst>
                  <a:ext uri="{FF2B5EF4-FFF2-40B4-BE49-F238E27FC236}">
                    <a16:creationId xmlns:a16="http://schemas.microsoft.com/office/drawing/2014/main" id="{7D7628F9-10BB-4B1A-9FD7-13B5C4904AEE}"/>
                  </a:ext>
                </a:extLst>
              </p:cNvPr>
              <p:cNvSpPr/>
              <p:nvPr/>
            </p:nvSpPr>
            <p:spPr>
              <a:xfrm>
                <a:off x="7654638" y="2486399"/>
                <a:ext cx="1433406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</a:t>
                </a:r>
                <a:r>
                  <a:rPr lang="en-US" altLang="zh-CN" sz="1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 </a:t>
                </a: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 us on WeChat</a:t>
                </a:r>
              </a:p>
            </p:txBody>
          </p:sp>
          <p:grpSp>
            <p:nvGrpSpPr>
              <p:cNvPr id="35" name="íṣḻîďé">
                <a:extLst>
                  <a:ext uri="{FF2B5EF4-FFF2-40B4-BE49-F238E27FC236}">
                    <a16:creationId xmlns:a16="http://schemas.microsoft.com/office/drawing/2014/main" id="{9D4A6AFC-4EDB-4329-A490-B7F93AD11431}"/>
                  </a:ext>
                </a:extLst>
              </p:cNvPr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iş1ídê">
                  <a:extLst>
                    <a:ext uri="{FF2B5EF4-FFF2-40B4-BE49-F238E27FC236}">
                      <a16:creationId xmlns:a16="http://schemas.microsoft.com/office/drawing/2014/main" id="{942EAD01-3CC1-4412-880E-B86F17132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îśliďe">
                  <a:extLst>
                    <a:ext uri="{FF2B5EF4-FFF2-40B4-BE49-F238E27FC236}">
                      <a16:creationId xmlns:a16="http://schemas.microsoft.com/office/drawing/2014/main" id="{D01E47ED-C402-438D-9A79-BC1163AB6CE1}"/>
                    </a:ext>
                  </a:extLst>
                </p:cNvPr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íṧ1ïdé">
                    <a:extLst>
                      <a:ext uri="{FF2B5EF4-FFF2-40B4-BE49-F238E27FC236}">
                        <a16:creationId xmlns:a16="http://schemas.microsoft.com/office/drawing/2014/main" id="{CEE1B0A4-0F49-4D05-B77A-DAF004479898}"/>
                      </a:ext>
                    </a:extLst>
                  </p:cNvPr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î$ľîḍe">
                    <a:extLst>
                      <a:ext uri="{FF2B5EF4-FFF2-40B4-BE49-F238E27FC236}">
                        <a16:creationId xmlns:a16="http://schemas.microsoft.com/office/drawing/2014/main" id="{9AFDF6F6-5203-42D6-8C4C-E3737A97AB7C}"/>
                      </a:ext>
                    </a:extLst>
                  </p:cNvPr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ïSḻïḑè">
              <a:extLst>
                <a:ext uri="{FF2B5EF4-FFF2-40B4-BE49-F238E27FC236}">
                  <a16:creationId xmlns:a16="http://schemas.microsoft.com/office/drawing/2014/main" id="{C3A85DFC-ADF1-474C-BF81-0F72CD8A2D8A}"/>
                </a:ext>
              </a:extLst>
            </p:cNvPr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îśḷîde">
              <a:extLst>
                <a:ext uri="{FF2B5EF4-FFF2-40B4-BE49-F238E27FC236}">
                  <a16:creationId xmlns:a16="http://schemas.microsoft.com/office/drawing/2014/main" id="{9EA76247-2E45-497B-9699-23C3E298E518}"/>
                </a:ext>
              </a:extLst>
            </p:cNvPr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íṩ1iḋè">
              <a:extLst>
                <a:ext uri="{FF2B5EF4-FFF2-40B4-BE49-F238E27FC236}">
                  <a16:creationId xmlns:a16="http://schemas.microsoft.com/office/drawing/2014/main" id="{6E55B609-DF7B-4808-8F5D-EA3B33D46549}"/>
                </a:ext>
              </a:extLst>
            </p:cNvPr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ïṣľíḍè">
                <a:extLst>
                  <a:ext uri="{FF2B5EF4-FFF2-40B4-BE49-F238E27FC236}">
                    <a16:creationId xmlns:a16="http://schemas.microsoft.com/office/drawing/2014/main" id="{F7A235F1-D186-4F8C-9E3D-0DB3AD5C3DA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ïṥļídé">
                <a:extLst>
                  <a:ext uri="{FF2B5EF4-FFF2-40B4-BE49-F238E27FC236}">
                    <a16:creationId xmlns:a16="http://schemas.microsoft.com/office/drawing/2014/main" id="{941C3095-FFD0-4B57-883A-2C237609F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iṩļïḑe">
                <a:extLst>
                  <a:ext uri="{FF2B5EF4-FFF2-40B4-BE49-F238E27FC236}">
                    <a16:creationId xmlns:a16="http://schemas.microsoft.com/office/drawing/2014/main" id="{CC5E806E-76B1-4ABF-BEE7-23A937B981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ïṧḷïḍé">
                <a:extLst>
                  <a:ext uri="{FF2B5EF4-FFF2-40B4-BE49-F238E27FC236}">
                    <a16:creationId xmlns:a16="http://schemas.microsoft.com/office/drawing/2014/main" id="{FBA0A1B2-675D-40DD-9B20-019CEA484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íṣļïḓé">
                <a:extLst>
                  <a:ext uri="{FF2B5EF4-FFF2-40B4-BE49-F238E27FC236}">
                    <a16:creationId xmlns:a16="http://schemas.microsoft.com/office/drawing/2014/main" id="{8895173D-9045-411E-B47E-7FD23A132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íṡḻiḑê">
                <a:extLst>
                  <a:ext uri="{FF2B5EF4-FFF2-40B4-BE49-F238E27FC236}">
                    <a16:creationId xmlns:a16="http://schemas.microsoft.com/office/drawing/2014/main" id="{0A1E4CE6-4E33-4BA6-9D4F-22B8D5940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ïṡļíďe">
                <a:extLst>
                  <a:ext uri="{FF2B5EF4-FFF2-40B4-BE49-F238E27FC236}">
                    <a16:creationId xmlns:a16="http://schemas.microsoft.com/office/drawing/2014/main" id="{53805563-2D7C-487B-AB41-2ABCDF5A2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î$liḑé">
                <a:extLst>
                  <a:ext uri="{FF2B5EF4-FFF2-40B4-BE49-F238E27FC236}">
                    <a16:creationId xmlns:a16="http://schemas.microsoft.com/office/drawing/2014/main" id="{F5B09A70-BD5C-4AEC-8E34-1AB2A86C5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îṡḻiḋé">
                <a:extLst>
                  <a:ext uri="{FF2B5EF4-FFF2-40B4-BE49-F238E27FC236}">
                    <a16:creationId xmlns:a16="http://schemas.microsoft.com/office/drawing/2014/main" id="{3776C0FC-51B4-43E9-A802-9FD933C30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610720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2623129" cy="4083608"/>
            <a:chOff x="757282" y="1700808"/>
            <a:chExt cx="2623129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2623129" cy="4083608"/>
              <a:chOff x="1175743" y="1700808"/>
              <a:chExt cx="2521145" cy="4083608"/>
            </a:xfrm>
          </p:grpSpPr>
          <p:cxnSp>
            <p:nvCxnSpPr>
              <p:cNvPr id="8" name="íṡḻiďè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OUTLINE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46F624A2-6018-444E-90E2-40121FB2A210}"/>
              </a:ext>
            </a:extLst>
          </p:cNvPr>
          <p:cNvSpPr/>
          <p:nvPr/>
        </p:nvSpPr>
        <p:spPr>
          <a:xfrm>
            <a:off x="3764990" y="172519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ahnschrift SemiCondensed" panose="020B0502040204020203" pitchFamily="34" charset="0"/>
              </a:rPr>
              <a:t>Pre-Process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53C7E9-2F83-4954-A008-09B2DEA6F5C6}"/>
              </a:ext>
            </a:extLst>
          </p:cNvPr>
          <p:cNvSpPr/>
          <p:nvPr/>
        </p:nvSpPr>
        <p:spPr>
          <a:xfrm>
            <a:off x="3764990" y="2360864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Bahnschrift SemiCondensed" panose="020B0502040204020203" pitchFamily="34" charset="0"/>
              </a:rPr>
              <a:t>Emoj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4666B2-069F-42BA-8718-46D82F166EBF}"/>
              </a:ext>
            </a:extLst>
          </p:cNvPr>
          <p:cNvSpPr/>
          <p:nvPr/>
        </p:nvSpPr>
        <p:spPr>
          <a:xfrm>
            <a:off x="3764990" y="2996532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altLang="zh-TW" sz="3200" b="1" dirty="0">
                <a:solidFill>
                  <a:schemeClr val="accent2"/>
                </a:solidFill>
                <a:latin typeface="Bahnschrift SemiCondensed" panose="020B0502040204020203" pitchFamily="34" charset="0"/>
              </a:rPr>
              <a:t>Word Cloud of each Categories</a:t>
            </a:r>
            <a:endParaRPr lang="en-US" altLang="zh-TW" sz="3200" dirty="0">
              <a:solidFill>
                <a:schemeClr val="accent2"/>
              </a:solidFill>
              <a:latin typeface="Tw Cen MT" panose="020B06020201040206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7C2537-54B0-4980-BDD1-601161FFE806}"/>
              </a:ext>
            </a:extLst>
          </p:cNvPr>
          <p:cNvSpPr/>
          <p:nvPr/>
        </p:nvSpPr>
        <p:spPr>
          <a:xfrm>
            <a:off x="3764990" y="3632200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  <a:latin typeface="Bahnschrift SemiCondensed" panose="020B0502040204020203" pitchFamily="34" charset="0"/>
              </a:rPr>
              <a:t>Word Embedd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6FD7A3-C30B-4224-92AC-DC106ED708AF}"/>
              </a:ext>
            </a:extLst>
          </p:cNvPr>
          <p:cNvSpPr/>
          <p:nvPr/>
        </p:nvSpPr>
        <p:spPr>
          <a:xfrm>
            <a:off x="3764990" y="4267868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4"/>
                </a:solidFill>
                <a:latin typeface="Bahnschrift SemiCondensed" panose="020B0502040204020203" pitchFamily="34" charset="0"/>
              </a:rPr>
              <a:t>Mod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C7B05B-0E44-4785-AD79-34D14C996A56}"/>
              </a:ext>
            </a:extLst>
          </p:cNvPr>
          <p:cNvSpPr/>
          <p:nvPr/>
        </p:nvSpPr>
        <p:spPr>
          <a:xfrm>
            <a:off x="3764990" y="490353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5"/>
                </a:solidFill>
                <a:latin typeface="Bahnschrift SemiCondensed" panose="020B0502040204020203" pitchFamily="34" charset="0"/>
              </a:rPr>
              <a:t>incomplete data</a:t>
            </a:r>
          </a:p>
        </p:txBody>
      </p:sp>
      <p:grpSp>
        <p:nvGrpSpPr>
          <p:cNvPr id="18" name="îSľíḍé">
            <a:extLst>
              <a:ext uri="{FF2B5EF4-FFF2-40B4-BE49-F238E27FC236}">
                <a16:creationId xmlns:a16="http://schemas.microsoft.com/office/drawing/2014/main" id="{FD87C6F3-DE58-4A34-AB6B-6542C08C82E0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19" name="ïṧlîḓe">
              <a:extLst>
                <a:ext uri="{FF2B5EF4-FFF2-40B4-BE49-F238E27FC236}">
                  <a16:creationId xmlns:a16="http://schemas.microsoft.com/office/drawing/2014/main" id="{BB886539-DB9E-45A8-A7FB-7B4CFD27E043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20" name="iṡliḓè">
              <a:extLst>
                <a:ext uri="{FF2B5EF4-FFF2-40B4-BE49-F238E27FC236}">
                  <a16:creationId xmlns:a16="http://schemas.microsoft.com/office/drawing/2014/main" id="{8D3BBCC4-830A-47A3-82B7-8ABD60F8F542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21" name="íšḻíḋè">
                <a:extLst>
                  <a:ext uri="{FF2B5EF4-FFF2-40B4-BE49-F238E27FC236}">
                    <a16:creationId xmlns:a16="http://schemas.microsoft.com/office/drawing/2014/main" id="{F58606FA-F9A1-4CA6-AF5D-2ACC2FF834D7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22" name="îS1iḓé">
                <a:extLst>
                  <a:ext uri="{FF2B5EF4-FFF2-40B4-BE49-F238E27FC236}">
                    <a16:creationId xmlns:a16="http://schemas.microsoft.com/office/drawing/2014/main" id="{4D9B00FE-49A3-4831-8452-D7507AE9939C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25" name="îśḻîďé">
            <a:extLst>
              <a:ext uri="{FF2B5EF4-FFF2-40B4-BE49-F238E27FC236}">
                <a16:creationId xmlns:a16="http://schemas.microsoft.com/office/drawing/2014/main" id="{3AD843C7-0135-44CA-B2A9-4B7A7E0F4620}"/>
              </a:ext>
            </a:extLst>
          </p:cNvPr>
          <p:cNvSpPr txBox="1">
            <a:spLocks/>
          </p:cNvSpPr>
          <p:nvPr/>
        </p:nvSpPr>
        <p:spPr>
          <a:xfrm>
            <a:off x="12687298" y="1111917"/>
            <a:ext cx="5410199" cy="263198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540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EmotionGIF 2020</a:t>
            </a:r>
            <a:br>
              <a:rPr lang="en-US" altLang="zh-CN" sz="540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</a:br>
            <a:r>
              <a:rPr lang="en-US" altLang="zh-CN"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GloVe+LSTM</a:t>
            </a:r>
            <a:endParaRPr lang="zh-CN" altLang="en-US" sz="3600" b="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</a:gradFill>
            </a:endParaRPr>
          </a:p>
        </p:txBody>
      </p:sp>
      <p:sp>
        <p:nvSpPr>
          <p:cNvPr id="26" name="ïşľiḋè">
            <a:extLst>
              <a:ext uri="{FF2B5EF4-FFF2-40B4-BE49-F238E27FC236}">
                <a16:creationId xmlns:a16="http://schemas.microsoft.com/office/drawing/2014/main" id="{672FD800-1EE9-4FB8-9389-F840789BFD03}"/>
              </a:ext>
            </a:extLst>
          </p:cNvPr>
          <p:cNvSpPr txBox="1">
            <a:spLocks/>
          </p:cNvSpPr>
          <p:nvPr/>
        </p:nvSpPr>
        <p:spPr>
          <a:xfrm>
            <a:off x="12665099" y="4924231"/>
            <a:ext cx="1928812" cy="913599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TW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0856733 Hank Huang </a:t>
            </a:r>
          </a:p>
          <a:p>
            <a:r>
              <a:rPr lang="en-US" altLang="zh-TW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0856109 Warren Fang</a:t>
            </a:r>
          </a:p>
          <a:p>
            <a:r>
              <a:rPr lang="en-US" altLang="zh-TW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 0856065 </a:t>
            </a:r>
            <a:r>
              <a:rPr lang="en-US" altLang="zh-TW" dirty="0" err="1">
                <a:solidFill>
                  <a:schemeClr val="bg1"/>
                </a:solidFill>
                <a:latin typeface="Bahnschrift Light Condensed" panose="020B0502040204020203" pitchFamily="34" charset="0"/>
              </a:rPr>
              <a:t>Sz</a:t>
            </a:r>
            <a:r>
              <a:rPr lang="zh-TW" altLang="en-US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 </a:t>
            </a:r>
            <a:r>
              <a:rPr lang="en-US" altLang="zh-TW" dirty="0">
                <a:solidFill>
                  <a:schemeClr val="bg1"/>
                </a:solidFill>
                <a:latin typeface="Bahnschrift Light Condensed" panose="020B0502040204020203" pitchFamily="34" charset="0"/>
              </a:rPr>
              <a:t>Yu Che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B5C2C9-7B3E-47B0-801C-C00DD7FEF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7" name="ïšlï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hidden="1" title="iSlide™ 版权声明  COPYRIGHT NOTICE">
            <a:extLst>
              <a:ext uri="{FF2B5EF4-FFF2-40B4-BE49-F238E27FC236}">
                <a16:creationId xmlns:a16="http://schemas.microsoft.com/office/drawing/2014/main" id="{B330D365-5F4F-40C8-8925-C17F9275C003}"/>
              </a:ext>
            </a:extLst>
          </p:cNvPr>
          <p:cNvGrpSpPr>
            <a:grpSpLocks noChangeAspect="1"/>
          </p:cNvGrpSpPr>
          <p:nvPr/>
        </p:nvGrpSpPr>
        <p:grpSpPr>
          <a:xfrm>
            <a:off x="390007" y="2653887"/>
            <a:ext cx="3409531" cy="2384210"/>
            <a:chOff x="3951288" y="2505075"/>
            <a:chExt cx="4397375" cy="3074988"/>
          </a:xfrm>
        </p:grpSpPr>
        <p:sp>
          <p:nvSpPr>
            <p:cNvPr id="45" name="íşľiďê">
              <a:extLst>
                <a:ext uri="{FF2B5EF4-FFF2-40B4-BE49-F238E27FC236}">
                  <a16:creationId xmlns:a16="http://schemas.microsoft.com/office/drawing/2014/main" id="{89D8F306-DCBF-4C36-B21C-654D222DF399}"/>
                </a:ext>
              </a:extLst>
            </p:cNvPr>
            <p:cNvSpPr/>
            <p:nvPr/>
          </p:nvSpPr>
          <p:spPr bwMode="auto">
            <a:xfrm>
              <a:off x="3951288" y="4794250"/>
              <a:ext cx="4397375" cy="701675"/>
            </a:xfrm>
            <a:custGeom>
              <a:avLst/>
              <a:gdLst>
                <a:gd name="T0" fmla="*/ 3047 w 3645"/>
                <a:gd name="T1" fmla="*/ 0 h 582"/>
                <a:gd name="T2" fmla="*/ 1271 w 3645"/>
                <a:gd name="T3" fmla="*/ 17 h 582"/>
                <a:gd name="T4" fmla="*/ 1118 w 3645"/>
                <a:gd name="T5" fmla="*/ 452 h 582"/>
                <a:gd name="T6" fmla="*/ 1019 w 3645"/>
                <a:gd name="T7" fmla="*/ 452 h 582"/>
                <a:gd name="T8" fmla="*/ 1083 w 3645"/>
                <a:gd name="T9" fmla="*/ 19 h 582"/>
                <a:gd name="T10" fmla="*/ 63 w 3645"/>
                <a:gd name="T11" fmla="*/ 29 h 582"/>
                <a:gd name="T12" fmla="*/ 31 w 3645"/>
                <a:gd name="T13" fmla="*/ 103 h 582"/>
                <a:gd name="T14" fmla="*/ 469 w 3645"/>
                <a:gd name="T15" fmla="*/ 485 h 582"/>
                <a:gd name="T16" fmla="*/ 732 w 3645"/>
                <a:gd name="T17" fmla="*/ 582 h 582"/>
                <a:gd name="T18" fmla="*/ 3244 w 3645"/>
                <a:gd name="T19" fmla="*/ 582 h 582"/>
                <a:gd name="T20" fmla="*/ 3463 w 3645"/>
                <a:gd name="T21" fmla="*/ 254 h 582"/>
                <a:gd name="T22" fmla="*/ 3047 w 3645"/>
                <a:gd name="T23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45" h="582">
                  <a:moveTo>
                    <a:pt x="3047" y="0"/>
                  </a:moveTo>
                  <a:cubicBezTo>
                    <a:pt x="1271" y="17"/>
                    <a:pt x="1271" y="17"/>
                    <a:pt x="1271" y="17"/>
                  </a:cubicBezTo>
                  <a:cubicBezTo>
                    <a:pt x="1118" y="452"/>
                    <a:pt x="1118" y="452"/>
                    <a:pt x="1118" y="452"/>
                  </a:cubicBezTo>
                  <a:cubicBezTo>
                    <a:pt x="1019" y="452"/>
                    <a:pt x="1019" y="452"/>
                    <a:pt x="1019" y="452"/>
                  </a:cubicBezTo>
                  <a:cubicBezTo>
                    <a:pt x="1083" y="19"/>
                    <a:pt x="1083" y="19"/>
                    <a:pt x="1083" y="1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20" y="29"/>
                    <a:pt x="0" y="77"/>
                    <a:pt x="31" y="103"/>
                  </a:cubicBezTo>
                  <a:cubicBezTo>
                    <a:pt x="469" y="485"/>
                    <a:pt x="469" y="485"/>
                    <a:pt x="469" y="485"/>
                  </a:cubicBezTo>
                  <a:cubicBezTo>
                    <a:pt x="540" y="547"/>
                    <a:pt x="634" y="582"/>
                    <a:pt x="732" y="582"/>
                  </a:cubicBezTo>
                  <a:cubicBezTo>
                    <a:pt x="3244" y="582"/>
                    <a:pt x="3244" y="582"/>
                    <a:pt x="3244" y="582"/>
                  </a:cubicBezTo>
                  <a:cubicBezTo>
                    <a:pt x="3469" y="582"/>
                    <a:pt x="3645" y="373"/>
                    <a:pt x="3463" y="254"/>
                  </a:cubicBezTo>
                  <a:cubicBezTo>
                    <a:pt x="3047" y="0"/>
                    <a:pt x="3047" y="0"/>
                    <a:pt x="3047" y="0"/>
                  </a:cubicBezTo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šļídè">
              <a:extLst>
                <a:ext uri="{FF2B5EF4-FFF2-40B4-BE49-F238E27FC236}">
                  <a16:creationId xmlns:a16="http://schemas.microsoft.com/office/drawing/2014/main" id="{B0B9B306-34E6-453E-9682-FFC33BB997D3}"/>
                </a:ext>
              </a:extLst>
            </p:cNvPr>
            <p:cNvSpPr/>
            <p:nvPr/>
          </p:nvSpPr>
          <p:spPr bwMode="auto">
            <a:xfrm>
              <a:off x="4156075" y="3217863"/>
              <a:ext cx="1736725" cy="1066800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ṧḻîďé">
              <a:extLst>
                <a:ext uri="{FF2B5EF4-FFF2-40B4-BE49-F238E27FC236}">
                  <a16:creationId xmlns:a16="http://schemas.microsoft.com/office/drawing/2014/main" id="{4B1FC5EC-E1EB-4376-A235-4B22530EDB1A}"/>
                </a:ext>
              </a:extLst>
            </p:cNvPr>
            <p:cNvSpPr/>
            <p:nvPr/>
          </p:nvSpPr>
          <p:spPr bwMode="auto">
            <a:xfrm>
              <a:off x="5892800" y="3217863"/>
              <a:ext cx="1736725" cy="1069975"/>
            </a:xfrm>
            <a:custGeom>
              <a:avLst/>
              <a:gdLst>
                <a:gd name="T0" fmla="*/ 0 w 1440"/>
                <a:gd name="T1" fmla="*/ 888 h 888"/>
                <a:gd name="T2" fmla="*/ 0 w 1440"/>
                <a:gd name="T3" fmla="*/ 174 h 888"/>
                <a:gd name="T4" fmla="*/ 174 w 1440"/>
                <a:gd name="T5" fmla="*/ 0 h 888"/>
                <a:gd name="T6" fmla="*/ 1266 w 1440"/>
                <a:gd name="T7" fmla="*/ 0 h 888"/>
                <a:gd name="T8" fmla="*/ 1440 w 1440"/>
                <a:gd name="T9" fmla="*/ 174 h 888"/>
                <a:gd name="T10" fmla="*/ 1440 w 1440"/>
                <a:gd name="T11" fmla="*/ 886 h 888"/>
                <a:gd name="T12" fmla="*/ 0 w 1440"/>
                <a:gd name="T13" fmla="*/ 88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0" h="888">
                  <a:moveTo>
                    <a:pt x="0" y="888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6" y="0"/>
                    <a:pt x="1266" y="0"/>
                    <a:pt x="1266" y="0"/>
                  </a:cubicBezTo>
                  <a:cubicBezTo>
                    <a:pt x="1362" y="0"/>
                    <a:pt x="1440" y="78"/>
                    <a:pt x="1440" y="174"/>
                  </a:cubicBezTo>
                  <a:cubicBezTo>
                    <a:pt x="1440" y="886"/>
                    <a:pt x="1440" y="886"/>
                    <a:pt x="1440" y="886"/>
                  </a:cubicBezTo>
                  <a:cubicBezTo>
                    <a:pt x="0" y="888"/>
                    <a:pt x="0" y="888"/>
                    <a:pt x="0" y="888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śḻíḋê">
              <a:extLst>
                <a:ext uri="{FF2B5EF4-FFF2-40B4-BE49-F238E27FC236}">
                  <a16:creationId xmlns:a16="http://schemas.microsoft.com/office/drawing/2014/main" id="{947E837F-88AE-4548-9432-98D523E882A9}"/>
                </a:ext>
              </a:extLst>
            </p:cNvPr>
            <p:cNvSpPr/>
            <p:nvPr/>
          </p:nvSpPr>
          <p:spPr bwMode="auto">
            <a:xfrm>
              <a:off x="5892800" y="3263900"/>
              <a:ext cx="1735138" cy="1023938"/>
            </a:xfrm>
            <a:custGeom>
              <a:avLst/>
              <a:gdLst>
                <a:gd name="T0" fmla="*/ 1375 w 1439"/>
                <a:gd name="T1" fmla="*/ 0 h 849"/>
                <a:gd name="T2" fmla="*/ 0 w 1439"/>
                <a:gd name="T3" fmla="*/ 849 h 849"/>
                <a:gd name="T4" fmla="*/ 1439 w 1439"/>
                <a:gd name="T5" fmla="*/ 847 h 849"/>
                <a:gd name="T6" fmla="*/ 1439 w 1439"/>
                <a:gd name="T7" fmla="*/ 135 h 849"/>
                <a:gd name="T8" fmla="*/ 1375 w 1439"/>
                <a:gd name="T9" fmla="*/ 0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9" h="849">
                  <a:moveTo>
                    <a:pt x="1375" y="0"/>
                  </a:moveTo>
                  <a:cubicBezTo>
                    <a:pt x="0" y="849"/>
                    <a:pt x="0" y="849"/>
                    <a:pt x="0" y="849"/>
                  </a:cubicBezTo>
                  <a:cubicBezTo>
                    <a:pt x="1439" y="847"/>
                    <a:pt x="1439" y="847"/>
                    <a:pt x="1439" y="847"/>
                  </a:cubicBezTo>
                  <a:cubicBezTo>
                    <a:pt x="1439" y="135"/>
                    <a:pt x="1439" y="135"/>
                    <a:pt x="1439" y="135"/>
                  </a:cubicBezTo>
                  <a:cubicBezTo>
                    <a:pt x="1439" y="81"/>
                    <a:pt x="1414" y="32"/>
                    <a:pt x="1375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ś1ide">
              <a:extLst>
                <a:ext uri="{FF2B5EF4-FFF2-40B4-BE49-F238E27FC236}">
                  <a16:creationId xmlns:a16="http://schemas.microsoft.com/office/drawing/2014/main" id="{8E358758-E0BA-4531-A352-7C247580CA28}"/>
                </a:ext>
              </a:extLst>
            </p:cNvPr>
            <p:cNvSpPr/>
            <p:nvPr/>
          </p:nvSpPr>
          <p:spPr bwMode="auto">
            <a:xfrm>
              <a:off x="4156075" y="3259138"/>
              <a:ext cx="1736725" cy="1025525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ŝḻide">
              <a:extLst>
                <a:ext uri="{FF2B5EF4-FFF2-40B4-BE49-F238E27FC236}">
                  <a16:creationId xmlns:a16="http://schemas.microsoft.com/office/drawing/2014/main" id="{07072112-6490-40A6-B078-53AB0C48AD61}"/>
                </a:ext>
              </a:extLst>
            </p:cNvPr>
            <p:cNvSpPr/>
            <p:nvPr/>
          </p:nvSpPr>
          <p:spPr bwMode="auto">
            <a:xfrm>
              <a:off x="4318000" y="4718050"/>
              <a:ext cx="180975" cy="322263"/>
            </a:xfrm>
            <a:custGeom>
              <a:avLst/>
              <a:gdLst>
                <a:gd name="T0" fmla="*/ 57 w 114"/>
                <a:gd name="T1" fmla="*/ 1 h 203"/>
                <a:gd name="T2" fmla="*/ 0 w 114"/>
                <a:gd name="T3" fmla="*/ 0 h 203"/>
                <a:gd name="T4" fmla="*/ 23 w 114"/>
                <a:gd name="T5" fmla="*/ 203 h 203"/>
                <a:gd name="T6" fmla="*/ 53 w 114"/>
                <a:gd name="T7" fmla="*/ 203 h 203"/>
                <a:gd name="T8" fmla="*/ 61 w 114"/>
                <a:gd name="T9" fmla="*/ 203 h 203"/>
                <a:gd name="T10" fmla="*/ 91 w 114"/>
                <a:gd name="T11" fmla="*/ 203 h 203"/>
                <a:gd name="T12" fmla="*/ 114 w 114"/>
                <a:gd name="T13" fmla="*/ 0 h 203"/>
                <a:gd name="T14" fmla="*/ 57 w 114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203">
                  <a:moveTo>
                    <a:pt x="57" y="1"/>
                  </a:moveTo>
                  <a:lnTo>
                    <a:pt x="0" y="0"/>
                  </a:lnTo>
                  <a:lnTo>
                    <a:pt x="23" y="203"/>
                  </a:lnTo>
                  <a:lnTo>
                    <a:pt x="53" y="203"/>
                  </a:lnTo>
                  <a:lnTo>
                    <a:pt x="61" y="203"/>
                  </a:lnTo>
                  <a:lnTo>
                    <a:pt x="91" y="203"/>
                  </a:lnTo>
                  <a:lnTo>
                    <a:pt x="114" y="0"/>
                  </a:lnTo>
                  <a:lnTo>
                    <a:pt x="57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ľïďè">
              <a:extLst>
                <a:ext uri="{FF2B5EF4-FFF2-40B4-BE49-F238E27FC236}">
                  <a16:creationId xmlns:a16="http://schemas.microsoft.com/office/drawing/2014/main" id="{F9465839-55E5-46EB-9EDA-17935A929D08}"/>
                </a:ext>
              </a:extLst>
            </p:cNvPr>
            <p:cNvSpPr/>
            <p:nvPr/>
          </p:nvSpPr>
          <p:spPr bwMode="auto">
            <a:xfrm>
              <a:off x="7285038" y="4718050"/>
              <a:ext cx="182563" cy="322263"/>
            </a:xfrm>
            <a:custGeom>
              <a:avLst/>
              <a:gdLst>
                <a:gd name="T0" fmla="*/ 58 w 115"/>
                <a:gd name="T1" fmla="*/ 1 h 203"/>
                <a:gd name="T2" fmla="*/ 0 w 115"/>
                <a:gd name="T3" fmla="*/ 0 h 203"/>
                <a:gd name="T4" fmla="*/ 24 w 115"/>
                <a:gd name="T5" fmla="*/ 203 h 203"/>
                <a:gd name="T6" fmla="*/ 54 w 115"/>
                <a:gd name="T7" fmla="*/ 203 h 203"/>
                <a:gd name="T8" fmla="*/ 62 w 115"/>
                <a:gd name="T9" fmla="*/ 203 h 203"/>
                <a:gd name="T10" fmla="*/ 92 w 115"/>
                <a:gd name="T11" fmla="*/ 203 h 203"/>
                <a:gd name="T12" fmla="*/ 115 w 115"/>
                <a:gd name="T13" fmla="*/ 0 h 203"/>
                <a:gd name="T14" fmla="*/ 58 w 115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203">
                  <a:moveTo>
                    <a:pt x="58" y="1"/>
                  </a:moveTo>
                  <a:lnTo>
                    <a:pt x="0" y="0"/>
                  </a:lnTo>
                  <a:lnTo>
                    <a:pt x="24" y="203"/>
                  </a:lnTo>
                  <a:lnTo>
                    <a:pt x="54" y="203"/>
                  </a:lnTo>
                  <a:lnTo>
                    <a:pt x="62" y="203"/>
                  </a:lnTo>
                  <a:lnTo>
                    <a:pt x="92" y="203"/>
                  </a:lnTo>
                  <a:lnTo>
                    <a:pt x="115" y="0"/>
                  </a:lnTo>
                  <a:lnTo>
                    <a:pt x="58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$1íďe">
              <a:extLst>
                <a:ext uri="{FF2B5EF4-FFF2-40B4-BE49-F238E27FC236}">
                  <a16:creationId xmlns:a16="http://schemas.microsoft.com/office/drawing/2014/main" id="{337E0033-2AD9-4F19-88D0-7303AC14EDC8}"/>
                </a:ext>
              </a:extLst>
            </p:cNvPr>
            <p:cNvSpPr/>
            <p:nvPr/>
          </p:nvSpPr>
          <p:spPr bwMode="auto">
            <a:xfrm>
              <a:off x="4473575" y="4622800"/>
              <a:ext cx="2900363" cy="204788"/>
            </a:xfrm>
            <a:prstGeom prst="rect">
              <a:avLst/>
            </a:pr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sḻïḓê">
              <a:extLst>
                <a:ext uri="{FF2B5EF4-FFF2-40B4-BE49-F238E27FC236}">
                  <a16:creationId xmlns:a16="http://schemas.microsoft.com/office/drawing/2014/main" id="{32FA38A7-D1B0-499C-93BB-76023B00F2D8}"/>
                </a:ext>
              </a:extLst>
            </p:cNvPr>
            <p:cNvSpPr/>
            <p:nvPr/>
          </p:nvSpPr>
          <p:spPr bwMode="auto">
            <a:xfrm>
              <a:off x="4160838" y="4284663"/>
              <a:ext cx="3475038" cy="244475"/>
            </a:xfrm>
            <a:custGeom>
              <a:avLst/>
              <a:gdLst>
                <a:gd name="T0" fmla="*/ 0 w 2189"/>
                <a:gd name="T1" fmla="*/ 154 h 154"/>
                <a:gd name="T2" fmla="*/ 2189 w 2189"/>
                <a:gd name="T3" fmla="*/ 154 h 154"/>
                <a:gd name="T4" fmla="*/ 2085 w 2189"/>
                <a:gd name="T5" fmla="*/ 0 h 154"/>
                <a:gd name="T6" fmla="*/ 99 w 2189"/>
                <a:gd name="T7" fmla="*/ 0 h 154"/>
                <a:gd name="T8" fmla="*/ 0 w 2189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9" h="154">
                  <a:moveTo>
                    <a:pt x="0" y="154"/>
                  </a:moveTo>
                  <a:lnTo>
                    <a:pt x="2189" y="154"/>
                  </a:lnTo>
                  <a:lnTo>
                    <a:pt x="2085" y="0"/>
                  </a:lnTo>
                  <a:lnTo>
                    <a:pt x="99" y="0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8C9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šḷîḍé">
              <a:extLst>
                <a:ext uri="{FF2B5EF4-FFF2-40B4-BE49-F238E27FC236}">
                  <a16:creationId xmlns:a16="http://schemas.microsoft.com/office/drawing/2014/main" id="{5AD146C7-F5C2-4EA0-B46E-3C180B006E25}"/>
                </a:ext>
              </a:extLst>
            </p:cNvPr>
            <p:cNvSpPr/>
            <p:nvPr/>
          </p:nvSpPr>
          <p:spPr bwMode="auto">
            <a:xfrm>
              <a:off x="4156075" y="4464050"/>
              <a:ext cx="1738313" cy="322263"/>
            </a:xfrm>
            <a:custGeom>
              <a:avLst/>
              <a:gdLst>
                <a:gd name="T0" fmla="*/ 1374 w 1441"/>
                <a:gd name="T1" fmla="*/ 268 h 268"/>
                <a:gd name="T2" fmla="*/ 66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6 w 1441"/>
                <a:gd name="T9" fmla="*/ 0 h 268"/>
                <a:gd name="T10" fmla="*/ 1374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4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4" y="268"/>
                  </a:moveTo>
                  <a:cubicBezTo>
                    <a:pt x="66" y="268"/>
                    <a:pt x="66" y="268"/>
                    <a:pt x="66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374" y="0"/>
                    <a:pt x="1374" y="0"/>
                    <a:pt x="1374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4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$ḷíḍè">
              <a:extLst>
                <a:ext uri="{FF2B5EF4-FFF2-40B4-BE49-F238E27FC236}">
                  <a16:creationId xmlns:a16="http://schemas.microsoft.com/office/drawing/2014/main" id="{5BF00A61-3C99-4137-9DF7-0A16EF80C2B3}"/>
                </a:ext>
              </a:extLst>
            </p:cNvPr>
            <p:cNvSpPr/>
            <p:nvPr/>
          </p:nvSpPr>
          <p:spPr bwMode="auto">
            <a:xfrm>
              <a:off x="5889625" y="4464050"/>
              <a:ext cx="1738313" cy="322263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5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ṧḷîdê">
              <a:extLst>
                <a:ext uri="{FF2B5EF4-FFF2-40B4-BE49-F238E27FC236}">
                  <a16:creationId xmlns:a16="http://schemas.microsoft.com/office/drawing/2014/main" id="{D4F561B4-C8F6-4D8B-8500-4B45465D9AD1}"/>
                </a:ext>
              </a:extLst>
            </p:cNvPr>
            <p:cNvSpPr/>
            <p:nvPr/>
          </p:nvSpPr>
          <p:spPr bwMode="auto">
            <a:xfrm>
              <a:off x="7472363" y="3776663"/>
              <a:ext cx="322263" cy="1016000"/>
            </a:xfrm>
            <a:custGeom>
              <a:avLst/>
              <a:gdLst>
                <a:gd name="T0" fmla="*/ 67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7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7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7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8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8" y="0"/>
                    <a:pt x="20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30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30" y="843"/>
                    <a:pt x="67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ṥľíde">
              <a:extLst>
                <a:ext uri="{FF2B5EF4-FFF2-40B4-BE49-F238E27FC236}">
                  <a16:creationId xmlns:a16="http://schemas.microsoft.com/office/drawing/2014/main" id="{BF5F832D-C821-4A11-816E-C12489F78179}"/>
                </a:ext>
              </a:extLst>
            </p:cNvPr>
            <p:cNvSpPr/>
            <p:nvPr/>
          </p:nvSpPr>
          <p:spPr bwMode="auto">
            <a:xfrm>
              <a:off x="3995738" y="3776663"/>
              <a:ext cx="322263" cy="1016000"/>
            </a:xfrm>
            <a:custGeom>
              <a:avLst/>
              <a:gdLst>
                <a:gd name="T0" fmla="*/ 66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6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6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6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7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7" y="0"/>
                    <a:pt x="201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9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29" y="843"/>
                    <a:pt x="66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śľïde">
              <a:extLst>
                <a:ext uri="{FF2B5EF4-FFF2-40B4-BE49-F238E27FC236}">
                  <a16:creationId xmlns:a16="http://schemas.microsoft.com/office/drawing/2014/main" id="{FC5C8F7B-0CE8-46FC-B170-90FE664DBD0B}"/>
                </a:ext>
              </a:extLst>
            </p:cNvPr>
            <p:cNvSpPr/>
            <p:nvPr/>
          </p:nvSpPr>
          <p:spPr bwMode="auto">
            <a:xfrm>
              <a:off x="4256088" y="3676650"/>
              <a:ext cx="773113" cy="676275"/>
            </a:xfrm>
            <a:custGeom>
              <a:avLst/>
              <a:gdLst>
                <a:gd name="T0" fmla="*/ 112 w 640"/>
                <a:gd name="T1" fmla="*/ 560 h 561"/>
                <a:gd name="T2" fmla="*/ 415 w 640"/>
                <a:gd name="T3" fmla="*/ 511 h 561"/>
                <a:gd name="T4" fmla="*/ 426 w 640"/>
                <a:gd name="T5" fmla="*/ 510 h 561"/>
                <a:gd name="T6" fmla="*/ 597 w 640"/>
                <a:gd name="T7" fmla="*/ 532 h 561"/>
                <a:gd name="T8" fmla="*/ 640 w 640"/>
                <a:gd name="T9" fmla="*/ 495 h 561"/>
                <a:gd name="T10" fmla="*/ 638 w 640"/>
                <a:gd name="T11" fmla="*/ 484 h 561"/>
                <a:gd name="T12" fmla="*/ 584 w 640"/>
                <a:gd name="T13" fmla="*/ 176 h 561"/>
                <a:gd name="T14" fmla="*/ 584 w 640"/>
                <a:gd name="T15" fmla="*/ 42 h 561"/>
                <a:gd name="T16" fmla="*/ 536 w 640"/>
                <a:gd name="T17" fmla="*/ 7 h 561"/>
                <a:gd name="T18" fmla="*/ 495 w 640"/>
                <a:gd name="T19" fmla="*/ 18 h 561"/>
                <a:gd name="T20" fmla="*/ 485 w 640"/>
                <a:gd name="T21" fmla="*/ 19 h 561"/>
                <a:gd name="T22" fmla="*/ 40 w 640"/>
                <a:gd name="T23" fmla="*/ 19 h 561"/>
                <a:gd name="T24" fmla="*/ 3 w 640"/>
                <a:gd name="T25" fmla="*/ 48 h 561"/>
                <a:gd name="T26" fmla="*/ 2 w 640"/>
                <a:gd name="T27" fmla="*/ 53 h 561"/>
                <a:gd name="T28" fmla="*/ 4 w 640"/>
                <a:gd name="T29" fmla="*/ 75 h 561"/>
                <a:gd name="T30" fmla="*/ 62 w 640"/>
                <a:gd name="T31" fmla="*/ 346 h 561"/>
                <a:gd name="T32" fmla="*/ 63 w 640"/>
                <a:gd name="T33" fmla="*/ 520 h 561"/>
                <a:gd name="T34" fmla="*/ 85 w 640"/>
                <a:gd name="T35" fmla="*/ 555 h 561"/>
                <a:gd name="T36" fmla="*/ 90 w 640"/>
                <a:gd name="T37" fmla="*/ 557 h 561"/>
                <a:gd name="T38" fmla="*/ 112 w 640"/>
                <a:gd name="T39" fmla="*/ 56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560"/>
                  </a:moveTo>
                  <a:cubicBezTo>
                    <a:pt x="415" y="511"/>
                    <a:pt x="415" y="511"/>
                    <a:pt x="415" y="511"/>
                  </a:cubicBezTo>
                  <a:cubicBezTo>
                    <a:pt x="419" y="510"/>
                    <a:pt x="422" y="510"/>
                    <a:pt x="426" y="510"/>
                  </a:cubicBezTo>
                  <a:cubicBezTo>
                    <a:pt x="597" y="532"/>
                    <a:pt x="597" y="532"/>
                    <a:pt x="597" y="532"/>
                  </a:cubicBezTo>
                  <a:cubicBezTo>
                    <a:pt x="620" y="535"/>
                    <a:pt x="640" y="518"/>
                    <a:pt x="640" y="495"/>
                  </a:cubicBezTo>
                  <a:cubicBezTo>
                    <a:pt x="640" y="491"/>
                    <a:pt x="639" y="487"/>
                    <a:pt x="638" y="484"/>
                  </a:cubicBezTo>
                  <a:cubicBezTo>
                    <a:pt x="629" y="453"/>
                    <a:pt x="581" y="294"/>
                    <a:pt x="584" y="176"/>
                  </a:cubicBezTo>
                  <a:cubicBezTo>
                    <a:pt x="586" y="114"/>
                    <a:pt x="585" y="70"/>
                    <a:pt x="584" y="42"/>
                  </a:cubicBezTo>
                  <a:cubicBezTo>
                    <a:pt x="583" y="17"/>
                    <a:pt x="560" y="0"/>
                    <a:pt x="536" y="7"/>
                  </a:cubicBezTo>
                  <a:cubicBezTo>
                    <a:pt x="495" y="18"/>
                    <a:pt x="495" y="18"/>
                    <a:pt x="495" y="18"/>
                  </a:cubicBezTo>
                  <a:cubicBezTo>
                    <a:pt x="492" y="19"/>
                    <a:pt x="489" y="19"/>
                    <a:pt x="485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2" y="19"/>
                    <a:pt x="7" y="31"/>
                    <a:pt x="3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60"/>
                    <a:pt x="1" y="68"/>
                    <a:pt x="4" y="75"/>
                  </a:cubicBezTo>
                  <a:cubicBezTo>
                    <a:pt x="17" y="110"/>
                    <a:pt x="59" y="229"/>
                    <a:pt x="62" y="346"/>
                  </a:cubicBezTo>
                  <a:cubicBezTo>
                    <a:pt x="64" y="434"/>
                    <a:pt x="64" y="490"/>
                    <a:pt x="63" y="520"/>
                  </a:cubicBezTo>
                  <a:cubicBezTo>
                    <a:pt x="63" y="535"/>
                    <a:pt x="71" y="549"/>
                    <a:pt x="85" y="555"/>
                  </a:cubicBezTo>
                  <a:cubicBezTo>
                    <a:pt x="90" y="557"/>
                    <a:pt x="90" y="557"/>
                    <a:pt x="90" y="557"/>
                  </a:cubicBezTo>
                  <a:cubicBezTo>
                    <a:pt x="97" y="560"/>
                    <a:pt x="104" y="561"/>
                    <a:pt x="112" y="560"/>
                  </a:cubicBezTo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S1ïḑe">
              <a:extLst>
                <a:ext uri="{FF2B5EF4-FFF2-40B4-BE49-F238E27FC236}">
                  <a16:creationId xmlns:a16="http://schemas.microsoft.com/office/drawing/2014/main" id="{C2F1917A-9712-4252-B4A9-6E8F0B9BAF82}"/>
                </a:ext>
              </a:extLst>
            </p:cNvPr>
            <p:cNvSpPr/>
            <p:nvPr/>
          </p:nvSpPr>
          <p:spPr bwMode="auto">
            <a:xfrm>
              <a:off x="4933950" y="4006850"/>
              <a:ext cx="95250" cy="312738"/>
            </a:xfrm>
            <a:custGeom>
              <a:avLst/>
              <a:gdLst>
                <a:gd name="T0" fmla="*/ 34 w 78"/>
                <a:gd name="T1" fmla="*/ 257 h 260"/>
                <a:gd name="T2" fmla="*/ 37 w 78"/>
                <a:gd name="T3" fmla="*/ 258 h 260"/>
                <a:gd name="T4" fmla="*/ 78 w 78"/>
                <a:gd name="T5" fmla="*/ 221 h 260"/>
                <a:gd name="T6" fmla="*/ 76 w 78"/>
                <a:gd name="T7" fmla="*/ 210 h 260"/>
                <a:gd name="T8" fmla="*/ 29 w 78"/>
                <a:gd name="T9" fmla="*/ 0 h 260"/>
                <a:gd name="T10" fmla="*/ 3 w 78"/>
                <a:gd name="T11" fmla="*/ 187 h 260"/>
                <a:gd name="T12" fmla="*/ 34 w 78"/>
                <a:gd name="T13" fmla="*/ 25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60">
                  <a:moveTo>
                    <a:pt x="34" y="257"/>
                  </a:moveTo>
                  <a:cubicBezTo>
                    <a:pt x="35" y="257"/>
                    <a:pt x="36" y="258"/>
                    <a:pt x="37" y="258"/>
                  </a:cubicBezTo>
                  <a:cubicBezTo>
                    <a:pt x="59" y="260"/>
                    <a:pt x="78" y="243"/>
                    <a:pt x="78" y="221"/>
                  </a:cubicBezTo>
                  <a:cubicBezTo>
                    <a:pt x="78" y="217"/>
                    <a:pt x="77" y="213"/>
                    <a:pt x="76" y="210"/>
                  </a:cubicBezTo>
                  <a:cubicBezTo>
                    <a:pt x="69" y="187"/>
                    <a:pt x="41" y="94"/>
                    <a:pt x="29" y="0"/>
                  </a:cubicBezTo>
                  <a:cubicBezTo>
                    <a:pt x="3" y="187"/>
                    <a:pt x="3" y="187"/>
                    <a:pt x="3" y="187"/>
                  </a:cubicBezTo>
                  <a:cubicBezTo>
                    <a:pt x="3" y="187"/>
                    <a:pt x="0" y="236"/>
                    <a:pt x="34" y="257"/>
                  </a:cubicBezTo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şļîdé">
              <a:extLst>
                <a:ext uri="{FF2B5EF4-FFF2-40B4-BE49-F238E27FC236}">
                  <a16:creationId xmlns:a16="http://schemas.microsoft.com/office/drawing/2014/main" id="{970C2D8F-5DC6-490A-A1C7-D2FE41013E6B}"/>
                </a:ext>
              </a:extLst>
            </p:cNvPr>
            <p:cNvSpPr/>
            <p:nvPr/>
          </p:nvSpPr>
          <p:spPr bwMode="auto">
            <a:xfrm>
              <a:off x="4256088" y="3706813"/>
              <a:ext cx="152400" cy="636588"/>
            </a:xfrm>
            <a:custGeom>
              <a:avLst/>
              <a:gdLst>
                <a:gd name="T0" fmla="*/ 20 w 126"/>
                <a:gd name="T1" fmla="*/ 0 h 528"/>
                <a:gd name="T2" fmla="*/ 3 w 126"/>
                <a:gd name="T3" fmla="*/ 23 h 528"/>
                <a:gd name="T4" fmla="*/ 2 w 126"/>
                <a:gd name="T5" fmla="*/ 28 h 528"/>
                <a:gd name="T6" fmla="*/ 4 w 126"/>
                <a:gd name="T7" fmla="*/ 50 h 528"/>
                <a:gd name="T8" fmla="*/ 62 w 126"/>
                <a:gd name="T9" fmla="*/ 321 h 528"/>
                <a:gd name="T10" fmla="*/ 63 w 126"/>
                <a:gd name="T11" fmla="*/ 495 h 528"/>
                <a:gd name="T12" fmla="*/ 82 w 126"/>
                <a:gd name="T13" fmla="*/ 528 h 528"/>
                <a:gd name="T14" fmla="*/ 126 w 126"/>
                <a:gd name="T15" fmla="*/ 206 h 528"/>
                <a:gd name="T16" fmla="*/ 20 w 126"/>
                <a:gd name="T1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528">
                  <a:moveTo>
                    <a:pt x="20" y="0"/>
                  </a:moveTo>
                  <a:cubicBezTo>
                    <a:pt x="12" y="5"/>
                    <a:pt x="5" y="13"/>
                    <a:pt x="3" y="2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5"/>
                    <a:pt x="1" y="43"/>
                    <a:pt x="4" y="50"/>
                  </a:cubicBezTo>
                  <a:cubicBezTo>
                    <a:pt x="17" y="85"/>
                    <a:pt x="59" y="204"/>
                    <a:pt x="62" y="321"/>
                  </a:cubicBezTo>
                  <a:cubicBezTo>
                    <a:pt x="64" y="409"/>
                    <a:pt x="64" y="466"/>
                    <a:pt x="63" y="495"/>
                  </a:cubicBezTo>
                  <a:cubicBezTo>
                    <a:pt x="63" y="509"/>
                    <a:pt x="70" y="522"/>
                    <a:pt x="82" y="528"/>
                  </a:cubicBezTo>
                  <a:cubicBezTo>
                    <a:pt x="126" y="206"/>
                    <a:pt x="126" y="206"/>
                    <a:pt x="126" y="206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ṧḷîďe">
              <a:extLst>
                <a:ext uri="{FF2B5EF4-FFF2-40B4-BE49-F238E27FC236}">
                  <a16:creationId xmlns:a16="http://schemas.microsoft.com/office/drawing/2014/main" id="{CCF0D642-55E7-4114-8D85-69231E3F2779}"/>
                </a:ext>
              </a:extLst>
            </p:cNvPr>
            <p:cNvSpPr/>
            <p:nvPr/>
          </p:nvSpPr>
          <p:spPr bwMode="auto">
            <a:xfrm>
              <a:off x="6721475" y="3649663"/>
              <a:ext cx="773113" cy="676275"/>
            </a:xfrm>
            <a:custGeom>
              <a:avLst/>
              <a:gdLst>
                <a:gd name="T0" fmla="*/ 112 w 640"/>
                <a:gd name="T1" fmla="*/ 1 h 561"/>
                <a:gd name="T2" fmla="*/ 415 w 640"/>
                <a:gd name="T3" fmla="*/ 51 h 561"/>
                <a:gd name="T4" fmla="*/ 426 w 640"/>
                <a:gd name="T5" fmla="*/ 51 h 561"/>
                <a:gd name="T6" fmla="*/ 597 w 640"/>
                <a:gd name="T7" fmla="*/ 29 h 561"/>
                <a:gd name="T8" fmla="*/ 640 w 640"/>
                <a:gd name="T9" fmla="*/ 67 h 561"/>
                <a:gd name="T10" fmla="*/ 638 w 640"/>
                <a:gd name="T11" fmla="*/ 78 h 561"/>
                <a:gd name="T12" fmla="*/ 584 w 640"/>
                <a:gd name="T13" fmla="*/ 386 h 561"/>
                <a:gd name="T14" fmla="*/ 584 w 640"/>
                <a:gd name="T15" fmla="*/ 520 h 561"/>
                <a:gd name="T16" fmla="*/ 536 w 640"/>
                <a:gd name="T17" fmla="*/ 555 h 561"/>
                <a:gd name="T18" fmla="*/ 495 w 640"/>
                <a:gd name="T19" fmla="*/ 544 h 561"/>
                <a:gd name="T20" fmla="*/ 485 w 640"/>
                <a:gd name="T21" fmla="*/ 543 h 561"/>
                <a:gd name="T22" fmla="*/ 40 w 640"/>
                <a:gd name="T23" fmla="*/ 543 h 561"/>
                <a:gd name="T24" fmla="*/ 3 w 640"/>
                <a:gd name="T25" fmla="*/ 513 h 561"/>
                <a:gd name="T26" fmla="*/ 2 w 640"/>
                <a:gd name="T27" fmla="*/ 509 h 561"/>
                <a:gd name="T28" fmla="*/ 4 w 640"/>
                <a:gd name="T29" fmla="*/ 487 h 561"/>
                <a:gd name="T30" fmla="*/ 62 w 640"/>
                <a:gd name="T31" fmla="*/ 215 h 561"/>
                <a:gd name="T32" fmla="*/ 63 w 640"/>
                <a:gd name="T33" fmla="*/ 42 h 561"/>
                <a:gd name="T34" fmla="*/ 85 w 640"/>
                <a:gd name="T35" fmla="*/ 6 h 561"/>
                <a:gd name="T36" fmla="*/ 90 w 640"/>
                <a:gd name="T37" fmla="*/ 4 h 561"/>
                <a:gd name="T38" fmla="*/ 112 w 640"/>
                <a:gd name="T39" fmla="*/ 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1"/>
                  </a:moveTo>
                  <a:cubicBezTo>
                    <a:pt x="415" y="51"/>
                    <a:pt x="415" y="51"/>
                    <a:pt x="415" y="51"/>
                  </a:cubicBezTo>
                  <a:cubicBezTo>
                    <a:pt x="419" y="51"/>
                    <a:pt x="422" y="52"/>
                    <a:pt x="426" y="51"/>
                  </a:cubicBezTo>
                  <a:cubicBezTo>
                    <a:pt x="597" y="29"/>
                    <a:pt x="597" y="29"/>
                    <a:pt x="597" y="29"/>
                  </a:cubicBezTo>
                  <a:cubicBezTo>
                    <a:pt x="620" y="26"/>
                    <a:pt x="640" y="44"/>
                    <a:pt x="640" y="67"/>
                  </a:cubicBezTo>
                  <a:cubicBezTo>
                    <a:pt x="640" y="71"/>
                    <a:pt x="639" y="74"/>
                    <a:pt x="638" y="78"/>
                  </a:cubicBezTo>
                  <a:cubicBezTo>
                    <a:pt x="629" y="109"/>
                    <a:pt x="581" y="267"/>
                    <a:pt x="584" y="386"/>
                  </a:cubicBezTo>
                  <a:cubicBezTo>
                    <a:pt x="586" y="448"/>
                    <a:pt x="585" y="491"/>
                    <a:pt x="584" y="520"/>
                  </a:cubicBezTo>
                  <a:cubicBezTo>
                    <a:pt x="583" y="544"/>
                    <a:pt x="560" y="561"/>
                    <a:pt x="536" y="555"/>
                  </a:cubicBezTo>
                  <a:cubicBezTo>
                    <a:pt x="495" y="544"/>
                    <a:pt x="495" y="544"/>
                    <a:pt x="495" y="544"/>
                  </a:cubicBezTo>
                  <a:cubicBezTo>
                    <a:pt x="492" y="543"/>
                    <a:pt x="489" y="543"/>
                    <a:pt x="485" y="543"/>
                  </a:cubicBezTo>
                  <a:cubicBezTo>
                    <a:pt x="40" y="543"/>
                    <a:pt x="40" y="543"/>
                    <a:pt x="40" y="543"/>
                  </a:cubicBezTo>
                  <a:cubicBezTo>
                    <a:pt x="22" y="543"/>
                    <a:pt x="7" y="530"/>
                    <a:pt x="3" y="513"/>
                  </a:cubicBezTo>
                  <a:cubicBezTo>
                    <a:pt x="2" y="509"/>
                    <a:pt x="2" y="509"/>
                    <a:pt x="2" y="509"/>
                  </a:cubicBezTo>
                  <a:cubicBezTo>
                    <a:pt x="0" y="501"/>
                    <a:pt x="1" y="494"/>
                    <a:pt x="4" y="487"/>
                  </a:cubicBezTo>
                  <a:cubicBezTo>
                    <a:pt x="17" y="451"/>
                    <a:pt x="59" y="332"/>
                    <a:pt x="62" y="215"/>
                  </a:cubicBezTo>
                  <a:cubicBezTo>
                    <a:pt x="64" y="127"/>
                    <a:pt x="64" y="71"/>
                    <a:pt x="63" y="42"/>
                  </a:cubicBezTo>
                  <a:cubicBezTo>
                    <a:pt x="63" y="27"/>
                    <a:pt x="71" y="13"/>
                    <a:pt x="85" y="6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7" y="1"/>
                    <a:pt x="104" y="0"/>
                    <a:pt x="112" y="1"/>
                  </a:cubicBezTo>
                  <a:close/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ṩ1iḑe">
              <a:extLst>
                <a:ext uri="{FF2B5EF4-FFF2-40B4-BE49-F238E27FC236}">
                  <a16:creationId xmlns:a16="http://schemas.microsoft.com/office/drawing/2014/main" id="{B0F0DA45-2E66-460D-A7A3-965C8E92C4E7}"/>
                </a:ext>
              </a:extLst>
            </p:cNvPr>
            <p:cNvSpPr/>
            <p:nvPr/>
          </p:nvSpPr>
          <p:spPr bwMode="auto">
            <a:xfrm>
              <a:off x="7375525" y="3716338"/>
              <a:ext cx="119063" cy="576263"/>
            </a:xfrm>
            <a:custGeom>
              <a:avLst/>
              <a:gdLst>
                <a:gd name="T0" fmla="*/ 98 w 98"/>
                <a:gd name="T1" fmla="*/ 12 h 478"/>
                <a:gd name="T2" fmla="*/ 96 w 98"/>
                <a:gd name="T3" fmla="*/ 0 h 478"/>
                <a:gd name="T4" fmla="*/ 0 w 98"/>
                <a:gd name="T5" fmla="*/ 101 h 478"/>
                <a:gd name="T6" fmla="*/ 39 w 98"/>
                <a:gd name="T7" fmla="*/ 478 h 478"/>
                <a:gd name="T8" fmla="*/ 42 w 98"/>
                <a:gd name="T9" fmla="*/ 465 h 478"/>
                <a:gd name="T10" fmla="*/ 42 w 98"/>
                <a:gd name="T11" fmla="*/ 331 h 478"/>
                <a:gd name="T12" fmla="*/ 96 w 98"/>
                <a:gd name="T13" fmla="*/ 23 h 478"/>
                <a:gd name="T14" fmla="*/ 98 w 98"/>
                <a:gd name="T15" fmla="*/ 1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478">
                  <a:moveTo>
                    <a:pt x="98" y="12"/>
                  </a:moveTo>
                  <a:cubicBezTo>
                    <a:pt x="98" y="8"/>
                    <a:pt x="97" y="4"/>
                    <a:pt x="96" y="0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9" y="478"/>
                    <a:pt x="39" y="478"/>
                    <a:pt x="39" y="478"/>
                  </a:cubicBezTo>
                  <a:cubicBezTo>
                    <a:pt x="41" y="474"/>
                    <a:pt x="42" y="470"/>
                    <a:pt x="42" y="465"/>
                  </a:cubicBezTo>
                  <a:cubicBezTo>
                    <a:pt x="43" y="436"/>
                    <a:pt x="44" y="393"/>
                    <a:pt x="42" y="331"/>
                  </a:cubicBezTo>
                  <a:cubicBezTo>
                    <a:pt x="39" y="212"/>
                    <a:pt x="87" y="54"/>
                    <a:pt x="96" y="23"/>
                  </a:cubicBezTo>
                  <a:cubicBezTo>
                    <a:pt x="97" y="19"/>
                    <a:pt x="98" y="16"/>
                    <a:pt x="98" y="12"/>
                  </a:cubicBezTo>
                  <a:close/>
                </a:path>
              </a:pathLst>
            </a:custGeom>
            <a:solidFill>
              <a:srgbClr val="E6D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ḷîḓe">
              <a:extLst>
                <a:ext uri="{FF2B5EF4-FFF2-40B4-BE49-F238E27FC236}">
                  <a16:creationId xmlns:a16="http://schemas.microsoft.com/office/drawing/2014/main" id="{6C1D92AC-45F6-4981-BD51-826F76DFCB97}"/>
                </a:ext>
              </a:extLst>
            </p:cNvPr>
            <p:cNvSpPr/>
            <p:nvPr/>
          </p:nvSpPr>
          <p:spPr bwMode="auto">
            <a:xfrm>
              <a:off x="6797675" y="3717925"/>
              <a:ext cx="696913" cy="106363"/>
            </a:xfrm>
            <a:custGeom>
              <a:avLst/>
              <a:gdLst>
                <a:gd name="T0" fmla="*/ 246 w 577"/>
                <a:gd name="T1" fmla="*/ 86 h 89"/>
                <a:gd name="T2" fmla="*/ 568 w 577"/>
                <a:gd name="T3" fmla="*/ 46 h 89"/>
                <a:gd name="T4" fmla="*/ 575 w 577"/>
                <a:gd name="T5" fmla="*/ 22 h 89"/>
                <a:gd name="T6" fmla="*/ 577 w 577"/>
                <a:gd name="T7" fmla="*/ 14 h 89"/>
                <a:gd name="T8" fmla="*/ 243 w 577"/>
                <a:gd name="T9" fmla="*/ 38 h 89"/>
                <a:gd name="T10" fmla="*/ 0 w 577"/>
                <a:gd name="T11" fmla="*/ 0 h 89"/>
                <a:gd name="T12" fmla="*/ 1 w 577"/>
                <a:gd name="T13" fmla="*/ 47 h 89"/>
                <a:gd name="T14" fmla="*/ 246 w 577"/>
                <a:gd name="T15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" h="89">
                  <a:moveTo>
                    <a:pt x="246" y="86"/>
                  </a:moveTo>
                  <a:cubicBezTo>
                    <a:pt x="262" y="83"/>
                    <a:pt x="517" y="52"/>
                    <a:pt x="568" y="46"/>
                  </a:cubicBezTo>
                  <a:cubicBezTo>
                    <a:pt x="571" y="35"/>
                    <a:pt x="574" y="27"/>
                    <a:pt x="575" y="22"/>
                  </a:cubicBezTo>
                  <a:cubicBezTo>
                    <a:pt x="576" y="19"/>
                    <a:pt x="577" y="17"/>
                    <a:pt x="577" y="14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43" y="38"/>
                    <a:pt x="50" y="11"/>
                    <a:pt x="0" y="0"/>
                  </a:cubicBezTo>
                  <a:cubicBezTo>
                    <a:pt x="0" y="12"/>
                    <a:pt x="1" y="28"/>
                    <a:pt x="1" y="47"/>
                  </a:cubicBezTo>
                  <a:cubicBezTo>
                    <a:pt x="49" y="56"/>
                    <a:pt x="231" y="89"/>
                    <a:pt x="246" y="86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ṧ1îḍè">
              <a:extLst>
                <a:ext uri="{FF2B5EF4-FFF2-40B4-BE49-F238E27FC236}">
                  <a16:creationId xmlns:a16="http://schemas.microsoft.com/office/drawing/2014/main" id="{7187311F-AEA1-436F-B14A-7B0A68CFDE96}"/>
                </a:ext>
              </a:extLst>
            </p:cNvPr>
            <p:cNvSpPr/>
            <p:nvPr/>
          </p:nvSpPr>
          <p:spPr bwMode="auto">
            <a:xfrm>
              <a:off x="6756400" y="4071938"/>
              <a:ext cx="671513" cy="96838"/>
            </a:xfrm>
            <a:custGeom>
              <a:avLst/>
              <a:gdLst>
                <a:gd name="T0" fmla="*/ 16 w 557"/>
                <a:gd name="T1" fmla="*/ 0 h 80"/>
                <a:gd name="T2" fmla="*/ 0 w 557"/>
                <a:gd name="T3" fmla="*/ 63 h 80"/>
                <a:gd name="T4" fmla="*/ 208 w 557"/>
                <a:gd name="T5" fmla="*/ 64 h 80"/>
                <a:gd name="T6" fmla="*/ 557 w 557"/>
                <a:gd name="T7" fmla="*/ 80 h 80"/>
                <a:gd name="T8" fmla="*/ 556 w 557"/>
                <a:gd name="T9" fmla="*/ 36 h 80"/>
                <a:gd name="T10" fmla="*/ 556 w 557"/>
                <a:gd name="T11" fmla="*/ 22 h 80"/>
                <a:gd name="T12" fmla="*/ 132 w 557"/>
                <a:gd name="T13" fmla="*/ 22 h 80"/>
                <a:gd name="T14" fmla="*/ 16 w 557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7" h="80">
                  <a:moveTo>
                    <a:pt x="16" y="0"/>
                  </a:moveTo>
                  <a:cubicBezTo>
                    <a:pt x="11" y="23"/>
                    <a:pt x="6" y="44"/>
                    <a:pt x="0" y="63"/>
                  </a:cubicBezTo>
                  <a:cubicBezTo>
                    <a:pt x="74" y="64"/>
                    <a:pt x="208" y="64"/>
                    <a:pt x="208" y="64"/>
                  </a:cubicBezTo>
                  <a:cubicBezTo>
                    <a:pt x="557" y="80"/>
                    <a:pt x="557" y="80"/>
                    <a:pt x="557" y="80"/>
                  </a:cubicBezTo>
                  <a:cubicBezTo>
                    <a:pt x="557" y="67"/>
                    <a:pt x="557" y="52"/>
                    <a:pt x="556" y="36"/>
                  </a:cubicBezTo>
                  <a:cubicBezTo>
                    <a:pt x="556" y="31"/>
                    <a:pt x="556" y="27"/>
                    <a:pt x="556" y="22"/>
                  </a:cubicBezTo>
                  <a:cubicBezTo>
                    <a:pt x="132" y="22"/>
                    <a:pt x="132" y="22"/>
                    <a:pt x="132" y="22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1îḋe">
              <a:extLst>
                <a:ext uri="{FF2B5EF4-FFF2-40B4-BE49-F238E27FC236}">
                  <a16:creationId xmlns:a16="http://schemas.microsoft.com/office/drawing/2014/main" id="{3604022C-78DC-4D06-B3FE-FD94F737DB71}"/>
                </a:ext>
              </a:extLst>
            </p:cNvPr>
            <p:cNvSpPr/>
            <p:nvPr/>
          </p:nvSpPr>
          <p:spPr bwMode="auto">
            <a:xfrm>
              <a:off x="6721475" y="4203700"/>
              <a:ext cx="706438" cy="122238"/>
            </a:xfrm>
            <a:custGeom>
              <a:avLst/>
              <a:gdLst>
                <a:gd name="T0" fmla="*/ 9 w 585"/>
                <a:gd name="T1" fmla="*/ 12 h 102"/>
                <a:gd name="T2" fmla="*/ 4 w 585"/>
                <a:gd name="T3" fmla="*/ 28 h 102"/>
                <a:gd name="T4" fmla="*/ 2 w 585"/>
                <a:gd name="T5" fmla="*/ 50 h 102"/>
                <a:gd name="T6" fmla="*/ 3 w 585"/>
                <a:gd name="T7" fmla="*/ 54 h 102"/>
                <a:gd name="T8" fmla="*/ 28 w 585"/>
                <a:gd name="T9" fmla="*/ 81 h 102"/>
                <a:gd name="T10" fmla="*/ 224 w 585"/>
                <a:gd name="T11" fmla="*/ 57 h 102"/>
                <a:gd name="T12" fmla="*/ 459 w 585"/>
                <a:gd name="T13" fmla="*/ 84 h 102"/>
                <a:gd name="T14" fmla="*/ 485 w 585"/>
                <a:gd name="T15" fmla="*/ 84 h 102"/>
                <a:gd name="T16" fmla="*/ 495 w 585"/>
                <a:gd name="T17" fmla="*/ 85 h 102"/>
                <a:gd name="T18" fmla="*/ 536 w 585"/>
                <a:gd name="T19" fmla="*/ 96 h 102"/>
                <a:gd name="T20" fmla="*/ 584 w 585"/>
                <a:gd name="T21" fmla="*/ 61 h 102"/>
                <a:gd name="T22" fmla="*/ 585 w 585"/>
                <a:gd name="T23" fmla="*/ 33 h 102"/>
                <a:gd name="T24" fmla="*/ 212 w 585"/>
                <a:gd name="T25" fmla="*/ 0 h 102"/>
                <a:gd name="T26" fmla="*/ 9 w 585"/>
                <a:gd name="T27" fmla="*/ 1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5" h="102">
                  <a:moveTo>
                    <a:pt x="9" y="12"/>
                  </a:moveTo>
                  <a:cubicBezTo>
                    <a:pt x="7" y="18"/>
                    <a:pt x="5" y="24"/>
                    <a:pt x="4" y="28"/>
                  </a:cubicBezTo>
                  <a:cubicBezTo>
                    <a:pt x="1" y="35"/>
                    <a:pt x="0" y="42"/>
                    <a:pt x="2" y="50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6" y="67"/>
                    <a:pt x="16" y="77"/>
                    <a:pt x="28" y="81"/>
                  </a:cubicBezTo>
                  <a:cubicBezTo>
                    <a:pt x="224" y="57"/>
                    <a:pt x="224" y="57"/>
                    <a:pt x="224" y="57"/>
                  </a:cubicBezTo>
                  <a:cubicBezTo>
                    <a:pt x="459" y="84"/>
                    <a:pt x="459" y="84"/>
                    <a:pt x="459" y="84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9" y="84"/>
                    <a:pt x="492" y="84"/>
                    <a:pt x="495" y="85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60" y="102"/>
                    <a:pt x="583" y="85"/>
                    <a:pt x="584" y="61"/>
                  </a:cubicBezTo>
                  <a:cubicBezTo>
                    <a:pt x="584" y="53"/>
                    <a:pt x="585" y="44"/>
                    <a:pt x="585" y="3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9" y="12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ṩļîḓè">
              <a:extLst>
                <a:ext uri="{FF2B5EF4-FFF2-40B4-BE49-F238E27FC236}">
                  <a16:creationId xmlns:a16="http://schemas.microsoft.com/office/drawing/2014/main" id="{9AB61662-D791-4E7B-8B22-E73D217E41D4}"/>
                </a:ext>
              </a:extLst>
            </p:cNvPr>
            <p:cNvSpPr/>
            <p:nvPr/>
          </p:nvSpPr>
          <p:spPr bwMode="auto">
            <a:xfrm>
              <a:off x="6796088" y="3852863"/>
              <a:ext cx="661988" cy="76200"/>
            </a:xfrm>
            <a:custGeom>
              <a:avLst/>
              <a:gdLst>
                <a:gd name="T0" fmla="*/ 1 w 548"/>
                <a:gd name="T1" fmla="*/ 0 h 64"/>
                <a:gd name="T2" fmla="*/ 0 w 548"/>
                <a:gd name="T3" fmla="*/ 47 h 64"/>
                <a:gd name="T4" fmla="*/ 0 w 548"/>
                <a:gd name="T5" fmla="*/ 51 h 64"/>
                <a:gd name="T6" fmla="*/ 289 w 548"/>
                <a:gd name="T7" fmla="*/ 51 h 64"/>
                <a:gd name="T8" fmla="*/ 538 w 548"/>
                <a:gd name="T9" fmla="*/ 64 h 64"/>
                <a:gd name="T10" fmla="*/ 548 w 548"/>
                <a:gd name="T11" fmla="*/ 13 h 64"/>
                <a:gd name="T12" fmla="*/ 390 w 548"/>
                <a:gd name="T13" fmla="*/ 26 h 64"/>
                <a:gd name="T14" fmla="*/ 1 w 548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8" h="64">
                  <a:moveTo>
                    <a:pt x="1" y="0"/>
                  </a:moveTo>
                  <a:cubicBezTo>
                    <a:pt x="1" y="14"/>
                    <a:pt x="1" y="30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41" y="47"/>
                    <a:pt x="545" y="29"/>
                    <a:pt x="548" y="13"/>
                  </a:cubicBezTo>
                  <a:cubicBezTo>
                    <a:pt x="516" y="15"/>
                    <a:pt x="399" y="23"/>
                    <a:pt x="390" y="26"/>
                  </a:cubicBezTo>
                  <a:cubicBezTo>
                    <a:pt x="381" y="30"/>
                    <a:pt x="65" y="5"/>
                    <a:pt x="1" y="0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sľiḑé">
              <a:extLst>
                <a:ext uri="{FF2B5EF4-FFF2-40B4-BE49-F238E27FC236}">
                  <a16:creationId xmlns:a16="http://schemas.microsoft.com/office/drawing/2014/main" id="{83399205-5E15-4435-90D6-79F6888FDC66}"/>
                </a:ext>
              </a:extLst>
            </p:cNvPr>
            <p:cNvSpPr/>
            <p:nvPr/>
          </p:nvSpPr>
          <p:spPr bwMode="auto">
            <a:xfrm>
              <a:off x="6786563" y="3962400"/>
              <a:ext cx="652463" cy="82550"/>
            </a:xfrm>
            <a:custGeom>
              <a:avLst/>
              <a:gdLst>
                <a:gd name="T0" fmla="*/ 6 w 541"/>
                <a:gd name="T1" fmla="*/ 0 h 68"/>
                <a:gd name="T2" fmla="*/ 0 w 541"/>
                <a:gd name="T3" fmla="*/ 49 h 68"/>
                <a:gd name="T4" fmla="*/ 298 w 541"/>
                <a:gd name="T5" fmla="*/ 68 h 68"/>
                <a:gd name="T6" fmla="*/ 535 w 541"/>
                <a:gd name="T7" fmla="*/ 49 h 68"/>
                <a:gd name="T8" fmla="*/ 541 w 541"/>
                <a:gd name="T9" fmla="*/ 6 h 68"/>
                <a:gd name="T10" fmla="*/ 152 w 541"/>
                <a:gd name="T11" fmla="*/ 16 h 68"/>
                <a:gd name="T12" fmla="*/ 6 w 541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1" h="68">
                  <a:moveTo>
                    <a:pt x="6" y="0"/>
                  </a:moveTo>
                  <a:cubicBezTo>
                    <a:pt x="5" y="17"/>
                    <a:pt x="2" y="33"/>
                    <a:pt x="0" y="49"/>
                  </a:cubicBezTo>
                  <a:cubicBezTo>
                    <a:pt x="298" y="68"/>
                    <a:pt x="298" y="68"/>
                    <a:pt x="298" y="68"/>
                  </a:cubicBezTo>
                  <a:cubicBezTo>
                    <a:pt x="535" y="49"/>
                    <a:pt x="535" y="49"/>
                    <a:pt x="535" y="49"/>
                  </a:cubicBezTo>
                  <a:cubicBezTo>
                    <a:pt x="537" y="35"/>
                    <a:pt x="539" y="20"/>
                    <a:pt x="541" y="6"/>
                  </a:cubicBezTo>
                  <a:cubicBezTo>
                    <a:pt x="152" y="16"/>
                    <a:pt x="152" y="16"/>
                    <a:pt x="152" y="16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sľïḍé">
              <a:extLst>
                <a:ext uri="{FF2B5EF4-FFF2-40B4-BE49-F238E27FC236}">
                  <a16:creationId xmlns:a16="http://schemas.microsoft.com/office/drawing/2014/main" id="{3C2D2221-2116-4024-A014-C13B08E810B0}"/>
                </a:ext>
              </a:extLst>
            </p:cNvPr>
            <p:cNvSpPr/>
            <p:nvPr/>
          </p:nvSpPr>
          <p:spPr bwMode="auto">
            <a:xfrm>
              <a:off x="7432675" y="3733800"/>
              <a:ext cx="61913" cy="46038"/>
            </a:xfrm>
            <a:custGeom>
              <a:avLst/>
              <a:gdLst>
                <a:gd name="T0" fmla="*/ 44 w 51"/>
                <a:gd name="T1" fmla="*/ 24 h 37"/>
                <a:gd name="T2" fmla="*/ 45 w 51"/>
                <a:gd name="T3" fmla="*/ 20 h 37"/>
                <a:gd name="T4" fmla="*/ 46 w 51"/>
                <a:gd name="T5" fmla="*/ 19 h 37"/>
                <a:gd name="T6" fmla="*/ 47 w 51"/>
                <a:gd name="T7" fmla="*/ 16 h 37"/>
                <a:gd name="T8" fmla="*/ 47 w 51"/>
                <a:gd name="T9" fmla="*/ 15 h 37"/>
                <a:gd name="T10" fmla="*/ 48 w 51"/>
                <a:gd name="T11" fmla="*/ 12 h 37"/>
                <a:gd name="T12" fmla="*/ 48 w 51"/>
                <a:gd name="T13" fmla="*/ 11 h 37"/>
                <a:gd name="T14" fmla="*/ 49 w 51"/>
                <a:gd name="T15" fmla="*/ 8 h 37"/>
                <a:gd name="T16" fmla="*/ 50 w 51"/>
                <a:gd name="T17" fmla="*/ 4 h 37"/>
                <a:gd name="T18" fmla="*/ 50 w 51"/>
                <a:gd name="T19" fmla="*/ 4 h 37"/>
                <a:gd name="T20" fmla="*/ 51 w 51"/>
                <a:gd name="T21" fmla="*/ 0 h 37"/>
                <a:gd name="T22" fmla="*/ 34 w 51"/>
                <a:gd name="T23" fmla="*/ 1 h 37"/>
                <a:gd name="T24" fmla="*/ 0 w 51"/>
                <a:gd name="T25" fmla="*/ 37 h 37"/>
                <a:gd name="T26" fmla="*/ 42 w 51"/>
                <a:gd name="T27" fmla="*/ 32 h 37"/>
                <a:gd name="T28" fmla="*/ 43 w 51"/>
                <a:gd name="T29" fmla="*/ 30 h 37"/>
                <a:gd name="T30" fmla="*/ 44 w 51"/>
                <a:gd name="T31" fmla="*/ 26 h 37"/>
                <a:gd name="T32" fmla="*/ 44 w 51"/>
                <a:gd name="T33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37">
                  <a:moveTo>
                    <a:pt x="44" y="24"/>
                  </a:moveTo>
                  <a:cubicBezTo>
                    <a:pt x="45" y="23"/>
                    <a:pt x="45" y="22"/>
                    <a:pt x="45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8"/>
                    <a:pt x="46" y="17"/>
                    <a:pt x="47" y="16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8" y="13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50" y="7"/>
                    <a:pt x="50" y="6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2"/>
                    <a:pt x="51" y="1"/>
                    <a:pt x="51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9" y="34"/>
                    <a:pt x="33" y="33"/>
                    <a:pt x="42" y="32"/>
                  </a:cubicBezTo>
                  <a:cubicBezTo>
                    <a:pt x="42" y="31"/>
                    <a:pt x="42" y="30"/>
                    <a:pt x="43" y="30"/>
                  </a:cubicBezTo>
                  <a:cubicBezTo>
                    <a:pt x="43" y="29"/>
                    <a:pt x="43" y="28"/>
                    <a:pt x="44" y="26"/>
                  </a:cubicBezTo>
                  <a:cubicBezTo>
                    <a:pt x="44" y="26"/>
                    <a:pt x="44" y="25"/>
                    <a:pt x="44" y="24"/>
                  </a:cubicBez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ṧlíḍe">
              <a:extLst>
                <a:ext uri="{FF2B5EF4-FFF2-40B4-BE49-F238E27FC236}">
                  <a16:creationId xmlns:a16="http://schemas.microsoft.com/office/drawing/2014/main" id="{CFB2058D-8285-4D76-89C2-BB78E0D70207}"/>
                </a:ext>
              </a:extLst>
            </p:cNvPr>
            <p:cNvSpPr/>
            <p:nvPr/>
          </p:nvSpPr>
          <p:spPr bwMode="auto">
            <a:xfrm>
              <a:off x="7404100" y="4098925"/>
              <a:ext cx="23813" cy="69850"/>
            </a:xfrm>
            <a:custGeom>
              <a:avLst/>
              <a:gdLst>
                <a:gd name="T0" fmla="*/ 0 w 20"/>
                <a:gd name="T1" fmla="*/ 0 h 58"/>
                <a:gd name="T2" fmla="*/ 5 w 20"/>
                <a:gd name="T3" fmla="*/ 58 h 58"/>
                <a:gd name="T4" fmla="*/ 20 w 20"/>
                <a:gd name="T5" fmla="*/ 58 h 58"/>
                <a:gd name="T6" fmla="*/ 20 w 20"/>
                <a:gd name="T7" fmla="*/ 58 h 58"/>
                <a:gd name="T8" fmla="*/ 20 w 20"/>
                <a:gd name="T9" fmla="*/ 48 h 58"/>
                <a:gd name="T10" fmla="*/ 20 w 20"/>
                <a:gd name="T11" fmla="*/ 48 h 58"/>
                <a:gd name="T12" fmla="*/ 20 w 20"/>
                <a:gd name="T13" fmla="*/ 38 h 58"/>
                <a:gd name="T14" fmla="*/ 20 w 20"/>
                <a:gd name="T15" fmla="*/ 37 h 58"/>
                <a:gd name="T16" fmla="*/ 20 w 20"/>
                <a:gd name="T17" fmla="*/ 27 h 58"/>
                <a:gd name="T18" fmla="*/ 20 w 20"/>
                <a:gd name="T19" fmla="*/ 26 h 58"/>
                <a:gd name="T20" fmla="*/ 19 w 20"/>
                <a:gd name="T21" fmla="*/ 14 h 58"/>
                <a:gd name="T22" fmla="*/ 19 w 20"/>
                <a:gd name="T23" fmla="*/ 0 h 58"/>
                <a:gd name="T24" fmla="*/ 19 w 20"/>
                <a:gd name="T25" fmla="*/ 0 h 58"/>
                <a:gd name="T26" fmla="*/ 0 w 20"/>
                <a:gd name="T2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58">
                  <a:moveTo>
                    <a:pt x="0" y="0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5"/>
                    <a:pt x="20" y="51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5"/>
                    <a:pt x="20" y="41"/>
                    <a:pt x="20" y="38"/>
                  </a:cubicBezTo>
                  <a:cubicBezTo>
                    <a:pt x="20" y="38"/>
                    <a:pt x="20" y="37"/>
                    <a:pt x="20" y="37"/>
                  </a:cubicBezTo>
                  <a:cubicBezTo>
                    <a:pt x="20" y="34"/>
                    <a:pt x="20" y="30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2"/>
                    <a:pt x="19" y="18"/>
                    <a:pt x="19" y="14"/>
                  </a:cubicBezTo>
                  <a:cubicBezTo>
                    <a:pt x="19" y="9"/>
                    <a:pt x="19" y="5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Sľiḍè">
              <a:extLst>
                <a:ext uri="{FF2B5EF4-FFF2-40B4-BE49-F238E27FC236}">
                  <a16:creationId xmlns:a16="http://schemas.microsoft.com/office/drawing/2014/main" id="{D5EA4C9D-E556-458C-939E-8BE1BCF1F259}"/>
                </a:ext>
              </a:extLst>
            </p:cNvPr>
            <p:cNvSpPr/>
            <p:nvPr/>
          </p:nvSpPr>
          <p:spPr bwMode="auto">
            <a:xfrm>
              <a:off x="7418388" y="4241800"/>
              <a:ext cx="9525" cy="50800"/>
            </a:xfrm>
            <a:custGeom>
              <a:avLst/>
              <a:gdLst>
                <a:gd name="T0" fmla="*/ 4 w 8"/>
                <a:gd name="T1" fmla="*/ 42 h 42"/>
                <a:gd name="T2" fmla="*/ 4 w 8"/>
                <a:gd name="T3" fmla="*/ 42 h 42"/>
                <a:gd name="T4" fmla="*/ 5 w 8"/>
                <a:gd name="T5" fmla="*/ 40 h 42"/>
                <a:gd name="T6" fmla="*/ 5 w 8"/>
                <a:gd name="T7" fmla="*/ 39 h 42"/>
                <a:gd name="T8" fmla="*/ 6 w 8"/>
                <a:gd name="T9" fmla="*/ 37 h 42"/>
                <a:gd name="T10" fmla="*/ 6 w 8"/>
                <a:gd name="T11" fmla="*/ 34 h 42"/>
                <a:gd name="T12" fmla="*/ 7 w 8"/>
                <a:gd name="T13" fmla="*/ 33 h 42"/>
                <a:gd name="T14" fmla="*/ 7 w 8"/>
                <a:gd name="T15" fmla="*/ 29 h 42"/>
                <a:gd name="T16" fmla="*/ 7 w 8"/>
                <a:gd name="T17" fmla="*/ 23 h 42"/>
                <a:gd name="T18" fmla="*/ 7 w 8"/>
                <a:gd name="T19" fmla="*/ 22 h 42"/>
                <a:gd name="T20" fmla="*/ 7 w 8"/>
                <a:gd name="T21" fmla="*/ 16 h 42"/>
                <a:gd name="T22" fmla="*/ 8 w 8"/>
                <a:gd name="T23" fmla="*/ 15 h 42"/>
                <a:gd name="T24" fmla="*/ 8 w 8"/>
                <a:gd name="T25" fmla="*/ 9 h 42"/>
                <a:gd name="T26" fmla="*/ 8 w 8"/>
                <a:gd name="T27" fmla="*/ 9 h 42"/>
                <a:gd name="T28" fmla="*/ 8 w 8"/>
                <a:gd name="T29" fmla="*/ 1 h 42"/>
                <a:gd name="T30" fmla="*/ 8 w 8"/>
                <a:gd name="T31" fmla="*/ 1 h 42"/>
                <a:gd name="T32" fmla="*/ 0 w 8"/>
                <a:gd name="T33" fmla="*/ 0 h 42"/>
                <a:gd name="T34" fmla="*/ 4 w 8"/>
                <a:gd name="T3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42"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1"/>
                    <a:pt x="5" y="40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6" y="34"/>
                    <a:pt x="7" y="33"/>
                    <a:pt x="7" y="33"/>
                  </a:cubicBezTo>
                  <a:cubicBezTo>
                    <a:pt x="7" y="32"/>
                    <a:pt x="7" y="30"/>
                    <a:pt x="7" y="29"/>
                  </a:cubicBezTo>
                  <a:cubicBezTo>
                    <a:pt x="7" y="27"/>
                    <a:pt x="7" y="25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8"/>
                    <a:pt x="7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3"/>
                    <a:pt x="8" y="11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6"/>
                    <a:pt x="8" y="4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ŝ1ïḓe">
              <a:extLst>
                <a:ext uri="{FF2B5EF4-FFF2-40B4-BE49-F238E27FC236}">
                  <a16:creationId xmlns:a16="http://schemas.microsoft.com/office/drawing/2014/main" id="{4331902B-4EBF-48CB-A405-D3FC5DF44183}"/>
                </a:ext>
              </a:extLst>
            </p:cNvPr>
            <p:cNvSpPr/>
            <p:nvPr/>
          </p:nvSpPr>
          <p:spPr bwMode="auto">
            <a:xfrm>
              <a:off x="7378700" y="3868738"/>
              <a:ext cx="79375" cy="60325"/>
            </a:xfrm>
            <a:custGeom>
              <a:avLst/>
              <a:gdLst>
                <a:gd name="T0" fmla="*/ 5 w 65"/>
                <a:gd name="T1" fmla="*/ 49 h 51"/>
                <a:gd name="T2" fmla="*/ 55 w 65"/>
                <a:gd name="T3" fmla="*/ 51 h 51"/>
                <a:gd name="T4" fmla="*/ 57 w 65"/>
                <a:gd name="T5" fmla="*/ 39 h 51"/>
                <a:gd name="T6" fmla="*/ 58 w 65"/>
                <a:gd name="T7" fmla="*/ 36 h 51"/>
                <a:gd name="T8" fmla="*/ 60 w 65"/>
                <a:gd name="T9" fmla="*/ 26 h 51"/>
                <a:gd name="T10" fmla="*/ 60 w 65"/>
                <a:gd name="T11" fmla="*/ 24 h 51"/>
                <a:gd name="T12" fmla="*/ 62 w 65"/>
                <a:gd name="T13" fmla="*/ 13 h 51"/>
                <a:gd name="T14" fmla="*/ 63 w 65"/>
                <a:gd name="T15" fmla="*/ 12 h 51"/>
                <a:gd name="T16" fmla="*/ 65 w 65"/>
                <a:gd name="T17" fmla="*/ 0 h 51"/>
                <a:gd name="T18" fmla="*/ 0 w 65"/>
                <a:gd name="T19" fmla="*/ 5 h 51"/>
                <a:gd name="T20" fmla="*/ 5 w 65"/>
                <a:gd name="T21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1">
                  <a:moveTo>
                    <a:pt x="5" y="49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47"/>
                    <a:pt x="56" y="43"/>
                    <a:pt x="57" y="39"/>
                  </a:cubicBezTo>
                  <a:cubicBezTo>
                    <a:pt x="57" y="38"/>
                    <a:pt x="57" y="37"/>
                    <a:pt x="58" y="36"/>
                  </a:cubicBezTo>
                  <a:cubicBezTo>
                    <a:pt x="58" y="33"/>
                    <a:pt x="59" y="29"/>
                    <a:pt x="60" y="26"/>
                  </a:cubicBezTo>
                  <a:cubicBezTo>
                    <a:pt x="60" y="25"/>
                    <a:pt x="60" y="24"/>
                    <a:pt x="60" y="24"/>
                  </a:cubicBezTo>
                  <a:cubicBezTo>
                    <a:pt x="61" y="20"/>
                    <a:pt x="62" y="17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8"/>
                    <a:pt x="65" y="4"/>
                    <a:pt x="65" y="0"/>
                  </a:cubicBezTo>
                  <a:cubicBezTo>
                    <a:pt x="53" y="1"/>
                    <a:pt x="27" y="3"/>
                    <a:pt x="0" y="5"/>
                  </a:cubicBezTo>
                  <a:lnTo>
                    <a:pt x="5" y="49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š1îḋé">
              <a:extLst>
                <a:ext uri="{FF2B5EF4-FFF2-40B4-BE49-F238E27FC236}">
                  <a16:creationId xmlns:a16="http://schemas.microsoft.com/office/drawing/2014/main" id="{E1E2D233-7DA5-4481-865F-0534E941B5B7}"/>
                </a:ext>
              </a:extLst>
            </p:cNvPr>
            <p:cNvSpPr/>
            <p:nvPr/>
          </p:nvSpPr>
          <p:spPr bwMode="auto">
            <a:xfrm>
              <a:off x="7389813" y="3968750"/>
              <a:ext cx="49213" cy="55563"/>
            </a:xfrm>
            <a:custGeom>
              <a:avLst/>
              <a:gdLst>
                <a:gd name="T0" fmla="*/ 4 w 40"/>
                <a:gd name="T1" fmla="*/ 46 h 46"/>
                <a:gd name="T2" fmla="*/ 34 w 40"/>
                <a:gd name="T3" fmla="*/ 43 h 46"/>
                <a:gd name="T4" fmla="*/ 37 w 40"/>
                <a:gd name="T5" fmla="*/ 22 h 46"/>
                <a:gd name="T6" fmla="*/ 37 w 40"/>
                <a:gd name="T7" fmla="*/ 21 h 46"/>
                <a:gd name="T8" fmla="*/ 40 w 40"/>
                <a:gd name="T9" fmla="*/ 0 h 46"/>
                <a:gd name="T10" fmla="*/ 0 w 40"/>
                <a:gd name="T11" fmla="*/ 1 h 46"/>
                <a:gd name="T12" fmla="*/ 4 w 4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6">
                  <a:moveTo>
                    <a:pt x="4" y="46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5" y="36"/>
                    <a:pt x="36" y="29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8" y="14"/>
                    <a:pt x="39" y="7"/>
                    <a:pt x="4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46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1ídê">
              <a:extLst>
                <a:ext uri="{FF2B5EF4-FFF2-40B4-BE49-F238E27FC236}">
                  <a16:creationId xmlns:a16="http://schemas.microsoft.com/office/drawing/2014/main" id="{97C88834-C3AA-4924-BE2A-B6DEDE72A2A7}"/>
                </a:ext>
              </a:extLst>
            </p:cNvPr>
            <p:cNvSpPr/>
            <p:nvPr/>
          </p:nvSpPr>
          <p:spPr bwMode="auto">
            <a:xfrm>
              <a:off x="7167563" y="3594100"/>
              <a:ext cx="300038" cy="381000"/>
            </a:xfrm>
            <a:custGeom>
              <a:avLst/>
              <a:gdLst>
                <a:gd name="T0" fmla="*/ 88 w 189"/>
                <a:gd name="T1" fmla="*/ 0 h 240"/>
                <a:gd name="T2" fmla="*/ 189 w 189"/>
                <a:gd name="T3" fmla="*/ 174 h 240"/>
                <a:gd name="T4" fmla="*/ 157 w 189"/>
                <a:gd name="T5" fmla="*/ 240 h 240"/>
                <a:gd name="T6" fmla="*/ 95 w 189"/>
                <a:gd name="T7" fmla="*/ 219 h 240"/>
                <a:gd name="T8" fmla="*/ 0 w 189"/>
                <a:gd name="T9" fmla="*/ 48 h 240"/>
                <a:gd name="T10" fmla="*/ 88 w 189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240">
                  <a:moveTo>
                    <a:pt x="88" y="0"/>
                  </a:moveTo>
                  <a:lnTo>
                    <a:pt x="189" y="174"/>
                  </a:lnTo>
                  <a:lnTo>
                    <a:pt x="157" y="240"/>
                  </a:lnTo>
                  <a:lnTo>
                    <a:pt x="95" y="219"/>
                  </a:lnTo>
                  <a:lnTo>
                    <a:pt x="0" y="48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sḷïḋê">
              <a:extLst>
                <a:ext uri="{FF2B5EF4-FFF2-40B4-BE49-F238E27FC236}">
                  <a16:creationId xmlns:a16="http://schemas.microsoft.com/office/drawing/2014/main" id="{DBBB7A8F-D9FF-4E25-B414-5DB34ABE4050}"/>
                </a:ext>
              </a:extLst>
            </p:cNvPr>
            <p:cNvSpPr/>
            <p:nvPr/>
          </p:nvSpPr>
          <p:spPr bwMode="auto">
            <a:xfrm>
              <a:off x="7112000" y="341630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sľiḍé">
              <a:extLst>
                <a:ext uri="{FF2B5EF4-FFF2-40B4-BE49-F238E27FC236}">
                  <a16:creationId xmlns:a16="http://schemas.microsoft.com/office/drawing/2014/main" id="{B14AFD46-D0B0-497C-A736-73F810F1D3A0}"/>
                </a:ext>
              </a:extLst>
            </p:cNvPr>
            <p:cNvSpPr/>
            <p:nvPr/>
          </p:nvSpPr>
          <p:spPr bwMode="auto">
            <a:xfrm>
              <a:off x="6235700" y="3063875"/>
              <a:ext cx="1130300" cy="1409700"/>
            </a:xfrm>
            <a:custGeom>
              <a:avLst/>
              <a:gdLst>
                <a:gd name="T0" fmla="*/ 726 w 937"/>
                <a:gd name="T1" fmla="*/ 294 h 1170"/>
                <a:gd name="T2" fmla="*/ 726 w 937"/>
                <a:gd name="T3" fmla="*/ 293 h 1170"/>
                <a:gd name="T4" fmla="*/ 609 w 937"/>
                <a:gd name="T5" fmla="*/ 73 h 1170"/>
                <a:gd name="T6" fmla="*/ 540 w 937"/>
                <a:gd name="T7" fmla="*/ 6 h 1170"/>
                <a:gd name="T8" fmla="*/ 475 w 937"/>
                <a:gd name="T9" fmla="*/ 6 h 1170"/>
                <a:gd name="T10" fmla="*/ 297 w 937"/>
                <a:gd name="T11" fmla="*/ 32 h 1170"/>
                <a:gd name="T12" fmla="*/ 275 w 937"/>
                <a:gd name="T13" fmla="*/ 35 h 1170"/>
                <a:gd name="T14" fmla="*/ 142 w 937"/>
                <a:gd name="T15" fmla="*/ 378 h 1170"/>
                <a:gd name="T16" fmla="*/ 0 w 937"/>
                <a:gd name="T17" fmla="*/ 909 h 1170"/>
                <a:gd name="T18" fmla="*/ 8 w 937"/>
                <a:gd name="T19" fmla="*/ 1034 h 1170"/>
                <a:gd name="T20" fmla="*/ 29 w 937"/>
                <a:gd name="T21" fmla="*/ 1103 h 1170"/>
                <a:gd name="T22" fmla="*/ 159 w 937"/>
                <a:gd name="T23" fmla="*/ 1147 h 1170"/>
                <a:gd name="T24" fmla="*/ 444 w 937"/>
                <a:gd name="T25" fmla="*/ 1114 h 1170"/>
                <a:gd name="T26" fmla="*/ 728 w 937"/>
                <a:gd name="T27" fmla="*/ 1166 h 1170"/>
                <a:gd name="T28" fmla="*/ 726 w 937"/>
                <a:gd name="T29" fmla="*/ 294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7" h="1170">
                  <a:moveTo>
                    <a:pt x="726" y="294"/>
                  </a:moveTo>
                  <a:cubicBezTo>
                    <a:pt x="726" y="293"/>
                    <a:pt x="726" y="293"/>
                    <a:pt x="726" y="293"/>
                  </a:cubicBezTo>
                  <a:cubicBezTo>
                    <a:pt x="694" y="217"/>
                    <a:pt x="655" y="143"/>
                    <a:pt x="609" y="73"/>
                  </a:cubicBezTo>
                  <a:cubicBezTo>
                    <a:pt x="591" y="45"/>
                    <a:pt x="571" y="16"/>
                    <a:pt x="540" y="6"/>
                  </a:cubicBezTo>
                  <a:cubicBezTo>
                    <a:pt x="519" y="0"/>
                    <a:pt x="496" y="3"/>
                    <a:pt x="475" y="6"/>
                  </a:cubicBezTo>
                  <a:cubicBezTo>
                    <a:pt x="415" y="15"/>
                    <a:pt x="356" y="23"/>
                    <a:pt x="297" y="32"/>
                  </a:cubicBezTo>
                  <a:cubicBezTo>
                    <a:pt x="289" y="33"/>
                    <a:pt x="282" y="34"/>
                    <a:pt x="275" y="35"/>
                  </a:cubicBezTo>
                  <a:cubicBezTo>
                    <a:pt x="146" y="55"/>
                    <a:pt x="162" y="247"/>
                    <a:pt x="142" y="378"/>
                  </a:cubicBezTo>
                  <a:cubicBezTo>
                    <a:pt x="124" y="490"/>
                    <a:pt x="21" y="726"/>
                    <a:pt x="0" y="909"/>
                  </a:cubicBezTo>
                  <a:cubicBezTo>
                    <a:pt x="2" y="951"/>
                    <a:pt x="4" y="992"/>
                    <a:pt x="8" y="1034"/>
                  </a:cubicBezTo>
                  <a:cubicBezTo>
                    <a:pt x="14" y="1062"/>
                    <a:pt x="21" y="1085"/>
                    <a:pt x="29" y="1103"/>
                  </a:cubicBezTo>
                  <a:cubicBezTo>
                    <a:pt x="77" y="1170"/>
                    <a:pt x="159" y="1147"/>
                    <a:pt x="159" y="1147"/>
                  </a:cubicBezTo>
                  <a:cubicBezTo>
                    <a:pt x="159" y="1147"/>
                    <a:pt x="299" y="1093"/>
                    <a:pt x="444" y="1114"/>
                  </a:cubicBezTo>
                  <a:cubicBezTo>
                    <a:pt x="549" y="1117"/>
                    <a:pt x="648" y="1157"/>
                    <a:pt x="728" y="1166"/>
                  </a:cubicBezTo>
                  <a:cubicBezTo>
                    <a:pt x="937" y="926"/>
                    <a:pt x="727" y="297"/>
                    <a:pt x="726" y="294"/>
                  </a:cubicBezTo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ṧļîḓè">
              <a:extLst>
                <a:ext uri="{FF2B5EF4-FFF2-40B4-BE49-F238E27FC236}">
                  <a16:creationId xmlns:a16="http://schemas.microsoft.com/office/drawing/2014/main" id="{BFD83762-D30C-4882-A2B3-81872EBCE21C}"/>
                </a:ext>
              </a:extLst>
            </p:cNvPr>
            <p:cNvSpPr/>
            <p:nvPr/>
          </p:nvSpPr>
          <p:spPr bwMode="auto">
            <a:xfrm>
              <a:off x="6373813" y="3059113"/>
              <a:ext cx="652463" cy="1425575"/>
            </a:xfrm>
            <a:custGeom>
              <a:avLst/>
              <a:gdLst>
                <a:gd name="T0" fmla="*/ 309 w 541"/>
                <a:gd name="T1" fmla="*/ 389 h 1183"/>
                <a:gd name="T2" fmla="*/ 330 w 541"/>
                <a:gd name="T3" fmla="*/ 503 h 1183"/>
                <a:gd name="T4" fmla="*/ 541 w 541"/>
                <a:gd name="T5" fmla="*/ 1183 h 1183"/>
                <a:gd name="T6" fmla="*/ 20 w 541"/>
                <a:gd name="T7" fmla="*/ 1150 h 1183"/>
                <a:gd name="T8" fmla="*/ 6 w 541"/>
                <a:gd name="T9" fmla="*/ 979 h 1183"/>
                <a:gd name="T10" fmla="*/ 4 w 541"/>
                <a:gd name="T11" fmla="*/ 810 h 1183"/>
                <a:gd name="T12" fmla="*/ 58 w 541"/>
                <a:gd name="T13" fmla="*/ 545 h 1183"/>
                <a:gd name="T14" fmla="*/ 189 w 541"/>
                <a:gd name="T15" fmla="*/ 67 h 1183"/>
                <a:gd name="T16" fmla="*/ 199 w 541"/>
                <a:gd name="T17" fmla="*/ 43 h 1183"/>
                <a:gd name="T18" fmla="*/ 224 w 541"/>
                <a:gd name="T19" fmla="*/ 28 h 1183"/>
                <a:gd name="T20" fmla="*/ 367 w 541"/>
                <a:gd name="T21" fmla="*/ 3 h 1183"/>
                <a:gd name="T22" fmla="*/ 340 w 541"/>
                <a:gd name="T23" fmla="*/ 183 h 1183"/>
                <a:gd name="T24" fmla="*/ 309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309" y="389"/>
                  </a:moveTo>
                  <a:cubicBezTo>
                    <a:pt x="312" y="427"/>
                    <a:pt x="321" y="465"/>
                    <a:pt x="330" y="503"/>
                  </a:cubicBezTo>
                  <a:cubicBezTo>
                    <a:pt x="386" y="732"/>
                    <a:pt x="484" y="954"/>
                    <a:pt x="541" y="1183"/>
                  </a:cubicBezTo>
                  <a:cubicBezTo>
                    <a:pt x="387" y="1183"/>
                    <a:pt x="408" y="1059"/>
                    <a:pt x="20" y="1150"/>
                  </a:cubicBezTo>
                  <a:cubicBezTo>
                    <a:pt x="15" y="1062"/>
                    <a:pt x="10" y="1066"/>
                    <a:pt x="6" y="979"/>
                  </a:cubicBezTo>
                  <a:cubicBezTo>
                    <a:pt x="3" y="922"/>
                    <a:pt x="0" y="866"/>
                    <a:pt x="4" y="810"/>
                  </a:cubicBezTo>
                  <a:cubicBezTo>
                    <a:pt x="10" y="719"/>
                    <a:pt x="34" y="632"/>
                    <a:pt x="58" y="545"/>
                  </a:cubicBezTo>
                  <a:cubicBezTo>
                    <a:pt x="102" y="386"/>
                    <a:pt x="145" y="226"/>
                    <a:pt x="189" y="67"/>
                  </a:cubicBezTo>
                  <a:cubicBezTo>
                    <a:pt x="191" y="58"/>
                    <a:pt x="194" y="49"/>
                    <a:pt x="199" y="43"/>
                  </a:cubicBezTo>
                  <a:cubicBezTo>
                    <a:pt x="206" y="35"/>
                    <a:pt x="215" y="31"/>
                    <a:pt x="224" y="28"/>
                  </a:cubicBezTo>
                  <a:cubicBezTo>
                    <a:pt x="269" y="14"/>
                    <a:pt x="320" y="0"/>
                    <a:pt x="367" y="3"/>
                  </a:cubicBezTo>
                  <a:cubicBezTo>
                    <a:pt x="384" y="49"/>
                    <a:pt x="351" y="137"/>
                    <a:pt x="340" y="183"/>
                  </a:cubicBezTo>
                  <a:cubicBezTo>
                    <a:pt x="325" y="250"/>
                    <a:pt x="305" y="318"/>
                    <a:pt x="309" y="3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$ľide">
              <a:extLst>
                <a:ext uri="{FF2B5EF4-FFF2-40B4-BE49-F238E27FC236}">
                  <a16:creationId xmlns:a16="http://schemas.microsoft.com/office/drawing/2014/main" id="{CEF03112-204A-4DBD-A40E-7D507A477211}"/>
                </a:ext>
              </a:extLst>
            </p:cNvPr>
            <p:cNvSpPr/>
            <p:nvPr/>
          </p:nvSpPr>
          <p:spPr bwMode="auto">
            <a:xfrm>
              <a:off x="6527800" y="2593975"/>
              <a:ext cx="165100" cy="249238"/>
            </a:xfrm>
            <a:custGeom>
              <a:avLst/>
              <a:gdLst>
                <a:gd name="T0" fmla="*/ 68 w 137"/>
                <a:gd name="T1" fmla="*/ 75 h 206"/>
                <a:gd name="T2" fmla="*/ 41 w 137"/>
                <a:gd name="T3" fmla="*/ 166 h 206"/>
                <a:gd name="T4" fmla="*/ 32 w 137"/>
                <a:gd name="T5" fmla="*/ 189 h 206"/>
                <a:gd name="T6" fmla="*/ 25 w 137"/>
                <a:gd name="T7" fmla="*/ 199 h 206"/>
                <a:gd name="T8" fmla="*/ 1 w 137"/>
                <a:gd name="T9" fmla="*/ 157 h 206"/>
                <a:gd name="T10" fmla="*/ 3 w 137"/>
                <a:gd name="T11" fmla="*/ 93 h 206"/>
                <a:gd name="T12" fmla="*/ 22 w 137"/>
                <a:gd name="T13" fmla="*/ 41 h 206"/>
                <a:gd name="T14" fmla="*/ 49 w 137"/>
                <a:gd name="T15" fmla="*/ 22 h 206"/>
                <a:gd name="T16" fmla="*/ 93 w 137"/>
                <a:gd name="T17" fmla="*/ 4 h 206"/>
                <a:gd name="T18" fmla="*/ 112 w 137"/>
                <a:gd name="T19" fmla="*/ 28 h 206"/>
                <a:gd name="T20" fmla="*/ 68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8" y="75"/>
                  </a:moveTo>
                  <a:cubicBezTo>
                    <a:pt x="52" y="102"/>
                    <a:pt x="43" y="134"/>
                    <a:pt x="41" y="166"/>
                  </a:cubicBezTo>
                  <a:cubicBezTo>
                    <a:pt x="40" y="174"/>
                    <a:pt x="39" y="184"/>
                    <a:pt x="32" y="189"/>
                  </a:cubicBezTo>
                  <a:cubicBezTo>
                    <a:pt x="25" y="194"/>
                    <a:pt x="31" y="206"/>
                    <a:pt x="25" y="199"/>
                  </a:cubicBezTo>
                  <a:cubicBezTo>
                    <a:pt x="20" y="191"/>
                    <a:pt x="2" y="166"/>
                    <a:pt x="1" y="157"/>
                  </a:cubicBezTo>
                  <a:cubicBezTo>
                    <a:pt x="0" y="135"/>
                    <a:pt x="0" y="114"/>
                    <a:pt x="3" y="93"/>
                  </a:cubicBezTo>
                  <a:cubicBezTo>
                    <a:pt x="5" y="74"/>
                    <a:pt x="10" y="55"/>
                    <a:pt x="22" y="41"/>
                  </a:cubicBezTo>
                  <a:cubicBezTo>
                    <a:pt x="30" y="33"/>
                    <a:pt x="40" y="27"/>
                    <a:pt x="49" y="22"/>
                  </a:cubicBezTo>
                  <a:cubicBezTo>
                    <a:pt x="63" y="14"/>
                    <a:pt x="77" y="6"/>
                    <a:pt x="93" y="4"/>
                  </a:cubicBezTo>
                  <a:cubicBezTo>
                    <a:pt x="120" y="0"/>
                    <a:pt x="137" y="10"/>
                    <a:pt x="112" y="28"/>
                  </a:cubicBezTo>
                  <a:cubicBezTo>
                    <a:pt x="95" y="41"/>
                    <a:pt x="80" y="56"/>
                    <a:pt x="68" y="7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$ḷíḓe">
              <a:extLst>
                <a:ext uri="{FF2B5EF4-FFF2-40B4-BE49-F238E27FC236}">
                  <a16:creationId xmlns:a16="http://schemas.microsoft.com/office/drawing/2014/main" id="{25AF2D5E-00A5-42E0-A748-28F1ADDE0278}"/>
                </a:ext>
              </a:extLst>
            </p:cNvPr>
            <p:cNvSpPr/>
            <p:nvPr/>
          </p:nvSpPr>
          <p:spPr bwMode="auto">
            <a:xfrm>
              <a:off x="6519863" y="2505075"/>
              <a:ext cx="454025" cy="369888"/>
            </a:xfrm>
            <a:custGeom>
              <a:avLst/>
              <a:gdLst>
                <a:gd name="T0" fmla="*/ 20 w 376"/>
                <a:gd name="T1" fmla="*/ 65 h 307"/>
                <a:gd name="T2" fmla="*/ 14 w 376"/>
                <a:gd name="T3" fmla="*/ 30 h 307"/>
                <a:gd name="T4" fmla="*/ 48 w 376"/>
                <a:gd name="T5" fmla="*/ 34 h 307"/>
                <a:gd name="T6" fmla="*/ 49 w 376"/>
                <a:gd name="T7" fmla="*/ 14 h 307"/>
                <a:gd name="T8" fmla="*/ 131 w 376"/>
                <a:gd name="T9" fmla="*/ 6 h 307"/>
                <a:gd name="T10" fmla="*/ 294 w 376"/>
                <a:gd name="T11" fmla="*/ 33 h 307"/>
                <a:gd name="T12" fmla="*/ 371 w 376"/>
                <a:gd name="T13" fmla="*/ 153 h 307"/>
                <a:gd name="T14" fmla="*/ 328 w 376"/>
                <a:gd name="T15" fmla="*/ 307 h 307"/>
                <a:gd name="T16" fmla="*/ 334 w 376"/>
                <a:gd name="T17" fmla="*/ 250 h 307"/>
                <a:gd name="T18" fmla="*/ 323 w 376"/>
                <a:gd name="T19" fmla="*/ 214 h 307"/>
                <a:gd name="T20" fmla="*/ 273 w 376"/>
                <a:gd name="T21" fmla="*/ 158 h 307"/>
                <a:gd name="T22" fmla="*/ 162 w 376"/>
                <a:gd name="T23" fmla="*/ 117 h 307"/>
                <a:gd name="T24" fmla="*/ 46 w 376"/>
                <a:gd name="T25" fmla="*/ 114 h 307"/>
                <a:gd name="T26" fmla="*/ 16 w 376"/>
                <a:gd name="T27" fmla="*/ 104 h 307"/>
                <a:gd name="T28" fmla="*/ 2 w 376"/>
                <a:gd name="T29" fmla="*/ 65 h 307"/>
                <a:gd name="T30" fmla="*/ 20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20" y="65"/>
                  </a:moveTo>
                  <a:cubicBezTo>
                    <a:pt x="17" y="54"/>
                    <a:pt x="15" y="42"/>
                    <a:pt x="14" y="30"/>
                  </a:cubicBezTo>
                  <a:cubicBezTo>
                    <a:pt x="25" y="34"/>
                    <a:pt x="37" y="36"/>
                    <a:pt x="48" y="34"/>
                  </a:cubicBezTo>
                  <a:cubicBezTo>
                    <a:pt x="48" y="28"/>
                    <a:pt x="48" y="21"/>
                    <a:pt x="49" y="14"/>
                  </a:cubicBezTo>
                  <a:cubicBezTo>
                    <a:pt x="49" y="8"/>
                    <a:pt x="125" y="7"/>
                    <a:pt x="131" y="6"/>
                  </a:cubicBezTo>
                  <a:cubicBezTo>
                    <a:pt x="189" y="3"/>
                    <a:pt x="242" y="0"/>
                    <a:pt x="294" y="33"/>
                  </a:cubicBezTo>
                  <a:cubicBezTo>
                    <a:pt x="338" y="61"/>
                    <a:pt x="365" y="101"/>
                    <a:pt x="371" y="153"/>
                  </a:cubicBezTo>
                  <a:cubicBezTo>
                    <a:pt x="376" y="203"/>
                    <a:pt x="358" y="267"/>
                    <a:pt x="328" y="307"/>
                  </a:cubicBezTo>
                  <a:cubicBezTo>
                    <a:pt x="329" y="294"/>
                    <a:pt x="337" y="263"/>
                    <a:pt x="334" y="250"/>
                  </a:cubicBezTo>
                  <a:cubicBezTo>
                    <a:pt x="333" y="238"/>
                    <a:pt x="329" y="225"/>
                    <a:pt x="323" y="214"/>
                  </a:cubicBezTo>
                  <a:cubicBezTo>
                    <a:pt x="312" y="192"/>
                    <a:pt x="294" y="172"/>
                    <a:pt x="273" y="158"/>
                  </a:cubicBezTo>
                  <a:cubicBezTo>
                    <a:pt x="240" y="136"/>
                    <a:pt x="201" y="124"/>
                    <a:pt x="162" y="117"/>
                  </a:cubicBezTo>
                  <a:cubicBezTo>
                    <a:pt x="126" y="111"/>
                    <a:pt x="82" y="105"/>
                    <a:pt x="46" y="114"/>
                  </a:cubicBezTo>
                  <a:cubicBezTo>
                    <a:pt x="28" y="118"/>
                    <a:pt x="25" y="122"/>
                    <a:pt x="16" y="104"/>
                  </a:cubicBezTo>
                  <a:cubicBezTo>
                    <a:pt x="14" y="101"/>
                    <a:pt x="0" y="65"/>
                    <a:pt x="2" y="65"/>
                  </a:cubicBezTo>
                  <a:cubicBezTo>
                    <a:pt x="8" y="65"/>
                    <a:pt x="14" y="65"/>
                    <a:pt x="20" y="6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šḷíďè">
              <a:extLst>
                <a:ext uri="{FF2B5EF4-FFF2-40B4-BE49-F238E27FC236}">
                  <a16:creationId xmlns:a16="http://schemas.microsoft.com/office/drawing/2014/main" id="{8EBFF2C7-3D65-41BA-AB1C-ABCCCDBAC338}"/>
                </a:ext>
              </a:extLst>
            </p:cNvPr>
            <p:cNvSpPr/>
            <p:nvPr/>
          </p:nvSpPr>
          <p:spPr bwMode="auto">
            <a:xfrm>
              <a:off x="6435725" y="5322888"/>
              <a:ext cx="144463" cy="257175"/>
            </a:xfrm>
            <a:custGeom>
              <a:avLst/>
              <a:gdLst>
                <a:gd name="T0" fmla="*/ 24 w 91"/>
                <a:gd name="T1" fmla="*/ 34 h 162"/>
                <a:gd name="T2" fmla="*/ 0 w 91"/>
                <a:gd name="T3" fmla="*/ 125 h 162"/>
                <a:gd name="T4" fmla="*/ 26 w 91"/>
                <a:gd name="T5" fmla="*/ 162 h 162"/>
                <a:gd name="T6" fmla="*/ 68 w 91"/>
                <a:gd name="T7" fmla="*/ 137 h 162"/>
                <a:gd name="T8" fmla="*/ 91 w 91"/>
                <a:gd name="T9" fmla="*/ 59 h 162"/>
                <a:gd name="T10" fmla="*/ 73 w 91"/>
                <a:gd name="T11" fmla="*/ 0 h 162"/>
                <a:gd name="T12" fmla="*/ 24 w 91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8" y="137"/>
                  </a:lnTo>
                  <a:lnTo>
                    <a:pt x="91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ḻîḓè">
              <a:extLst>
                <a:ext uri="{FF2B5EF4-FFF2-40B4-BE49-F238E27FC236}">
                  <a16:creationId xmlns:a16="http://schemas.microsoft.com/office/drawing/2014/main" id="{20411541-E4CF-4647-AE49-F38685556A6C}"/>
                </a:ext>
              </a:extLst>
            </p:cNvPr>
            <p:cNvSpPr/>
            <p:nvPr/>
          </p:nvSpPr>
          <p:spPr bwMode="auto">
            <a:xfrm>
              <a:off x="6731000" y="5295900"/>
              <a:ext cx="146050" cy="257175"/>
            </a:xfrm>
            <a:custGeom>
              <a:avLst/>
              <a:gdLst>
                <a:gd name="T0" fmla="*/ 24 w 92"/>
                <a:gd name="T1" fmla="*/ 34 h 162"/>
                <a:gd name="T2" fmla="*/ 0 w 92"/>
                <a:gd name="T3" fmla="*/ 125 h 162"/>
                <a:gd name="T4" fmla="*/ 26 w 92"/>
                <a:gd name="T5" fmla="*/ 162 h 162"/>
                <a:gd name="T6" fmla="*/ 67 w 92"/>
                <a:gd name="T7" fmla="*/ 137 h 162"/>
                <a:gd name="T8" fmla="*/ 92 w 92"/>
                <a:gd name="T9" fmla="*/ 59 h 162"/>
                <a:gd name="T10" fmla="*/ 73 w 92"/>
                <a:gd name="T11" fmla="*/ 0 h 162"/>
                <a:gd name="T12" fmla="*/ 24 w 92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7" y="137"/>
                  </a:lnTo>
                  <a:lnTo>
                    <a:pt x="92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ś1îḋê">
              <a:extLst>
                <a:ext uri="{FF2B5EF4-FFF2-40B4-BE49-F238E27FC236}">
                  <a16:creationId xmlns:a16="http://schemas.microsoft.com/office/drawing/2014/main" id="{B661F444-C023-4613-B4C6-37C123B6E8E7}"/>
                </a:ext>
              </a:extLst>
            </p:cNvPr>
            <p:cNvSpPr/>
            <p:nvPr/>
          </p:nvSpPr>
          <p:spPr bwMode="auto">
            <a:xfrm>
              <a:off x="6248400" y="4249738"/>
              <a:ext cx="484188" cy="1158875"/>
            </a:xfrm>
            <a:custGeom>
              <a:avLst/>
              <a:gdLst>
                <a:gd name="T0" fmla="*/ 383 w 402"/>
                <a:gd name="T1" fmla="*/ 137 h 961"/>
                <a:gd name="T2" fmla="*/ 330 w 402"/>
                <a:gd name="T3" fmla="*/ 48 h 961"/>
                <a:gd name="T4" fmla="*/ 135 w 402"/>
                <a:gd name="T5" fmla="*/ 20 h 961"/>
                <a:gd name="T6" fmla="*/ 28 w 402"/>
                <a:gd name="T7" fmla="*/ 109 h 961"/>
                <a:gd name="T8" fmla="*/ 0 w 402"/>
                <a:gd name="T9" fmla="*/ 218 h 961"/>
                <a:gd name="T10" fmla="*/ 26 w 402"/>
                <a:gd name="T11" fmla="*/ 321 h 961"/>
                <a:gd name="T12" fmla="*/ 182 w 402"/>
                <a:gd name="T13" fmla="*/ 961 h 961"/>
                <a:gd name="T14" fmla="*/ 270 w 402"/>
                <a:gd name="T15" fmla="*/ 948 h 961"/>
                <a:gd name="T16" fmla="*/ 276 w 402"/>
                <a:gd name="T17" fmla="*/ 294 h 961"/>
                <a:gd name="T18" fmla="*/ 383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383" y="137"/>
                  </a:moveTo>
                  <a:cubicBezTo>
                    <a:pt x="374" y="107"/>
                    <a:pt x="359" y="61"/>
                    <a:pt x="330" y="48"/>
                  </a:cubicBezTo>
                  <a:cubicBezTo>
                    <a:pt x="267" y="22"/>
                    <a:pt x="199" y="0"/>
                    <a:pt x="135" y="20"/>
                  </a:cubicBezTo>
                  <a:cubicBezTo>
                    <a:pt x="91" y="33"/>
                    <a:pt x="52" y="65"/>
                    <a:pt x="28" y="109"/>
                  </a:cubicBezTo>
                  <a:cubicBezTo>
                    <a:pt x="10" y="141"/>
                    <a:pt x="0" y="180"/>
                    <a:pt x="0" y="218"/>
                  </a:cubicBezTo>
                  <a:cubicBezTo>
                    <a:pt x="0" y="255"/>
                    <a:pt x="18" y="286"/>
                    <a:pt x="26" y="321"/>
                  </a:cubicBezTo>
                  <a:cubicBezTo>
                    <a:pt x="78" y="534"/>
                    <a:pt x="130" y="748"/>
                    <a:pt x="182" y="961"/>
                  </a:cubicBezTo>
                  <a:cubicBezTo>
                    <a:pt x="270" y="948"/>
                    <a:pt x="270" y="948"/>
                    <a:pt x="270" y="948"/>
                  </a:cubicBezTo>
                  <a:cubicBezTo>
                    <a:pt x="276" y="294"/>
                    <a:pt x="276" y="294"/>
                    <a:pt x="276" y="294"/>
                  </a:cubicBezTo>
                  <a:cubicBezTo>
                    <a:pt x="312" y="257"/>
                    <a:pt x="402" y="198"/>
                    <a:pt x="383" y="137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ṥ1îḑé">
              <a:extLst>
                <a:ext uri="{FF2B5EF4-FFF2-40B4-BE49-F238E27FC236}">
                  <a16:creationId xmlns:a16="http://schemas.microsoft.com/office/drawing/2014/main" id="{3B1E122C-1DA6-4C3B-83C1-E2166F3826E4}"/>
                </a:ext>
              </a:extLst>
            </p:cNvPr>
            <p:cNvSpPr/>
            <p:nvPr/>
          </p:nvSpPr>
          <p:spPr bwMode="auto">
            <a:xfrm>
              <a:off x="6600825" y="4252913"/>
              <a:ext cx="441325" cy="1143000"/>
            </a:xfrm>
            <a:custGeom>
              <a:avLst/>
              <a:gdLst>
                <a:gd name="T0" fmla="*/ 359 w 365"/>
                <a:gd name="T1" fmla="*/ 235 h 949"/>
                <a:gd name="T2" fmla="*/ 365 w 365"/>
                <a:gd name="T3" fmla="*/ 166 h 949"/>
                <a:gd name="T4" fmla="*/ 358 w 365"/>
                <a:gd name="T5" fmla="*/ 113 h 949"/>
                <a:gd name="T6" fmla="*/ 326 w 365"/>
                <a:gd name="T7" fmla="*/ 67 h 949"/>
                <a:gd name="T8" fmla="*/ 154 w 365"/>
                <a:gd name="T9" fmla="*/ 15 h 949"/>
                <a:gd name="T10" fmla="*/ 77 w 365"/>
                <a:gd name="T11" fmla="*/ 53 h 949"/>
                <a:gd name="T12" fmla="*/ 4 w 365"/>
                <a:gd name="T13" fmla="*/ 124 h 949"/>
                <a:gd name="T14" fmla="*/ 0 w 365"/>
                <a:gd name="T15" fmla="*/ 133 h 949"/>
                <a:gd name="T16" fmla="*/ 5 w 365"/>
                <a:gd name="T17" fmla="*/ 139 h 949"/>
                <a:gd name="T18" fmla="*/ 82 w 365"/>
                <a:gd name="T19" fmla="*/ 260 h 949"/>
                <a:gd name="T20" fmla="*/ 104 w 365"/>
                <a:gd name="T21" fmla="*/ 433 h 949"/>
                <a:gd name="T22" fmla="*/ 111 w 365"/>
                <a:gd name="T23" fmla="*/ 644 h 949"/>
                <a:gd name="T24" fmla="*/ 122 w 365"/>
                <a:gd name="T25" fmla="*/ 936 h 949"/>
                <a:gd name="T26" fmla="*/ 222 w 365"/>
                <a:gd name="T27" fmla="*/ 949 h 949"/>
                <a:gd name="T28" fmla="*/ 274 w 365"/>
                <a:gd name="T29" fmla="*/ 680 h 949"/>
                <a:gd name="T30" fmla="*/ 348 w 365"/>
                <a:gd name="T31" fmla="*/ 302 h 949"/>
                <a:gd name="T32" fmla="*/ 359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359" y="235"/>
                  </a:moveTo>
                  <a:cubicBezTo>
                    <a:pt x="362" y="212"/>
                    <a:pt x="364" y="189"/>
                    <a:pt x="365" y="166"/>
                  </a:cubicBezTo>
                  <a:cubicBezTo>
                    <a:pt x="365" y="148"/>
                    <a:pt x="364" y="130"/>
                    <a:pt x="358" y="113"/>
                  </a:cubicBezTo>
                  <a:cubicBezTo>
                    <a:pt x="352" y="94"/>
                    <a:pt x="339" y="80"/>
                    <a:pt x="326" y="67"/>
                  </a:cubicBezTo>
                  <a:cubicBezTo>
                    <a:pt x="278" y="22"/>
                    <a:pt x="216" y="0"/>
                    <a:pt x="154" y="15"/>
                  </a:cubicBezTo>
                  <a:cubicBezTo>
                    <a:pt x="127" y="22"/>
                    <a:pt x="101" y="36"/>
                    <a:pt x="77" y="53"/>
                  </a:cubicBezTo>
                  <a:cubicBezTo>
                    <a:pt x="50" y="72"/>
                    <a:pt x="24" y="95"/>
                    <a:pt x="4" y="124"/>
                  </a:cubicBezTo>
                  <a:cubicBezTo>
                    <a:pt x="2" y="126"/>
                    <a:pt x="0" y="130"/>
                    <a:pt x="0" y="133"/>
                  </a:cubicBezTo>
                  <a:cubicBezTo>
                    <a:pt x="1" y="136"/>
                    <a:pt x="3" y="137"/>
                    <a:pt x="5" y="139"/>
                  </a:cubicBezTo>
                  <a:cubicBezTo>
                    <a:pt x="39" y="171"/>
                    <a:pt x="65" y="214"/>
                    <a:pt x="82" y="260"/>
                  </a:cubicBezTo>
                  <a:cubicBezTo>
                    <a:pt x="102" y="317"/>
                    <a:pt x="101" y="373"/>
                    <a:pt x="104" y="433"/>
                  </a:cubicBezTo>
                  <a:cubicBezTo>
                    <a:pt x="106" y="503"/>
                    <a:pt x="109" y="573"/>
                    <a:pt x="111" y="644"/>
                  </a:cubicBezTo>
                  <a:cubicBezTo>
                    <a:pt x="115" y="741"/>
                    <a:pt x="119" y="839"/>
                    <a:pt x="122" y="936"/>
                  </a:cubicBezTo>
                  <a:cubicBezTo>
                    <a:pt x="222" y="949"/>
                    <a:pt x="222" y="949"/>
                    <a:pt x="222" y="949"/>
                  </a:cubicBezTo>
                  <a:cubicBezTo>
                    <a:pt x="239" y="859"/>
                    <a:pt x="257" y="770"/>
                    <a:pt x="274" y="680"/>
                  </a:cubicBezTo>
                  <a:cubicBezTo>
                    <a:pt x="299" y="554"/>
                    <a:pt x="323" y="428"/>
                    <a:pt x="348" y="302"/>
                  </a:cubicBezTo>
                  <a:cubicBezTo>
                    <a:pt x="352" y="280"/>
                    <a:pt x="356" y="258"/>
                    <a:pt x="359" y="235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š1íde">
              <a:extLst>
                <a:ext uri="{FF2B5EF4-FFF2-40B4-BE49-F238E27FC236}">
                  <a16:creationId xmlns:a16="http://schemas.microsoft.com/office/drawing/2014/main" id="{D51021F4-8193-42FD-A2AE-3B889412E4D4}"/>
                </a:ext>
              </a:extLst>
            </p:cNvPr>
            <p:cNvSpPr/>
            <p:nvPr/>
          </p:nvSpPr>
          <p:spPr bwMode="auto">
            <a:xfrm>
              <a:off x="6902450" y="3078163"/>
              <a:ext cx="409575" cy="611188"/>
            </a:xfrm>
            <a:custGeom>
              <a:avLst/>
              <a:gdLst>
                <a:gd name="T0" fmla="*/ 0 w 258"/>
                <a:gd name="T1" fmla="*/ 0 h 385"/>
                <a:gd name="T2" fmla="*/ 97 w 258"/>
                <a:gd name="T3" fmla="*/ 51 h 385"/>
                <a:gd name="T4" fmla="*/ 258 w 258"/>
                <a:gd name="T5" fmla="*/ 322 h 385"/>
                <a:gd name="T6" fmla="*/ 153 w 258"/>
                <a:gd name="T7" fmla="*/ 385 h 385"/>
                <a:gd name="T8" fmla="*/ 88 w 258"/>
                <a:gd name="T9" fmla="*/ 249 h 385"/>
                <a:gd name="T10" fmla="*/ 0 w 258"/>
                <a:gd name="T1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385">
                  <a:moveTo>
                    <a:pt x="0" y="0"/>
                  </a:moveTo>
                  <a:lnTo>
                    <a:pt x="97" y="51"/>
                  </a:lnTo>
                  <a:lnTo>
                    <a:pt x="258" y="322"/>
                  </a:lnTo>
                  <a:lnTo>
                    <a:pt x="153" y="385"/>
                  </a:lnTo>
                  <a:lnTo>
                    <a:pt x="88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ṧlïḍe">
              <a:extLst>
                <a:ext uri="{FF2B5EF4-FFF2-40B4-BE49-F238E27FC236}">
                  <a16:creationId xmlns:a16="http://schemas.microsoft.com/office/drawing/2014/main" id="{5736A002-43A0-418A-81E5-3867B5A16FA1}"/>
                </a:ext>
              </a:extLst>
            </p:cNvPr>
            <p:cNvSpPr/>
            <p:nvPr/>
          </p:nvSpPr>
          <p:spPr bwMode="auto">
            <a:xfrm>
              <a:off x="6103938" y="3562350"/>
              <a:ext cx="257175" cy="330200"/>
            </a:xfrm>
            <a:custGeom>
              <a:avLst/>
              <a:gdLst>
                <a:gd name="T0" fmla="*/ 19 w 162"/>
                <a:gd name="T1" fmla="*/ 208 h 208"/>
                <a:gd name="T2" fmla="*/ 83 w 162"/>
                <a:gd name="T3" fmla="*/ 190 h 208"/>
                <a:gd name="T4" fmla="*/ 162 w 162"/>
                <a:gd name="T5" fmla="*/ 36 h 208"/>
                <a:gd name="T6" fmla="*/ 79 w 162"/>
                <a:gd name="T7" fmla="*/ 0 h 208"/>
                <a:gd name="T8" fmla="*/ 0 w 162"/>
                <a:gd name="T9" fmla="*/ 152 h 208"/>
                <a:gd name="T10" fmla="*/ 19 w 162"/>
                <a:gd name="T11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208">
                  <a:moveTo>
                    <a:pt x="19" y="208"/>
                  </a:moveTo>
                  <a:lnTo>
                    <a:pt x="83" y="190"/>
                  </a:lnTo>
                  <a:lnTo>
                    <a:pt x="162" y="36"/>
                  </a:lnTo>
                  <a:lnTo>
                    <a:pt x="79" y="0"/>
                  </a:lnTo>
                  <a:lnTo>
                    <a:pt x="0" y="152"/>
                  </a:lnTo>
                  <a:lnTo>
                    <a:pt x="19" y="208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ṧḷïďé">
              <a:extLst>
                <a:ext uri="{FF2B5EF4-FFF2-40B4-BE49-F238E27FC236}">
                  <a16:creationId xmlns:a16="http://schemas.microsoft.com/office/drawing/2014/main" id="{652F3B90-E957-41AC-9D9E-DEF1EA4D2C96}"/>
                </a:ext>
              </a:extLst>
            </p:cNvPr>
            <p:cNvSpPr/>
            <p:nvPr/>
          </p:nvSpPr>
          <p:spPr bwMode="auto">
            <a:xfrm>
              <a:off x="7450138" y="3367088"/>
              <a:ext cx="390525" cy="392113"/>
            </a:xfrm>
            <a:custGeom>
              <a:avLst/>
              <a:gdLst>
                <a:gd name="T0" fmla="*/ 312 w 324"/>
                <a:gd name="T1" fmla="*/ 184 h 325"/>
                <a:gd name="T2" fmla="*/ 141 w 324"/>
                <a:gd name="T3" fmla="*/ 313 h 325"/>
                <a:gd name="T4" fmla="*/ 12 w 324"/>
                <a:gd name="T5" fmla="*/ 141 h 325"/>
                <a:gd name="T6" fmla="*/ 184 w 324"/>
                <a:gd name="T7" fmla="*/ 12 h 325"/>
                <a:gd name="T8" fmla="*/ 312 w 324"/>
                <a:gd name="T9" fmla="*/ 18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325">
                  <a:moveTo>
                    <a:pt x="312" y="184"/>
                  </a:moveTo>
                  <a:cubicBezTo>
                    <a:pt x="300" y="267"/>
                    <a:pt x="224" y="325"/>
                    <a:pt x="141" y="313"/>
                  </a:cubicBezTo>
                  <a:cubicBezTo>
                    <a:pt x="58" y="301"/>
                    <a:pt x="0" y="224"/>
                    <a:pt x="12" y="141"/>
                  </a:cubicBezTo>
                  <a:cubicBezTo>
                    <a:pt x="24" y="58"/>
                    <a:pt x="101" y="0"/>
                    <a:pt x="184" y="12"/>
                  </a:cubicBezTo>
                  <a:cubicBezTo>
                    <a:pt x="267" y="24"/>
                    <a:pt x="324" y="101"/>
                    <a:pt x="312" y="184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ṣḻïďe">
              <a:extLst>
                <a:ext uri="{FF2B5EF4-FFF2-40B4-BE49-F238E27FC236}">
                  <a16:creationId xmlns:a16="http://schemas.microsoft.com/office/drawing/2014/main" id="{3B3A5F4D-D3A9-45AE-9196-870225B45662}"/>
                </a:ext>
              </a:extLst>
            </p:cNvPr>
            <p:cNvSpPr/>
            <p:nvPr/>
          </p:nvSpPr>
          <p:spPr bwMode="auto">
            <a:xfrm>
              <a:off x="7510463" y="3429000"/>
              <a:ext cx="269875" cy="268288"/>
            </a:xfrm>
            <a:custGeom>
              <a:avLst/>
              <a:gdLst>
                <a:gd name="T0" fmla="*/ 214 w 223"/>
                <a:gd name="T1" fmla="*/ 126 h 223"/>
                <a:gd name="T2" fmla="*/ 96 w 223"/>
                <a:gd name="T3" fmla="*/ 215 h 223"/>
                <a:gd name="T4" fmla="*/ 8 w 223"/>
                <a:gd name="T5" fmla="*/ 96 h 223"/>
                <a:gd name="T6" fmla="*/ 126 w 223"/>
                <a:gd name="T7" fmla="*/ 8 h 223"/>
                <a:gd name="T8" fmla="*/ 214 w 223"/>
                <a:gd name="T9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223">
                  <a:moveTo>
                    <a:pt x="214" y="126"/>
                  </a:moveTo>
                  <a:cubicBezTo>
                    <a:pt x="206" y="183"/>
                    <a:pt x="153" y="223"/>
                    <a:pt x="96" y="215"/>
                  </a:cubicBezTo>
                  <a:cubicBezTo>
                    <a:pt x="39" y="206"/>
                    <a:pt x="0" y="153"/>
                    <a:pt x="8" y="96"/>
                  </a:cubicBezTo>
                  <a:cubicBezTo>
                    <a:pt x="16" y="39"/>
                    <a:pt x="69" y="0"/>
                    <a:pt x="126" y="8"/>
                  </a:cubicBezTo>
                  <a:cubicBezTo>
                    <a:pt x="183" y="16"/>
                    <a:pt x="223" y="69"/>
                    <a:pt x="214" y="126"/>
                  </a:cubicBezTo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Sľiḓe">
              <a:extLst>
                <a:ext uri="{FF2B5EF4-FFF2-40B4-BE49-F238E27FC236}">
                  <a16:creationId xmlns:a16="http://schemas.microsoft.com/office/drawing/2014/main" id="{8BF24CB9-54CC-4851-A2C3-54B83B716C76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ṡḻîďè">
              <a:extLst>
                <a:ext uri="{FF2B5EF4-FFF2-40B4-BE49-F238E27FC236}">
                  <a16:creationId xmlns:a16="http://schemas.microsoft.com/office/drawing/2014/main" id="{A80DA540-50BC-4781-B712-03D90B80891F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$ľíďé">
              <a:extLst>
                <a:ext uri="{FF2B5EF4-FFF2-40B4-BE49-F238E27FC236}">
                  <a16:creationId xmlns:a16="http://schemas.microsoft.com/office/drawing/2014/main" id="{0AA9DBCD-FB04-4E60-A005-EB8C8B774740}"/>
                </a:ext>
              </a:extLst>
            </p:cNvPr>
            <p:cNvSpPr/>
            <p:nvPr/>
          </p:nvSpPr>
          <p:spPr bwMode="auto">
            <a:xfrm>
              <a:off x="7597775" y="3521075"/>
              <a:ext cx="92075" cy="92075"/>
            </a:xfrm>
            <a:custGeom>
              <a:avLst/>
              <a:gdLst>
                <a:gd name="T0" fmla="*/ 73 w 76"/>
                <a:gd name="T1" fmla="*/ 43 h 76"/>
                <a:gd name="T2" fmla="*/ 33 w 76"/>
                <a:gd name="T3" fmla="*/ 73 h 76"/>
                <a:gd name="T4" fmla="*/ 3 w 76"/>
                <a:gd name="T5" fmla="*/ 33 h 76"/>
                <a:gd name="T6" fmla="*/ 43 w 76"/>
                <a:gd name="T7" fmla="*/ 3 h 76"/>
                <a:gd name="T8" fmla="*/ 73 w 76"/>
                <a:gd name="T9" fmla="*/ 4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6">
                  <a:moveTo>
                    <a:pt x="73" y="43"/>
                  </a:moveTo>
                  <a:cubicBezTo>
                    <a:pt x="70" y="63"/>
                    <a:pt x="52" y="76"/>
                    <a:pt x="33" y="73"/>
                  </a:cubicBezTo>
                  <a:cubicBezTo>
                    <a:pt x="13" y="70"/>
                    <a:pt x="0" y="52"/>
                    <a:pt x="3" y="33"/>
                  </a:cubicBezTo>
                  <a:cubicBezTo>
                    <a:pt x="5" y="13"/>
                    <a:pt x="23" y="0"/>
                    <a:pt x="43" y="3"/>
                  </a:cubicBezTo>
                  <a:cubicBezTo>
                    <a:pt x="63" y="5"/>
                    <a:pt x="76" y="24"/>
                    <a:pt x="73" y="43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ṩ1ïḑé">
              <a:extLst>
                <a:ext uri="{FF2B5EF4-FFF2-40B4-BE49-F238E27FC236}">
                  <a16:creationId xmlns:a16="http://schemas.microsoft.com/office/drawing/2014/main" id="{45659C61-CD57-42BA-ABB0-B7FD278CE33D}"/>
                </a:ext>
              </a:extLst>
            </p:cNvPr>
            <p:cNvSpPr/>
            <p:nvPr/>
          </p:nvSpPr>
          <p:spPr bwMode="auto">
            <a:xfrm>
              <a:off x="7673975" y="3740150"/>
              <a:ext cx="12700" cy="3175"/>
            </a:xfrm>
            <a:custGeom>
              <a:avLst/>
              <a:gdLst>
                <a:gd name="T0" fmla="*/ 11 w 11"/>
                <a:gd name="T1" fmla="*/ 0 h 2"/>
                <a:gd name="T2" fmla="*/ 0 w 11"/>
                <a:gd name="T3" fmla="*/ 2 h 2"/>
                <a:gd name="T4" fmla="*/ 11 w 11"/>
                <a:gd name="T5" fmla="*/ 0 h 2"/>
                <a:gd name="T6" fmla="*/ 11 w 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">
                  <a:moveTo>
                    <a:pt x="11" y="0"/>
                  </a:moveTo>
                  <a:cubicBezTo>
                    <a:pt x="8" y="1"/>
                    <a:pt x="4" y="2"/>
                    <a:pt x="0" y="2"/>
                  </a:cubicBezTo>
                  <a:cubicBezTo>
                    <a:pt x="4" y="2"/>
                    <a:pt x="8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ṥ1íḑè">
              <a:extLst>
                <a:ext uri="{FF2B5EF4-FFF2-40B4-BE49-F238E27FC236}">
                  <a16:creationId xmlns:a16="http://schemas.microsoft.com/office/drawing/2014/main" id="{F6A988E7-0156-4DDD-A9BD-4B22CFE77949}"/>
                </a:ext>
              </a:extLst>
            </p:cNvPr>
            <p:cNvSpPr/>
            <p:nvPr/>
          </p:nvSpPr>
          <p:spPr bwMode="auto">
            <a:xfrm>
              <a:off x="7643813" y="3683000"/>
              <a:ext cx="42863" cy="61913"/>
            </a:xfrm>
            <a:custGeom>
              <a:avLst/>
              <a:gdLst>
                <a:gd name="T0" fmla="*/ 31 w 36"/>
                <a:gd name="T1" fmla="*/ 0 h 52"/>
                <a:gd name="T2" fmla="*/ 7 w 36"/>
                <a:gd name="T3" fmla="*/ 5 h 52"/>
                <a:gd name="T4" fmla="*/ 0 w 36"/>
                <a:gd name="T5" fmla="*/ 52 h 52"/>
                <a:gd name="T6" fmla="*/ 25 w 36"/>
                <a:gd name="T7" fmla="*/ 50 h 52"/>
                <a:gd name="T8" fmla="*/ 36 w 36"/>
                <a:gd name="T9" fmla="*/ 48 h 52"/>
                <a:gd name="T10" fmla="*/ 31 w 36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2">
                  <a:moveTo>
                    <a:pt x="31" y="0"/>
                  </a:moveTo>
                  <a:cubicBezTo>
                    <a:pt x="23" y="3"/>
                    <a:pt x="15" y="4"/>
                    <a:pt x="7" y="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13" y="52"/>
                    <a:pt x="25" y="50"/>
                  </a:cubicBezTo>
                  <a:cubicBezTo>
                    <a:pt x="29" y="50"/>
                    <a:pt x="33" y="49"/>
                    <a:pt x="36" y="48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ṧľïḑé">
              <a:extLst>
                <a:ext uri="{FF2B5EF4-FFF2-40B4-BE49-F238E27FC236}">
                  <a16:creationId xmlns:a16="http://schemas.microsoft.com/office/drawing/2014/main" id="{8D330E5A-146C-4272-95C2-A487ADD3948A}"/>
                </a:ext>
              </a:extLst>
            </p:cNvPr>
            <p:cNvSpPr/>
            <p:nvPr/>
          </p:nvSpPr>
          <p:spPr bwMode="auto">
            <a:xfrm>
              <a:off x="7651750" y="3598863"/>
              <a:ext cx="28575" cy="90488"/>
            </a:xfrm>
            <a:custGeom>
              <a:avLst/>
              <a:gdLst>
                <a:gd name="T0" fmla="*/ 16 w 24"/>
                <a:gd name="T1" fmla="*/ 0 h 74"/>
                <a:gd name="T2" fmla="*/ 10 w 24"/>
                <a:gd name="T3" fmla="*/ 4 h 74"/>
                <a:gd name="T4" fmla="*/ 3 w 24"/>
                <a:gd name="T5" fmla="*/ 48 h 74"/>
                <a:gd name="T6" fmla="*/ 0 w 24"/>
                <a:gd name="T7" fmla="*/ 74 h 74"/>
                <a:gd name="T8" fmla="*/ 24 w 24"/>
                <a:gd name="T9" fmla="*/ 69 h 74"/>
                <a:gd name="T10" fmla="*/ 16 w 24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74">
                  <a:moveTo>
                    <a:pt x="16" y="0"/>
                  </a:moveTo>
                  <a:cubicBezTo>
                    <a:pt x="14" y="2"/>
                    <a:pt x="12" y="3"/>
                    <a:pt x="10" y="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8" y="73"/>
                    <a:pt x="16" y="72"/>
                    <a:pt x="24" y="69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íṥḻiḑe">
              <a:extLst>
                <a:ext uri="{FF2B5EF4-FFF2-40B4-BE49-F238E27FC236}">
                  <a16:creationId xmlns:a16="http://schemas.microsoft.com/office/drawing/2014/main" id="{AFBF9536-AB8E-4D9B-893D-DD9895AD8133}"/>
                </a:ext>
              </a:extLst>
            </p:cNvPr>
            <p:cNvSpPr/>
            <p:nvPr/>
          </p:nvSpPr>
          <p:spPr bwMode="auto">
            <a:xfrm>
              <a:off x="7643813" y="3657600"/>
              <a:ext cx="11113" cy="87313"/>
            </a:xfrm>
            <a:custGeom>
              <a:avLst/>
              <a:gdLst>
                <a:gd name="T0" fmla="*/ 10 w 10"/>
                <a:gd name="T1" fmla="*/ 0 h 73"/>
                <a:gd name="T2" fmla="*/ 0 w 10"/>
                <a:gd name="T3" fmla="*/ 73 h 73"/>
                <a:gd name="T4" fmla="*/ 0 w 10"/>
                <a:gd name="T5" fmla="*/ 73 h 73"/>
                <a:gd name="T6" fmla="*/ 7 w 10"/>
                <a:gd name="T7" fmla="*/ 26 h 73"/>
                <a:gd name="T8" fmla="*/ 10 w 10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3">
                  <a:moveTo>
                    <a:pt x="10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ṩḻíḑé">
              <a:extLst>
                <a:ext uri="{FF2B5EF4-FFF2-40B4-BE49-F238E27FC236}">
                  <a16:creationId xmlns:a16="http://schemas.microsoft.com/office/drawing/2014/main" id="{BAE004E2-A7B2-46D4-B1FD-61202A21038D}"/>
                </a:ext>
              </a:extLst>
            </p:cNvPr>
            <p:cNvSpPr/>
            <p:nvPr/>
          </p:nvSpPr>
          <p:spPr bwMode="auto">
            <a:xfrm>
              <a:off x="7664450" y="3598863"/>
              <a:ext cx="6350" cy="4763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ṣḷíḋè">
              <a:extLst>
                <a:ext uri="{FF2B5EF4-FFF2-40B4-BE49-F238E27FC236}">
                  <a16:creationId xmlns:a16="http://schemas.microsoft.com/office/drawing/2014/main" id="{13BFF7A5-A514-4E98-98B4-12494777EA9C}"/>
                </a:ext>
              </a:extLst>
            </p:cNvPr>
            <p:cNvSpPr/>
            <p:nvPr/>
          </p:nvSpPr>
          <p:spPr bwMode="auto">
            <a:xfrm>
              <a:off x="6540500" y="4064000"/>
              <a:ext cx="1068388" cy="766763"/>
            </a:xfrm>
            <a:custGeom>
              <a:avLst/>
              <a:gdLst>
                <a:gd name="T0" fmla="*/ 3 w 886"/>
                <a:gd name="T1" fmla="*/ 163 h 636"/>
                <a:gd name="T2" fmla="*/ 562 w 886"/>
                <a:gd name="T3" fmla="*/ 582 h 636"/>
                <a:gd name="T4" fmla="*/ 865 w 886"/>
                <a:gd name="T5" fmla="*/ 160 h 636"/>
                <a:gd name="T6" fmla="*/ 882 w 886"/>
                <a:gd name="T7" fmla="*/ 75 h 636"/>
                <a:gd name="T8" fmla="*/ 800 w 886"/>
                <a:gd name="T9" fmla="*/ 120 h 636"/>
                <a:gd name="T10" fmla="*/ 781 w 886"/>
                <a:gd name="T11" fmla="*/ 195 h 636"/>
                <a:gd name="T12" fmla="*/ 780 w 886"/>
                <a:gd name="T13" fmla="*/ 197 h 636"/>
                <a:gd name="T14" fmla="*/ 765 w 886"/>
                <a:gd name="T15" fmla="*/ 243 h 636"/>
                <a:gd name="T16" fmla="*/ 684 w 886"/>
                <a:gd name="T17" fmla="*/ 403 h 636"/>
                <a:gd name="T18" fmla="*/ 666 w 886"/>
                <a:gd name="T19" fmla="*/ 426 h 636"/>
                <a:gd name="T20" fmla="*/ 620 w 886"/>
                <a:gd name="T21" fmla="*/ 474 h 636"/>
                <a:gd name="T22" fmla="*/ 607 w 886"/>
                <a:gd name="T23" fmla="*/ 485 h 636"/>
                <a:gd name="T24" fmla="*/ 569 w 886"/>
                <a:gd name="T25" fmla="*/ 511 h 636"/>
                <a:gd name="T26" fmla="*/ 540 w 886"/>
                <a:gd name="T27" fmla="*/ 526 h 636"/>
                <a:gd name="T28" fmla="*/ 487 w 886"/>
                <a:gd name="T29" fmla="*/ 543 h 636"/>
                <a:gd name="T30" fmla="*/ 482 w 886"/>
                <a:gd name="T31" fmla="*/ 544 h 636"/>
                <a:gd name="T32" fmla="*/ 470 w 886"/>
                <a:gd name="T33" fmla="*/ 546 h 636"/>
                <a:gd name="T34" fmla="*/ 418 w 886"/>
                <a:gd name="T35" fmla="*/ 550 h 636"/>
                <a:gd name="T36" fmla="*/ 418 w 886"/>
                <a:gd name="T37" fmla="*/ 550 h 636"/>
                <a:gd name="T38" fmla="*/ 413 w 886"/>
                <a:gd name="T39" fmla="*/ 550 h 636"/>
                <a:gd name="T40" fmla="*/ 395 w 886"/>
                <a:gd name="T41" fmla="*/ 549 h 636"/>
                <a:gd name="T42" fmla="*/ 336 w 886"/>
                <a:gd name="T43" fmla="*/ 540 h 636"/>
                <a:gd name="T44" fmla="*/ 318 w 886"/>
                <a:gd name="T45" fmla="*/ 536 h 636"/>
                <a:gd name="T46" fmla="*/ 268 w 886"/>
                <a:gd name="T47" fmla="*/ 518 h 636"/>
                <a:gd name="T48" fmla="*/ 267 w 886"/>
                <a:gd name="T49" fmla="*/ 517 h 636"/>
                <a:gd name="T50" fmla="*/ 249 w 886"/>
                <a:gd name="T51" fmla="*/ 508 h 636"/>
                <a:gd name="T52" fmla="*/ 221 w 886"/>
                <a:gd name="T53" fmla="*/ 491 h 636"/>
                <a:gd name="T54" fmla="*/ 181 w 886"/>
                <a:gd name="T55" fmla="*/ 456 h 636"/>
                <a:gd name="T56" fmla="*/ 163 w 886"/>
                <a:gd name="T57" fmla="*/ 435 h 636"/>
                <a:gd name="T58" fmla="*/ 114 w 886"/>
                <a:gd name="T59" fmla="*/ 351 h 636"/>
                <a:gd name="T60" fmla="*/ 112 w 886"/>
                <a:gd name="T61" fmla="*/ 347 h 636"/>
                <a:gd name="T62" fmla="*/ 102 w 886"/>
                <a:gd name="T63" fmla="*/ 317 h 636"/>
                <a:gd name="T64" fmla="*/ 78 w 886"/>
                <a:gd name="T65" fmla="*/ 195 h 636"/>
                <a:gd name="T66" fmla="*/ 75 w 886"/>
                <a:gd name="T67" fmla="*/ 166 h 636"/>
                <a:gd name="T68" fmla="*/ 74 w 886"/>
                <a:gd name="T69" fmla="*/ 124 h 636"/>
                <a:gd name="T70" fmla="*/ 82 w 886"/>
                <a:gd name="T71" fmla="*/ 12 h 636"/>
                <a:gd name="T72" fmla="*/ 9 w 886"/>
                <a:gd name="T73" fmla="*/ 0 h 636"/>
                <a:gd name="T74" fmla="*/ 335 w 886"/>
                <a:gd name="T75" fmla="*/ 54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6" h="636">
                  <a:moveTo>
                    <a:pt x="9" y="0"/>
                  </a:moveTo>
                  <a:cubicBezTo>
                    <a:pt x="1" y="54"/>
                    <a:pt x="0" y="109"/>
                    <a:pt x="3" y="163"/>
                  </a:cubicBezTo>
                  <a:cubicBezTo>
                    <a:pt x="9" y="276"/>
                    <a:pt x="35" y="401"/>
                    <a:pt x="131" y="495"/>
                  </a:cubicBezTo>
                  <a:cubicBezTo>
                    <a:pt x="233" y="595"/>
                    <a:pt x="421" y="636"/>
                    <a:pt x="562" y="582"/>
                  </a:cubicBezTo>
                  <a:cubicBezTo>
                    <a:pt x="696" y="530"/>
                    <a:pt x="770" y="416"/>
                    <a:pt x="816" y="310"/>
                  </a:cubicBezTo>
                  <a:cubicBezTo>
                    <a:pt x="837" y="261"/>
                    <a:pt x="853" y="211"/>
                    <a:pt x="865" y="160"/>
                  </a:cubicBezTo>
                  <a:cubicBezTo>
                    <a:pt x="872" y="133"/>
                    <a:pt x="878" y="106"/>
                    <a:pt x="881" y="79"/>
                  </a:cubicBezTo>
                  <a:cubicBezTo>
                    <a:pt x="881" y="78"/>
                    <a:pt x="881" y="76"/>
                    <a:pt x="882" y="75"/>
                  </a:cubicBezTo>
                  <a:cubicBezTo>
                    <a:pt x="886" y="39"/>
                    <a:pt x="813" y="31"/>
                    <a:pt x="809" y="66"/>
                  </a:cubicBezTo>
                  <a:cubicBezTo>
                    <a:pt x="807" y="85"/>
                    <a:pt x="804" y="103"/>
                    <a:pt x="800" y="120"/>
                  </a:cubicBezTo>
                  <a:cubicBezTo>
                    <a:pt x="796" y="140"/>
                    <a:pt x="791" y="159"/>
                    <a:pt x="786" y="178"/>
                  </a:cubicBezTo>
                  <a:cubicBezTo>
                    <a:pt x="784" y="184"/>
                    <a:pt x="783" y="190"/>
                    <a:pt x="781" y="195"/>
                  </a:cubicBezTo>
                  <a:cubicBezTo>
                    <a:pt x="781" y="196"/>
                    <a:pt x="781" y="196"/>
                    <a:pt x="781" y="197"/>
                  </a:cubicBezTo>
                  <a:cubicBezTo>
                    <a:pt x="780" y="197"/>
                    <a:pt x="780" y="197"/>
                    <a:pt x="780" y="197"/>
                  </a:cubicBezTo>
                  <a:cubicBezTo>
                    <a:pt x="779" y="201"/>
                    <a:pt x="778" y="204"/>
                    <a:pt x="777" y="207"/>
                  </a:cubicBezTo>
                  <a:cubicBezTo>
                    <a:pt x="774" y="219"/>
                    <a:pt x="769" y="231"/>
                    <a:pt x="765" y="243"/>
                  </a:cubicBezTo>
                  <a:cubicBezTo>
                    <a:pt x="746" y="296"/>
                    <a:pt x="722" y="347"/>
                    <a:pt x="689" y="395"/>
                  </a:cubicBezTo>
                  <a:cubicBezTo>
                    <a:pt x="687" y="398"/>
                    <a:pt x="685" y="401"/>
                    <a:pt x="684" y="403"/>
                  </a:cubicBezTo>
                  <a:cubicBezTo>
                    <a:pt x="686" y="400"/>
                    <a:pt x="681" y="406"/>
                    <a:pt x="680" y="408"/>
                  </a:cubicBezTo>
                  <a:cubicBezTo>
                    <a:pt x="676" y="414"/>
                    <a:pt x="671" y="420"/>
                    <a:pt x="666" y="426"/>
                  </a:cubicBezTo>
                  <a:cubicBezTo>
                    <a:pt x="656" y="438"/>
                    <a:pt x="646" y="449"/>
                    <a:pt x="636" y="459"/>
                  </a:cubicBezTo>
                  <a:cubicBezTo>
                    <a:pt x="631" y="464"/>
                    <a:pt x="626" y="469"/>
                    <a:pt x="620" y="474"/>
                  </a:cubicBezTo>
                  <a:cubicBezTo>
                    <a:pt x="618" y="476"/>
                    <a:pt x="615" y="478"/>
                    <a:pt x="613" y="481"/>
                  </a:cubicBezTo>
                  <a:cubicBezTo>
                    <a:pt x="611" y="482"/>
                    <a:pt x="609" y="483"/>
                    <a:pt x="607" y="485"/>
                  </a:cubicBezTo>
                  <a:cubicBezTo>
                    <a:pt x="607" y="485"/>
                    <a:pt x="606" y="486"/>
                    <a:pt x="605" y="487"/>
                  </a:cubicBezTo>
                  <a:cubicBezTo>
                    <a:pt x="593" y="495"/>
                    <a:pt x="582" y="503"/>
                    <a:pt x="569" y="511"/>
                  </a:cubicBezTo>
                  <a:cubicBezTo>
                    <a:pt x="563" y="514"/>
                    <a:pt x="556" y="518"/>
                    <a:pt x="550" y="521"/>
                  </a:cubicBezTo>
                  <a:cubicBezTo>
                    <a:pt x="547" y="523"/>
                    <a:pt x="544" y="524"/>
                    <a:pt x="540" y="526"/>
                  </a:cubicBezTo>
                  <a:cubicBezTo>
                    <a:pt x="549" y="522"/>
                    <a:pt x="535" y="528"/>
                    <a:pt x="533" y="529"/>
                  </a:cubicBezTo>
                  <a:cubicBezTo>
                    <a:pt x="518" y="534"/>
                    <a:pt x="503" y="539"/>
                    <a:pt x="487" y="543"/>
                  </a:cubicBezTo>
                  <a:cubicBezTo>
                    <a:pt x="486" y="543"/>
                    <a:pt x="484" y="543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78" y="545"/>
                    <a:pt x="474" y="545"/>
                    <a:pt x="470" y="546"/>
                  </a:cubicBezTo>
                  <a:cubicBezTo>
                    <a:pt x="461" y="547"/>
                    <a:pt x="452" y="548"/>
                    <a:pt x="443" y="549"/>
                  </a:cubicBezTo>
                  <a:cubicBezTo>
                    <a:pt x="435" y="549"/>
                    <a:pt x="426" y="550"/>
                    <a:pt x="418" y="550"/>
                  </a:cubicBezTo>
                  <a:cubicBezTo>
                    <a:pt x="417" y="550"/>
                    <a:pt x="416" y="550"/>
                    <a:pt x="415" y="550"/>
                  </a:cubicBezTo>
                  <a:cubicBezTo>
                    <a:pt x="416" y="550"/>
                    <a:pt x="417" y="550"/>
                    <a:pt x="418" y="550"/>
                  </a:cubicBezTo>
                  <a:cubicBezTo>
                    <a:pt x="416" y="550"/>
                    <a:pt x="415" y="550"/>
                    <a:pt x="414" y="550"/>
                  </a:cubicBezTo>
                  <a:cubicBezTo>
                    <a:pt x="413" y="550"/>
                    <a:pt x="413" y="550"/>
                    <a:pt x="413" y="550"/>
                  </a:cubicBezTo>
                  <a:cubicBezTo>
                    <a:pt x="413" y="550"/>
                    <a:pt x="412" y="550"/>
                    <a:pt x="412" y="550"/>
                  </a:cubicBezTo>
                  <a:cubicBezTo>
                    <a:pt x="406" y="549"/>
                    <a:pt x="401" y="549"/>
                    <a:pt x="395" y="549"/>
                  </a:cubicBezTo>
                  <a:cubicBezTo>
                    <a:pt x="375" y="547"/>
                    <a:pt x="356" y="544"/>
                    <a:pt x="336" y="540"/>
                  </a:cubicBezTo>
                  <a:cubicBezTo>
                    <a:pt x="336" y="540"/>
                    <a:pt x="336" y="540"/>
                    <a:pt x="336" y="540"/>
                  </a:cubicBezTo>
                  <a:cubicBezTo>
                    <a:pt x="334" y="540"/>
                    <a:pt x="332" y="539"/>
                    <a:pt x="330" y="539"/>
                  </a:cubicBezTo>
                  <a:cubicBezTo>
                    <a:pt x="326" y="538"/>
                    <a:pt x="322" y="537"/>
                    <a:pt x="318" y="536"/>
                  </a:cubicBezTo>
                  <a:cubicBezTo>
                    <a:pt x="308" y="533"/>
                    <a:pt x="299" y="530"/>
                    <a:pt x="290" y="526"/>
                  </a:cubicBezTo>
                  <a:cubicBezTo>
                    <a:pt x="282" y="524"/>
                    <a:pt x="275" y="521"/>
                    <a:pt x="268" y="518"/>
                  </a:cubicBezTo>
                  <a:cubicBezTo>
                    <a:pt x="268" y="518"/>
                    <a:pt x="268" y="518"/>
                    <a:pt x="268" y="518"/>
                  </a:cubicBezTo>
                  <a:cubicBezTo>
                    <a:pt x="267" y="517"/>
                    <a:pt x="267" y="517"/>
                    <a:pt x="267" y="517"/>
                  </a:cubicBezTo>
                  <a:cubicBezTo>
                    <a:pt x="266" y="517"/>
                    <a:pt x="264" y="516"/>
                    <a:pt x="263" y="515"/>
                  </a:cubicBezTo>
                  <a:cubicBezTo>
                    <a:pt x="258" y="513"/>
                    <a:pt x="254" y="511"/>
                    <a:pt x="249" y="508"/>
                  </a:cubicBezTo>
                  <a:cubicBezTo>
                    <a:pt x="243" y="505"/>
                    <a:pt x="237" y="501"/>
                    <a:pt x="231" y="497"/>
                  </a:cubicBezTo>
                  <a:cubicBezTo>
                    <a:pt x="227" y="495"/>
                    <a:pt x="224" y="493"/>
                    <a:pt x="221" y="491"/>
                  </a:cubicBezTo>
                  <a:cubicBezTo>
                    <a:pt x="219" y="489"/>
                    <a:pt x="210" y="483"/>
                    <a:pt x="213" y="484"/>
                  </a:cubicBezTo>
                  <a:cubicBezTo>
                    <a:pt x="201" y="475"/>
                    <a:pt x="191" y="466"/>
                    <a:pt x="181" y="456"/>
                  </a:cubicBezTo>
                  <a:cubicBezTo>
                    <a:pt x="176" y="451"/>
                    <a:pt x="172" y="446"/>
                    <a:pt x="167" y="441"/>
                  </a:cubicBezTo>
                  <a:cubicBezTo>
                    <a:pt x="166" y="440"/>
                    <a:pt x="160" y="432"/>
                    <a:pt x="163" y="435"/>
                  </a:cubicBezTo>
                  <a:cubicBezTo>
                    <a:pt x="160" y="432"/>
                    <a:pt x="158" y="429"/>
                    <a:pt x="156" y="426"/>
                  </a:cubicBezTo>
                  <a:cubicBezTo>
                    <a:pt x="139" y="402"/>
                    <a:pt x="125" y="377"/>
                    <a:pt x="114" y="351"/>
                  </a:cubicBezTo>
                  <a:cubicBezTo>
                    <a:pt x="114" y="350"/>
                    <a:pt x="113" y="350"/>
                    <a:pt x="113" y="349"/>
                  </a:cubicBezTo>
                  <a:cubicBezTo>
                    <a:pt x="113" y="349"/>
                    <a:pt x="113" y="348"/>
                    <a:pt x="112" y="347"/>
                  </a:cubicBezTo>
                  <a:cubicBezTo>
                    <a:pt x="111" y="344"/>
                    <a:pt x="110" y="341"/>
                    <a:pt x="109" y="338"/>
                  </a:cubicBezTo>
                  <a:cubicBezTo>
                    <a:pt x="106" y="331"/>
                    <a:pt x="104" y="324"/>
                    <a:pt x="102" y="317"/>
                  </a:cubicBezTo>
                  <a:cubicBezTo>
                    <a:pt x="97" y="303"/>
                    <a:pt x="94" y="290"/>
                    <a:pt x="91" y="276"/>
                  </a:cubicBezTo>
                  <a:cubicBezTo>
                    <a:pt x="84" y="249"/>
                    <a:pt x="80" y="222"/>
                    <a:pt x="78" y="195"/>
                  </a:cubicBezTo>
                  <a:cubicBezTo>
                    <a:pt x="77" y="188"/>
                    <a:pt x="76" y="182"/>
                    <a:pt x="76" y="176"/>
                  </a:cubicBezTo>
                  <a:cubicBezTo>
                    <a:pt x="76" y="173"/>
                    <a:pt x="76" y="169"/>
                    <a:pt x="75" y="166"/>
                  </a:cubicBezTo>
                  <a:cubicBezTo>
                    <a:pt x="76" y="175"/>
                    <a:pt x="75" y="163"/>
                    <a:pt x="75" y="161"/>
                  </a:cubicBezTo>
                  <a:cubicBezTo>
                    <a:pt x="75" y="149"/>
                    <a:pt x="74" y="137"/>
                    <a:pt x="74" y="124"/>
                  </a:cubicBezTo>
                  <a:cubicBezTo>
                    <a:pt x="74" y="103"/>
                    <a:pt x="75" y="81"/>
                    <a:pt x="77" y="60"/>
                  </a:cubicBezTo>
                  <a:cubicBezTo>
                    <a:pt x="78" y="44"/>
                    <a:pt x="80" y="28"/>
                    <a:pt x="82" y="12"/>
                  </a:cubicBezTo>
                  <a:cubicBezTo>
                    <a:pt x="71" y="13"/>
                    <a:pt x="59" y="12"/>
                    <a:pt x="49" y="10"/>
                  </a:cubicBezTo>
                  <a:cubicBezTo>
                    <a:pt x="36" y="8"/>
                    <a:pt x="22" y="5"/>
                    <a:pt x="9" y="0"/>
                  </a:cubicBezTo>
                  <a:moveTo>
                    <a:pt x="335" y="540"/>
                  </a:moveTo>
                  <a:cubicBezTo>
                    <a:pt x="334" y="540"/>
                    <a:pt x="330" y="539"/>
                    <a:pt x="335" y="540"/>
                  </a:cubicBezTo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i$ľîḍè">
              <a:extLst>
                <a:ext uri="{FF2B5EF4-FFF2-40B4-BE49-F238E27FC236}">
                  <a16:creationId xmlns:a16="http://schemas.microsoft.com/office/drawing/2014/main" id="{01F67F03-2C13-4535-9551-B93954DDE284}"/>
                </a:ext>
              </a:extLst>
            </p:cNvPr>
            <p:cNvSpPr/>
            <p:nvPr/>
          </p:nvSpPr>
          <p:spPr bwMode="auto">
            <a:xfrm>
              <a:off x="6335713" y="3033713"/>
              <a:ext cx="250825" cy="425450"/>
            </a:xfrm>
            <a:custGeom>
              <a:avLst/>
              <a:gdLst>
                <a:gd name="T0" fmla="*/ 188 w 208"/>
                <a:gd name="T1" fmla="*/ 19 h 354"/>
                <a:gd name="T2" fmla="*/ 67 w 208"/>
                <a:gd name="T3" fmla="*/ 1 h 354"/>
                <a:gd name="T4" fmla="*/ 49 w 208"/>
                <a:gd name="T5" fmla="*/ 15 h 354"/>
                <a:gd name="T6" fmla="*/ 9 w 208"/>
                <a:gd name="T7" fmla="*/ 290 h 354"/>
                <a:gd name="T8" fmla="*/ 3 w 208"/>
                <a:gd name="T9" fmla="*/ 329 h 354"/>
                <a:gd name="T10" fmla="*/ 35 w 208"/>
                <a:gd name="T11" fmla="*/ 334 h 354"/>
                <a:gd name="T12" fmla="*/ 75 w 208"/>
                <a:gd name="T13" fmla="*/ 58 h 354"/>
                <a:gd name="T14" fmla="*/ 78 w 208"/>
                <a:gd name="T15" fmla="*/ 35 h 354"/>
                <a:gd name="T16" fmla="*/ 183 w 208"/>
                <a:gd name="T17" fmla="*/ 51 h 354"/>
                <a:gd name="T18" fmla="*/ 188 w 208"/>
                <a:gd name="T19" fmla="*/ 1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354">
                  <a:moveTo>
                    <a:pt x="188" y="19"/>
                  </a:moveTo>
                  <a:cubicBezTo>
                    <a:pt x="147" y="13"/>
                    <a:pt x="107" y="7"/>
                    <a:pt x="67" y="1"/>
                  </a:cubicBezTo>
                  <a:cubicBezTo>
                    <a:pt x="58" y="0"/>
                    <a:pt x="50" y="6"/>
                    <a:pt x="49" y="15"/>
                  </a:cubicBezTo>
                  <a:cubicBezTo>
                    <a:pt x="35" y="107"/>
                    <a:pt x="22" y="199"/>
                    <a:pt x="9" y="290"/>
                  </a:cubicBezTo>
                  <a:cubicBezTo>
                    <a:pt x="7" y="303"/>
                    <a:pt x="5" y="316"/>
                    <a:pt x="3" y="329"/>
                  </a:cubicBezTo>
                  <a:cubicBezTo>
                    <a:pt x="0" y="350"/>
                    <a:pt x="32" y="354"/>
                    <a:pt x="35" y="334"/>
                  </a:cubicBezTo>
                  <a:cubicBezTo>
                    <a:pt x="48" y="242"/>
                    <a:pt x="62" y="150"/>
                    <a:pt x="75" y="58"/>
                  </a:cubicBezTo>
                  <a:cubicBezTo>
                    <a:pt x="76" y="51"/>
                    <a:pt x="77" y="43"/>
                    <a:pt x="78" y="35"/>
                  </a:cubicBezTo>
                  <a:cubicBezTo>
                    <a:pt x="113" y="40"/>
                    <a:pt x="148" y="46"/>
                    <a:pt x="183" y="51"/>
                  </a:cubicBezTo>
                  <a:cubicBezTo>
                    <a:pt x="204" y="54"/>
                    <a:pt x="208" y="22"/>
                    <a:pt x="188" y="19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šḷîḍe">
              <a:extLst>
                <a:ext uri="{FF2B5EF4-FFF2-40B4-BE49-F238E27FC236}">
                  <a16:creationId xmlns:a16="http://schemas.microsoft.com/office/drawing/2014/main" id="{6DE03E50-2B45-4D4C-A3F9-FB96AA331FF1}"/>
                </a:ext>
              </a:extLst>
            </p:cNvPr>
            <p:cNvSpPr/>
            <p:nvPr/>
          </p:nvSpPr>
          <p:spPr bwMode="auto">
            <a:xfrm>
              <a:off x="6565900" y="3036888"/>
              <a:ext cx="85725" cy="85725"/>
            </a:xfrm>
            <a:custGeom>
              <a:avLst/>
              <a:gdLst>
                <a:gd name="T0" fmla="*/ 41 w 71"/>
                <a:gd name="T1" fmla="*/ 70 h 71"/>
                <a:gd name="T2" fmla="*/ 0 w 71"/>
                <a:gd name="T3" fmla="*/ 64 h 71"/>
                <a:gd name="T4" fmla="*/ 9 w 71"/>
                <a:gd name="T5" fmla="*/ 0 h 71"/>
                <a:gd name="T6" fmla="*/ 50 w 71"/>
                <a:gd name="T7" fmla="*/ 6 h 71"/>
                <a:gd name="T8" fmla="*/ 70 w 71"/>
                <a:gd name="T9" fmla="*/ 32 h 71"/>
                <a:gd name="T10" fmla="*/ 67 w 71"/>
                <a:gd name="T11" fmla="*/ 50 h 71"/>
                <a:gd name="T12" fmla="*/ 41 w 71"/>
                <a:gd name="T13" fmla="*/ 7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1">
                  <a:moveTo>
                    <a:pt x="41" y="7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63" y="8"/>
                    <a:pt x="71" y="20"/>
                    <a:pt x="70" y="32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5" y="63"/>
                    <a:pt x="53" y="71"/>
                    <a:pt x="41" y="70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ṩļîďè">
              <a:extLst>
                <a:ext uri="{FF2B5EF4-FFF2-40B4-BE49-F238E27FC236}">
                  <a16:creationId xmlns:a16="http://schemas.microsoft.com/office/drawing/2014/main" id="{868053DC-AD71-450D-AF92-88EE7AB1359D}"/>
                </a:ext>
              </a:extLst>
            </p:cNvPr>
            <p:cNvSpPr/>
            <p:nvPr/>
          </p:nvSpPr>
          <p:spPr bwMode="auto">
            <a:xfrm>
              <a:off x="6497638" y="3024188"/>
              <a:ext cx="85725" cy="95250"/>
            </a:xfrm>
            <a:custGeom>
              <a:avLst/>
              <a:gdLst>
                <a:gd name="T0" fmla="*/ 60 w 71"/>
                <a:gd name="T1" fmla="*/ 80 h 80"/>
                <a:gd name="T2" fmla="*/ 25 w 71"/>
                <a:gd name="T3" fmla="*/ 75 h 80"/>
                <a:gd name="T4" fmla="*/ 2 w 71"/>
                <a:gd name="T5" fmla="*/ 45 h 80"/>
                <a:gd name="T6" fmla="*/ 5 w 71"/>
                <a:gd name="T7" fmla="*/ 25 h 80"/>
                <a:gd name="T8" fmla="*/ 35 w 71"/>
                <a:gd name="T9" fmla="*/ 2 h 80"/>
                <a:gd name="T10" fmla="*/ 71 w 71"/>
                <a:gd name="T11" fmla="*/ 7 h 80"/>
                <a:gd name="T12" fmla="*/ 60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60" y="80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10" y="73"/>
                    <a:pt x="0" y="60"/>
                    <a:pt x="2" y="4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10"/>
                    <a:pt x="21" y="0"/>
                    <a:pt x="35" y="2"/>
                  </a:cubicBezTo>
                  <a:cubicBezTo>
                    <a:pt x="71" y="7"/>
                    <a:pt x="71" y="7"/>
                    <a:pt x="71" y="7"/>
                  </a:cubicBezTo>
                  <a:lnTo>
                    <a:pt x="60" y="80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ṥḷiḍe">
              <a:extLst>
                <a:ext uri="{FF2B5EF4-FFF2-40B4-BE49-F238E27FC236}">
                  <a16:creationId xmlns:a16="http://schemas.microsoft.com/office/drawing/2014/main" id="{83D10149-5889-4710-B4E1-57029378B081}"/>
                </a:ext>
              </a:extLst>
            </p:cNvPr>
            <p:cNvSpPr/>
            <p:nvPr/>
          </p:nvSpPr>
          <p:spPr bwMode="auto">
            <a:xfrm>
              <a:off x="6913563" y="3103563"/>
              <a:ext cx="193675" cy="450850"/>
            </a:xfrm>
            <a:custGeom>
              <a:avLst/>
              <a:gdLst>
                <a:gd name="T0" fmla="*/ 25 w 160"/>
                <a:gd name="T1" fmla="*/ 3 h 374"/>
                <a:gd name="T2" fmla="*/ 146 w 160"/>
                <a:gd name="T3" fmla="*/ 21 h 374"/>
                <a:gd name="T4" fmla="*/ 159 w 160"/>
                <a:gd name="T5" fmla="*/ 39 h 374"/>
                <a:gd name="T6" fmla="*/ 119 w 160"/>
                <a:gd name="T7" fmla="*/ 314 h 374"/>
                <a:gd name="T8" fmla="*/ 114 w 160"/>
                <a:gd name="T9" fmla="*/ 353 h 374"/>
                <a:gd name="T10" fmla="*/ 82 w 160"/>
                <a:gd name="T11" fmla="*/ 349 h 374"/>
                <a:gd name="T12" fmla="*/ 122 w 160"/>
                <a:gd name="T13" fmla="*/ 73 h 374"/>
                <a:gd name="T14" fmla="*/ 125 w 160"/>
                <a:gd name="T15" fmla="*/ 50 h 374"/>
                <a:gd name="T16" fmla="*/ 20 w 160"/>
                <a:gd name="T17" fmla="*/ 35 h 374"/>
                <a:gd name="T18" fmla="*/ 25 w 160"/>
                <a:gd name="T19" fmla="*/ 3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74">
                  <a:moveTo>
                    <a:pt x="25" y="3"/>
                  </a:moveTo>
                  <a:cubicBezTo>
                    <a:pt x="65" y="9"/>
                    <a:pt x="105" y="15"/>
                    <a:pt x="146" y="21"/>
                  </a:cubicBezTo>
                  <a:cubicBezTo>
                    <a:pt x="154" y="22"/>
                    <a:pt x="160" y="30"/>
                    <a:pt x="159" y="39"/>
                  </a:cubicBezTo>
                  <a:cubicBezTo>
                    <a:pt x="146" y="131"/>
                    <a:pt x="133" y="222"/>
                    <a:pt x="119" y="314"/>
                  </a:cubicBezTo>
                  <a:cubicBezTo>
                    <a:pt x="118" y="327"/>
                    <a:pt x="116" y="340"/>
                    <a:pt x="114" y="353"/>
                  </a:cubicBezTo>
                  <a:cubicBezTo>
                    <a:pt x="111" y="374"/>
                    <a:pt x="79" y="369"/>
                    <a:pt x="82" y="349"/>
                  </a:cubicBezTo>
                  <a:cubicBezTo>
                    <a:pt x="95" y="257"/>
                    <a:pt x="108" y="165"/>
                    <a:pt x="122" y="73"/>
                  </a:cubicBezTo>
                  <a:cubicBezTo>
                    <a:pt x="123" y="65"/>
                    <a:pt x="124" y="58"/>
                    <a:pt x="125" y="50"/>
                  </a:cubicBezTo>
                  <a:cubicBezTo>
                    <a:pt x="90" y="45"/>
                    <a:pt x="55" y="40"/>
                    <a:pt x="20" y="35"/>
                  </a:cubicBezTo>
                  <a:cubicBezTo>
                    <a:pt x="0" y="32"/>
                    <a:pt x="4" y="0"/>
                    <a:pt x="25" y="3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ṩḻídê">
              <a:extLst>
                <a:ext uri="{FF2B5EF4-FFF2-40B4-BE49-F238E27FC236}">
                  <a16:creationId xmlns:a16="http://schemas.microsoft.com/office/drawing/2014/main" id="{CD0272A2-E612-463D-AA43-AD3A5EF97F9D}"/>
                </a:ext>
              </a:extLst>
            </p:cNvPr>
            <p:cNvSpPr/>
            <p:nvPr/>
          </p:nvSpPr>
          <p:spPr bwMode="auto">
            <a:xfrm>
              <a:off x="6850063" y="3076575"/>
              <a:ext cx="85725" cy="87313"/>
            </a:xfrm>
            <a:custGeom>
              <a:avLst/>
              <a:gdLst>
                <a:gd name="T0" fmla="*/ 21 w 71"/>
                <a:gd name="T1" fmla="*/ 66 h 72"/>
                <a:gd name="T2" fmla="*/ 62 w 71"/>
                <a:gd name="T3" fmla="*/ 72 h 72"/>
                <a:gd name="T4" fmla="*/ 71 w 71"/>
                <a:gd name="T5" fmla="*/ 8 h 72"/>
                <a:gd name="T6" fmla="*/ 30 w 71"/>
                <a:gd name="T7" fmla="*/ 2 h 72"/>
                <a:gd name="T8" fmla="*/ 4 w 71"/>
                <a:gd name="T9" fmla="*/ 22 h 72"/>
                <a:gd name="T10" fmla="*/ 2 w 71"/>
                <a:gd name="T11" fmla="*/ 39 h 72"/>
                <a:gd name="T12" fmla="*/ 21 w 71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2">
                  <a:moveTo>
                    <a:pt x="21" y="66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18" y="0"/>
                    <a:pt x="6" y="9"/>
                    <a:pt x="4" y="22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0" y="52"/>
                    <a:pt x="9" y="64"/>
                    <a:pt x="21" y="66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îšľiďè">
              <a:extLst>
                <a:ext uri="{FF2B5EF4-FFF2-40B4-BE49-F238E27FC236}">
                  <a16:creationId xmlns:a16="http://schemas.microsoft.com/office/drawing/2014/main" id="{9CE41E03-FFD1-4AD4-B0FF-AFA70E502542}"/>
                </a:ext>
              </a:extLst>
            </p:cNvPr>
            <p:cNvSpPr/>
            <p:nvPr/>
          </p:nvSpPr>
          <p:spPr bwMode="auto">
            <a:xfrm>
              <a:off x="6916738" y="3078163"/>
              <a:ext cx="85725" cy="98425"/>
            </a:xfrm>
            <a:custGeom>
              <a:avLst/>
              <a:gdLst>
                <a:gd name="T0" fmla="*/ 0 w 71"/>
                <a:gd name="T1" fmla="*/ 74 h 81"/>
                <a:gd name="T2" fmla="*/ 36 w 71"/>
                <a:gd name="T3" fmla="*/ 79 h 81"/>
                <a:gd name="T4" fmla="*/ 66 w 71"/>
                <a:gd name="T5" fmla="*/ 56 h 81"/>
                <a:gd name="T6" fmla="*/ 69 w 71"/>
                <a:gd name="T7" fmla="*/ 36 h 81"/>
                <a:gd name="T8" fmla="*/ 46 w 71"/>
                <a:gd name="T9" fmla="*/ 5 h 81"/>
                <a:gd name="T10" fmla="*/ 11 w 71"/>
                <a:gd name="T11" fmla="*/ 0 h 81"/>
                <a:gd name="T12" fmla="*/ 0 w 71"/>
                <a:gd name="T13" fmla="*/ 7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1">
                  <a:moveTo>
                    <a:pt x="0" y="74"/>
                  </a:moveTo>
                  <a:cubicBezTo>
                    <a:pt x="36" y="79"/>
                    <a:pt x="36" y="79"/>
                    <a:pt x="36" y="79"/>
                  </a:cubicBezTo>
                  <a:cubicBezTo>
                    <a:pt x="50" y="81"/>
                    <a:pt x="64" y="71"/>
                    <a:pt x="66" y="5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1" y="21"/>
                    <a:pt x="61" y="8"/>
                    <a:pt x="46" y="5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ṧlîdê">
              <a:extLst>
                <a:ext uri="{FF2B5EF4-FFF2-40B4-BE49-F238E27FC236}">
                  <a16:creationId xmlns:a16="http://schemas.microsoft.com/office/drawing/2014/main" id="{1632A807-5108-44BE-989A-170EB8AD83C4}"/>
                </a:ext>
              </a:extLst>
            </p:cNvPr>
            <p:cNvSpPr/>
            <p:nvPr/>
          </p:nvSpPr>
          <p:spPr bwMode="auto">
            <a:xfrm>
              <a:off x="6630988" y="4132263"/>
              <a:ext cx="1588" cy="47625"/>
            </a:xfrm>
            <a:custGeom>
              <a:avLst/>
              <a:gdLst>
                <a:gd name="T0" fmla="*/ 2 w 2"/>
                <a:gd name="T1" fmla="*/ 0 h 39"/>
                <a:gd name="T2" fmla="*/ 2 w 2"/>
                <a:gd name="T3" fmla="*/ 3 h 39"/>
                <a:gd name="T4" fmla="*/ 0 w 2"/>
                <a:gd name="T5" fmla="*/ 39 h 39"/>
                <a:gd name="T6" fmla="*/ 0 w 2"/>
                <a:gd name="T7" fmla="*/ 39 h 39"/>
                <a:gd name="T8" fmla="*/ 2 w 2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9">
                  <a:moveTo>
                    <a:pt x="2" y="0"/>
                  </a:moveTo>
                  <a:cubicBezTo>
                    <a:pt x="2" y="1"/>
                    <a:pt x="2" y="2"/>
                    <a:pt x="2" y="3"/>
                  </a:cubicBezTo>
                  <a:cubicBezTo>
                    <a:pt x="1" y="15"/>
                    <a:pt x="0" y="27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4"/>
                    <a:pt x="1" y="9"/>
                    <a:pt x="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ṧ1îḋe">
              <a:extLst>
                <a:ext uri="{FF2B5EF4-FFF2-40B4-BE49-F238E27FC236}">
                  <a16:creationId xmlns:a16="http://schemas.microsoft.com/office/drawing/2014/main" id="{9C89203D-5DA5-4235-A2DA-B7760D0C433C}"/>
                </a:ext>
              </a:extLst>
            </p:cNvPr>
            <p:cNvSpPr/>
            <p:nvPr/>
          </p:nvSpPr>
          <p:spPr bwMode="auto">
            <a:xfrm>
              <a:off x="6545263" y="4095750"/>
              <a:ext cx="88900" cy="84138"/>
            </a:xfrm>
            <a:custGeom>
              <a:avLst/>
              <a:gdLst>
                <a:gd name="T0" fmla="*/ 4 w 74"/>
                <a:gd name="T1" fmla="*/ 0 h 69"/>
                <a:gd name="T2" fmla="*/ 0 w 74"/>
                <a:gd name="T3" fmla="*/ 28 h 69"/>
                <a:gd name="T4" fmla="*/ 71 w 74"/>
                <a:gd name="T5" fmla="*/ 69 h 69"/>
                <a:gd name="T6" fmla="*/ 73 w 74"/>
                <a:gd name="T7" fmla="*/ 33 h 69"/>
                <a:gd name="T8" fmla="*/ 73 w 74"/>
                <a:gd name="T9" fmla="*/ 30 h 69"/>
                <a:gd name="T10" fmla="*/ 74 w 74"/>
                <a:gd name="T11" fmla="*/ 18 h 69"/>
                <a:gd name="T12" fmla="*/ 4 w 74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9">
                  <a:moveTo>
                    <a:pt x="4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57"/>
                    <a:pt x="72" y="45"/>
                    <a:pt x="73" y="33"/>
                  </a:cubicBezTo>
                  <a:cubicBezTo>
                    <a:pt x="73" y="32"/>
                    <a:pt x="73" y="31"/>
                    <a:pt x="73" y="30"/>
                  </a:cubicBezTo>
                  <a:cubicBezTo>
                    <a:pt x="74" y="22"/>
                    <a:pt x="74" y="18"/>
                    <a:pt x="74" y="18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386F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ṥḷíḓê">
              <a:extLst>
                <a:ext uri="{FF2B5EF4-FFF2-40B4-BE49-F238E27FC236}">
                  <a16:creationId xmlns:a16="http://schemas.microsoft.com/office/drawing/2014/main" id="{444299CA-296A-42E1-BE4F-31573B6BA2DE}"/>
                </a:ext>
              </a:extLst>
            </p:cNvPr>
            <p:cNvSpPr/>
            <p:nvPr/>
          </p:nvSpPr>
          <p:spPr bwMode="auto">
            <a:xfrm>
              <a:off x="6303963" y="3402013"/>
              <a:ext cx="763588" cy="760413"/>
            </a:xfrm>
            <a:custGeom>
              <a:avLst/>
              <a:gdLst>
                <a:gd name="T0" fmla="*/ 1 w 633"/>
                <a:gd name="T1" fmla="*/ 199 h 631"/>
                <a:gd name="T2" fmla="*/ 377 w 633"/>
                <a:gd name="T3" fmla="*/ 580 h 631"/>
                <a:gd name="T4" fmla="*/ 613 w 633"/>
                <a:gd name="T5" fmla="*/ 190 h 631"/>
                <a:gd name="T6" fmla="*/ 628 w 633"/>
                <a:gd name="T7" fmla="*/ 112 h 631"/>
                <a:gd name="T8" fmla="*/ 568 w 633"/>
                <a:gd name="T9" fmla="*/ 154 h 631"/>
                <a:gd name="T10" fmla="*/ 551 w 633"/>
                <a:gd name="T11" fmla="*/ 223 h 631"/>
                <a:gd name="T12" fmla="*/ 548 w 633"/>
                <a:gd name="T13" fmla="*/ 234 h 631"/>
                <a:gd name="T14" fmla="*/ 476 w 633"/>
                <a:gd name="T15" fmla="*/ 408 h 631"/>
                <a:gd name="T16" fmla="*/ 469 w 633"/>
                <a:gd name="T17" fmla="*/ 419 h 631"/>
                <a:gd name="T18" fmla="*/ 435 w 633"/>
                <a:gd name="T19" fmla="*/ 467 h 631"/>
                <a:gd name="T20" fmla="*/ 418 w 633"/>
                <a:gd name="T21" fmla="*/ 487 h 631"/>
                <a:gd name="T22" fmla="*/ 413 w 633"/>
                <a:gd name="T23" fmla="*/ 491 h 631"/>
                <a:gd name="T24" fmla="*/ 371 w 633"/>
                <a:gd name="T25" fmla="*/ 524 h 631"/>
                <a:gd name="T26" fmla="*/ 359 w 633"/>
                <a:gd name="T27" fmla="*/ 531 h 631"/>
                <a:gd name="T28" fmla="*/ 322 w 633"/>
                <a:gd name="T29" fmla="*/ 546 h 631"/>
                <a:gd name="T30" fmla="*/ 314 w 633"/>
                <a:gd name="T31" fmla="*/ 548 h 631"/>
                <a:gd name="T32" fmla="*/ 276 w 633"/>
                <a:gd name="T33" fmla="*/ 552 h 631"/>
                <a:gd name="T34" fmla="*/ 272 w 633"/>
                <a:gd name="T35" fmla="*/ 551 h 631"/>
                <a:gd name="T36" fmla="*/ 218 w 633"/>
                <a:gd name="T37" fmla="*/ 543 h 631"/>
                <a:gd name="T38" fmla="*/ 214 w 633"/>
                <a:gd name="T39" fmla="*/ 542 h 631"/>
                <a:gd name="T40" fmla="*/ 186 w 633"/>
                <a:gd name="T41" fmla="*/ 531 h 631"/>
                <a:gd name="T42" fmla="*/ 171 w 633"/>
                <a:gd name="T43" fmla="*/ 523 h 631"/>
                <a:gd name="T44" fmla="*/ 159 w 633"/>
                <a:gd name="T45" fmla="*/ 515 h 631"/>
                <a:gd name="T46" fmla="*/ 139 w 633"/>
                <a:gd name="T47" fmla="*/ 499 h 631"/>
                <a:gd name="T48" fmla="*/ 113 w 633"/>
                <a:gd name="T49" fmla="*/ 467 h 631"/>
                <a:gd name="T50" fmla="*/ 102 w 633"/>
                <a:gd name="T51" fmla="*/ 450 h 631"/>
                <a:gd name="T52" fmla="*/ 70 w 633"/>
                <a:gd name="T53" fmla="*/ 371 h 631"/>
                <a:gd name="T54" fmla="*/ 69 w 633"/>
                <a:gd name="T55" fmla="*/ 367 h 631"/>
                <a:gd name="T56" fmla="*/ 63 w 633"/>
                <a:gd name="T57" fmla="*/ 340 h 631"/>
                <a:gd name="T58" fmla="*/ 52 w 633"/>
                <a:gd name="T59" fmla="*/ 228 h 631"/>
                <a:gd name="T60" fmla="*/ 52 w 633"/>
                <a:gd name="T61" fmla="*/ 202 h 631"/>
                <a:gd name="T62" fmla="*/ 53 w 633"/>
                <a:gd name="T63" fmla="*/ 163 h 631"/>
                <a:gd name="T64" fmla="*/ 68 w 633"/>
                <a:gd name="T65" fmla="*/ 35 h 631"/>
                <a:gd name="T66" fmla="*/ 47 w 633"/>
                <a:gd name="T67" fmla="*/ 2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3" h="631">
                  <a:moveTo>
                    <a:pt x="18" y="24"/>
                  </a:moveTo>
                  <a:cubicBezTo>
                    <a:pt x="6" y="81"/>
                    <a:pt x="2" y="141"/>
                    <a:pt x="1" y="199"/>
                  </a:cubicBezTo>
                  <a:cubicBezTo>
                    <a:pt x="0" y="303"/>
                    <a:pt x="12" y="418"/>
                    <a:pt x="75" y="503"/>
                  </a:cubicBezTo>
                  <a:cubicBezTo>
                    <a:pt x="143" y="594"/>
                    <a:pt x="274" y="631"/>
                    <a:pt x="377" y="580"/>
                  </a:cubicBezTo>
                  <a:cubicBezTo>
                    <a:pt x="475" y="531"/>
                    <a:pt x="532" y="426"/>
                    <a:pt x="570" y="328"/>
                  </a:cubicBezTo>
                  <a:cubicBezTo>
                    <a:pt x="587" y="283"/>
                    <a:pt x="601" y="237"/>
                    <a:pt x="613" y="190"/>
                  </a:cubicBezTo>
                  <a:cubicBezTo>
                    <a:pt x="618" y="165"/>
                    <a:pt x="624" y="140"/>
                    <a:pt x="628" y="115"/>
                  </a:cubicBezTo>
                  <a:cubicBezTo>
                    <a:pt x="628" y="114"/>
                    <a:pt x="628" y="113"/>
                    <a:pt x="628" y="112"/>
                  </a:cubicBezTo>
                  <a:cubicBezTo>
                    <a:pt x="633" y="79"/>
                    <a:pt x="582" y="72"/>
                    <a:pt x="577" y="104"/>
                  </a:cubicBezTo>
                  <a:cubicBezTo>
                    <a:pt x="575" y="121"/>
                    <a:pt x="572" y="138"/>
                    <a:pt x="568" y="154"/>
                  </a:cubicBezTo>
                  <a:cubicBezTo>
                    <a:pt x="564" y="172"/>
                    <a:pt x="560" y="190"/>
                    <a:pt x="555" y="208"/>
                  </a:cubicBezTo>
                  <a:cubicBezTo>
                    <a:pt x="554" y="213"/>
                    <a:pt x="552" y="218"/>
                    <a:pt x="551" y="223"/>
                  </a:cubicBezTo>
                  <a:cubicBezTo>
                    <a:pt x="549" y="230"/>
                    <a:pt x="552" y="219"/>
                    <a:pt x="550" y="225"/>
                  </a:cubicBezTo>
                  <a:cubicBezTo>
                    <a:pt x="550" y="228"/>
                    <a:pt x="549" y="231"/>
                    <a:pt x="548" y="234"/>
                  </a:cubicBezTo>
                  <a:cubicBezTo>
                    <a:pt x="545" y="245"/>
                    <a:pt x="541" y="256"/>
                    <a:pt x="537" y="267"/>
                  </a:cubicBezTo>
                  <a:cubicBezTo>
                    <a:pt x="521" y="316"/>
                    <a:pt x="502" y="363"/>
                    <a:pt x="476" y="408"/>
                  </a:cubicBezTo>
                  <a:cubicBezTo>
                    <a:pt x="475" y="410"/>
                    <a:pt x="473" y="413"/>
                    <a:pt x="471" y="416"/>
                  </a:cubicBezTo>
                  <a:cubicBezTo>
                    <a:pt x="474" y="411"/>
                    <a:pt x="470" y="418"/>
                    <a:pt x="469" y="419"/>
                  </a:cubicBezTo>
                  <a:cubicBezTo>
                    <a:pt x="466" y="425"/>
                    <a:pt x="462" y="431"/>
                    <a:pt x="458" y="436"/>
                  </a:cubicBezTo>
                  <a:cubicBezTo>
                    <a:pt x="451" y="447"/>
                    <a:pt x="443" y="457"/>
                    <a:pt x="435" y="467"/>
                  </a:cubicBezTo>
                  <a:cubicBezTo>
                    <a:pt x="431" y="472"/>
                    <a:pt x="427" y="476"/>
                    <a:pt x="423" y="480"/>
                  </a:cubicBezTo>
                  <a:cubicBezTo>
                    <a:pt x="421" y="483"/>
                    <a:pt x="420" y="485"/>
                    <a:pt x="418" y="487"/>
                  </a:cubicBezTo>
                  <a:cubicBezTo>
                    <a:pt x="416" y="488"/>
                    <a:pt x="415" y="489"/>
                    <a:pt x="414" y="491"/>
                  </a:cubicBezTo>
                  <a:cubicBezTo>
                    <a:pt x="413" y="492"/>
                    <a:pt x="408" y="496"/>
                    <a:pt x="413" y="491"/>
                  </a:cubicBezTo>
                  <a:cubicBezTo>
                    <a:pt x="404" y="500"/>
                    <a:pt x="395" y="507"/>
                    <a:pt x="385" y="515"/>
                  </a:cubicBezTo>
                  <a:cubicBezTo>
                    <a:pt x="381" y="518"/>
                    <a:pt x="376" y="521"/>
                    <a:pt x="371" y="524"/>
                  </a:cubicBezTo>
                  <a:cubicBezTo>
                    <a:pt x="369" y="526"/>
                    <a:pt x="367" y="527"/>
                    <a:pt x="364" y="528"/>
                  </a:cubicBezTo>
                  <a:cubicBezTo>
                    <a:pt x="370" y="525"/>
                    <a:pt x="361" y="530"/>
                    <a:pt x="359" y="531"/>
                  </a:cubicBezTo>
                  <a:cubicBezTo>
                    <a:pt x="348" y="537"/>
                    <a:pt x="337" y="541"/>
                    <a:pt x="326" y="545"/>
                  </a:cubicBezTo>
                  <a:cubicBezTo>
                    <a:pt x="324" y="545"/>
                    <a:pt x="323" y="545"/>
                    <a:pt x="322" y="546"/>
                  </a:cubicBezTo>
                  <a:cubicBezTo>
                    <a:pt x="316" y="548"/>
                    <a:pt x="328" y="544"/>
                    <a:pt x="322" y="546"/>
                  </a:cubicBezTo>
                  <a:cubicBezTo>
                    <a:pt x="319" y="546"/>
                    <a:pt x="316" y="547"/>
                    <a:pt x="314" y="548"/>
                  </a:cubicBezTo>
                  <a:cubicBezTo>
                    <a:pt x="307" y="549"/>
                    <a:pt x="301" y="550"/>
                    <a:pt x="294" y="551"/>
                  </a:cubicBezTo>
                  <a:cubicBezTo>
                    <a:pt x="288" y="551"/>
                    <a:pt x="282" y="551"/>
                    <a:pt x="276" y="552"/>
                  </a:cubicBezTo>
                  <a:cubicBezTo>
                    <a:pt x="274" y="552"/>
                    <a:pt x="270" y="551"/>
                    <a:pt x="276" y="552"/>
                  </a:cubicBezTo>
                  <a:cubicBezTo>
                    <a:pt x="275" y="552"/>
                    <a:pt x="273" y="552"/>
                    <a:pt x="272" y="551"/>
                  </a:cubicBezTo>
                  <a:cubicBezTo>
                    <a:pt x="268" y="551"/>
                    <a:pt x="264" y="551"/>
                    <a:pt x="260" y="551"/>
                  </a:cubicBezTo>
                  <a:cubicBezTo>
                    <a:pt x="246" y="549"/>
                    <a:pt x="232" y="547"/>
                    <a:pt x="218" y="543"/>
                  </a:cubicBezTo>
                  <a:cubicBezTo>
                    <a:pt x="217" y="543"/>
                    <a:pt x="214" y="542"/>
                    <a:pt x="219" y="544"/>
                  </a:cubicBezTo>
                  <a:cubicBezTo>
                    <a:pt x="218" y="543"/>
                    <a:pt x="216" y="543"/>
                    <a:pt x="214" y="542"/>
                  </a:cubicBezTo>
                  <a:cubicBezTo>
                    <a:pt x="212" y="541"/>
                    <a:pt x="209" y="540"/>
                    <a:pt x="206" y="539"/>
                  </a:cubicBezTo>
                  <a:cubicBezTo>
                    <a:pt x="199" y="537"/>
                    <a:pt x="193" y="534"/>
                    <a:pt x="186" y="531"/>
                  </a:cubicBezTo>
                  <a:cubicBezTo>
                    <a:pt x="181" y="529"/>
                    <a:pt x="176" y="526"/>
                    <a:pt x="171" y="523"/>
                  </a:cubicBezTo>
                  <a:cubicBezTo>
                    <a:pt x="166" y="520"/>
                    <a:pt x="176" y="526"/>
                    <a:pt x="171" y="523"/>
                  </a:cubicBezTo>
                  <a:cubicBezTo>
                    <a:pt x="170" y="522"/>
                    <a:pt x="169" y="522"/>
                    <a:pt x="168" y="521"/>
                  </a:cubicBezTo>
                  <a:cubicBezTo>
                    <a:pt x="165" y="519"/>
                    <a:pt x="162" y="517"/>
                    <a:pt x="159" y="515"/>
                  </a:cubicBezTo>
                  <a:cubicBezTo>
                    <a:pt x="154" y="511"/>
                    <a:pt x="150" y="508"/>
                    <a:pt x="146" y="505"/>
                  </a:cubicBezTo>
                  <a:cubicBezTo>
                    <a:pt x="144" y="503"/>
                    <a:pt x="141" y="501"/>
                    <a:pt x="139" y="499"/>
                  </a:cubicBezTo>
                  <a:cubicBezTo>
                    <a:pt x="138" y="497"/>
                    <a:pt x="130" y="489"/>
                    <a:pt x="135" y="494"/>
                  </a:cubicBezTo>
                  <a:cubicBezTo>
                    <a:pt x="127" y="486"/>
                    <a:pt x="119" y="477"/>
                    <a:pt x="113" y="467"/>
                  </a:cubicBezTo>
                  <a:cubicBezTo>
                    <a:pt x="109" y="462"/>
                    <a:pt x="107" y="458"/>
                    <a:pt x="104" y="453"/>
                  </a:cubicBezTo>
                  <a:cubicBezTo>
                    <a:pt x="103" y="452"/>
                    <a:pt x="98" y="443"/>
                    <a:pt x="102" y="450"/>
                  </a:cubicBezTo>
                  <a:cubicBezTo>
                    <a:pt x="100" y="447"/>
                    <a:pt x="98" y="443"/>
                    <a:pt x="96" y="440"/>
                  </a:cubicBezTo>
                  <a:cubicBezTo>
                    <a:pt x="85" y="418"/>
                    <a:pt x="77" y="395"/>
                    <a:pt x="70" y="371"/>
                  </a:cubicBezTo>
                  <a:cubicBezTo>
                    <a:pt x="70" y="370"/>
                    <a:pt x="70" y="369"/>
                    <a:pt x="69" y="367"/>
                  </a:cubicBezTo>
                  <a:cubicBezTo>
                    <a:pt x="71" y="373"/>
                    <a:pt x="70" y="369"/>
                    <a:pt x="69" y="367"/>
                  </a:cubicBezTo>
                  <a:cubicBezTo>
                    <a:pt x="69" y="365"/>
                    <a:pt x="68" y="362"/>
                    <a:pt x="67" y="359"/>
                  </a:cubicBezTo>
                  <a:cubicBezTo>
                    <a:pt x="66" y="353"/>
                    <a:pt x="64" y="346"/>
                    <a:pt x="63" y="340"/>
                  </a:cubicBezTo>
                  <a:cubicBezTo>
                    <a:pt x="61" y="327"/>
                    <a:pt x="59" y="315"/>
                    <a:pt x="57" y="302"/>
                  </a:cubicBezTo>
                  <a:cubicBezTo>
                    <a:pt x="54" y="277"/>
                    <a:pt x="53" y="253"/>
                    <a:pt x="52" y="228"/>
                  </a:cubicBezTo>
                  <a:cubicBezTo>
                    <a:pt x="52" y="222"/>
                    <a:pt x="52" y="216"/>
                    <a:pt x="52" y="210"/>
                  </a:cubicBezTo>
                  <a:cubicBezTo>
                    <a:pt x="52" y="207"/>
                    <a:pt x="52" y="204"/>
                    <a:pt x="52" y="202"/>
                  </a:cubicBezTo>
                  <a:cubicBezTo>
                    <a:pt x="52" y="210"/>
                    <a:pt x="52" y="199"/>
                    <a:pt x="52" y="197"/>
                  </a:cubicBezTo>
                  <a:cubicBezTo>
                    <a:pt x="52" y="186"/>
                    <a:pt x="53" y="174"/>
                    <a:pt x="53" y="163"/>
                  </a:cubicBezTo>
                  <a:cubicBezTo>
                    <a:pt x="54" y="143"/>
                    <a:pt x="56" y="123"/>
                    <a:pt x="58" y="104"/>
                  </a:cubicBezTo>
                  <a:cubicBezTo>
                    <a:pt x="61" y="81"/>
                    <a:pt x="64" y="58"/>
                    <a:pt x="68" y="35"/>
                  </a:cubicBezTo>
                  <a:cubicBezTo>
                    <a:pt x="68" y="34"/>
                    <a:pt x="68" y="33"/>
                    <a:pt x="69" y="31"/>
                  </a:cubicBezTo>
                  <a:cubicBezTo>
                    <a:pt x="72" y="18"/>
                    <a:pt x="60" y="4"/>
                    <a:pt x="47" y="2"/>
                  </a:cubicBezTo>
                  <a:cubicBezTo>
                    <a:pt x="32" y="0"/>
                    <a:pt x="21" y="10"/>
                    <a:pt x="18" y="24"/>
                  </a:cubicBezTo>
                  <a:close/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šḷíḓê">
              <a:extLst>
                <a:ext uri="{FF2B5EF4-FFF2-40B4-BE49-F238E27FC236}">
                  <a16:creationId xmlns:a16="http://schemas.microsoft.com/office/drawing/2014/main" id="{5020C854-C563-4947-AFE5-D403A63A72AA}"/>
                </a:ext>
              </a:extLst>
            </p:cNvPr>
            <p:cNvSpPr/>
            <p:nvPr/>
          </p:nvSpPr>
          <p:spPr bwMode="auto">
            <a:xfrm>
              <a:off x="7037388" y="3629025"/>
              <a:ext cx="430213" cy="360363"/>
            </a:xfrm>
            <a:custGeom>
              <a:avLst/>
              <a:gdLst>
                <a:gd name="T0" fmla="*/ 356 w 356"/>
                <a:gd name="T1" fmla="*/ 201 h 300"/>
                <a:gd name="T2" fmla="*/ 239 w 356"/>
                <a:gd name="T3" fmla="*/ 118 h 300"/>
                <a:gd name="T4" fmla="*/ 30 w 356"/>
                <a:gd name="T5" fmla="*/ 0 h 300"/>
                <a:gd name="T6" fmla="*/ 0 w 356"/>
                <a:gd name="T7" fmla="*/ 48 h 300"/>
                <a:gd name="T8" fmla="*/ 198 w 356"/>
                <a:gd name="T9" fmla="*/ 273 h 300"/>
                <a:gd name="T10" fmla="*/ 314 w 356"/>
                <a:gd name="T11" fmla="*/ 288 h 300"/>
                <a:gd name="T12" fmla="*/ 356 w 356"/>
                <a:gd name="T13" fmla="*/ 201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300">
                  <a:moveTo>
                    <a:pt x="356" y="201"/>
                  </a:moveTo>
                  <a:cubicBezTo>
                    <a:pt x="239" y="118"/>
                    <a:pt x="239" y="118"/>
                    <a:pt x="239" y="1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73"/>
                    <a:pt x="310" y="300"/>
                    <a:pt x="314" y="288"/>
                  </a:cubicBezTo>
                  <a:cubicBezTo>
                    <a:pt x="318" y="276"/>
                    <a:pt x="356" y="201"/>
                    <a:pt x="356" y="201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ŝḷïďé">
              <a:extLst>
                <a:ext uri="{FF2B5EF4-FFF2-40B4-BE49-F238E27FC236}">
                  <a16:creationId xmlns:a16="http://schemas.microsoft.com/office/drawing/2014/main" id="{0DB03730-D1F2-44EC-AEB0-8D16058AC3DD}"/>
                </a:ext>
              </a:extLst>
            </p:cNvPr>
            <p:cNvSpPr/>
            <p:nvPr/>
          </p:nvSpPr>
          <p:spPr bwMode="auto">
            <a:xfrm>
              <a:off x="6935788" y="3544888"/>
              <a:ext cx="166688" cy="163513"/>
            </a:xfrm>
            <a:custGeom>
              <a:avLst/>
              <a:gdLst>
                <a:gd name="T0" fmla="*/ 94 w 105"/>
                <a:gd name="T1" fmla="*/ 61 h 103"/>
                <a:gd name="T2" fmla="*/ 61 w 105"/>
                <a:gd name="T3" fmla="*/ 0 h 103"/>
                <a:gd name="T4" fmla="*/ 0 w 105"/>
                <a:gd name="T5" fmla="*/ 8 h 103"/>
                <a:gd name="T6" fmla="*/ 1 w 105"/>
                <a:gd name="T7" fmla="*/ 96 h 103"/>
                <a:gd name="T8" fmla="*/ 12 w 105"/>
                <a:gd name="T9" fmla="*/ 103 h 103"/>
                <a:gd name="T10" fmla="*/ 18 w 105"/>
                <a:gd name="T11" fmla="*/ 86 h 103"/>
                <a:gd name="T12" fmla="*/ 58 w 105"/>
                <a:gd name="T13" fmla="*/ 103 h 103"/>
                <a:gd name="T14" fmla="*/ 105 w 105"/>
                <a:gd name="T15" fmla="*/ 81 h 103"/>
                <a:gd name="T16" fmla="*/ 94 w 105"/>
                <a:gd name="T17" fmla="*/ 6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3">
                  <a:moveTo>
                    <a:pt x="94" y="61"/>
                  </a:moveTo>
                  <a:lnTo>
                    <a:pt x="61" y="0"/>
                  </a:lnTo>
                  <a:lnTo>
                    <a:pt x="0" y="8"/>
                  </a:lnTo>
                  <a:lnTo>
                    <a:pt x="1" y="96"/>
                  </a:lnTo>
                  <a:lnTo>
                    <a:pt x="12" y="103"/>
                  </a:lnTo>
                  <a:lnTo>
                    <a:pt x="18" y="86"/>
                  </a:lnTo>
                  <a:lnTo>
                    <a:pt x="58" y="103"/>
                  </a:lnTo>
                  <a:lnTo>
                    <a:pt x="105" y="81"/>
                  </a:lnTo>
                  <a:lnTo>
                    <a:pt x="94" y="61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Sľiḍe">
              <a:extLst>
                <a:ext uri="{FF2B5EF4-FFF2-40B4-BE49-F238E27FC236}">
                  <a16:creationId xmlns:a16="http://schemas.microsoft.com/office/drawing/2014/main" id="{3B491D4A-C463-4E43-BCDE-59BE1ECBDB1B}"/>
                </a:ext>
              </a:extLst>
            </p:cNvPr>
            <p:cNvSpPr/>
            <p:nvPr/>
          </p:nvSpPr>
          <p:spPr bwMode="auto">
            <a:xfrm>
              <a:off x="6091238" y="3381375"/>
              <a:ext cx="342900" cy="511175"/>
            </a:xfrm>
            <a:custGeom>
              <a:avLst/>
              <a:gdLst>
                <a:gd name="T0" fmla="*/ 0 w 284"/>
                <a:gd name="T1" fmla="*/ 320 h 424"/>
                <a:gd name="T2" fmla="*/ 20 w 284"/>
                <a:gd name="T3" fmla="*/ 232 h 424"/>
                <a:gd name="T4" fmla="*/ 192 w 284"/>
                <a:gd name="T5" fmla="*/ 20 h 424"/>
                <a:gd name="T6" fmla="*/ 268 w 284"/>
                <a:gd name="T7" fmla="*/ 0 h 424"/>
                <a:gd name="T8" fmla="*/ 284 w 284"/>
                <a:gd name="T9" fmla="*/ 60 h 424"/>
                <a:gd name="T10" fmla="*/ 232 w 284"/>
                <a:gd name="T11" fmla="*/ 150 h 424"/>
                <a:gd name="T12" fmla="*/ 224 w 284"/>
                <a:gd name="T13" fmla="*/ 136 h 424"/>
                <a:gd name="T14" fmla="*/ 182 w 284"/>
                <a:gd name="T15" fmla="*/ 134 h 424"/>
                <a:gd name="T16" fmla="*/ 176 w 284"/>
                <a:gd name="T17" fmla="*/ 160 h 424"/>
                <a:gd name="T18" fmla="*/ 142 w 284"/>
                <a:gd name="T19" fmla="*/ 162 h 424"/>
                <a:gd name="T20" fmla="*/ 120 w 284"/>
                <a:gd name="T21" fmla="*/ 372 h 424"/>
                <a:gd name="T22" fmla="*/ 36 w 284"/>
                <a:gd name="T23" fmla="*/ 424 h 424"/>
                <a:gd name="T24" fmla="*/ 0 w 284"/>
                <a:gd name="T25" fmla="*/ 32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424">
                  <a:moveTo>
                    <a:pt x="0" y="320"/>
                  </a:moveTo>
                  <a:cubicBezTo>
                    <a:pt x="0" y="316"/>
                    <a:pt x="20" y="232"/>
                    <a:pt x="20" y="232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2" y="20"/>
                    <a:pt x="260" y="0"/>
                    <a:pt x="268" y="0"/>
                  </a:cubicBezTo>
                  <a:cubicBezTo>
                    <a:pt x="276" y="0"/>
                    <a:pt x="284" y="60"/>
                    <a:pt x="284" y="6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182" y="134"/>
                    <a:pt x="182" y="134"/>
                    <a:pt x="182" y="134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42" y="162"/>
                    <a:pt x="142" y="162"/>
                    <a:pt x="142" y="162"/>
                  </a:cubicBezTo>
                  <a:cubicBezTo>
                    <a:pt x="120" y="372"/>
                    <a:pt x="120" y="372"/>
                    <a:pt x="120" y="372"/>
                  </a:cubicBezTo>
                  <a:cubicBezTo>
                    <a:pt x="36" y="424"/>
                    <a:pt x="36" y="424"/>
                    <a:pt x="36" y="424"/>
                  </a:cubicBezTo>
                  <a:lnTo>
                    <a:pt x="0" y="320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s1îḍé">
              <a:extLst>
                <a:ext uri="{FF2B5EF4-FFF2-40B4-BE49-F238E27FC236}">
                  <a16:creationId xmlns:a16="http://schemas.microsoft.com/office/drawing/2014/main" id="{027D61A7-C229-4A00-88C5-5C1E91570DF7}"/>
                </a:ext>
              </a:extLst>
            </p:cNvPr>
            <p:cNvSpPr/>
            <p:nvPr/>
          </p:nvSpPr>
          <p:spPr bwMode="auto">
            <a:xfrm>
              <a:off x="5029200" y="4210050"/>
              <a:ext cx="565150" cy="1128713"/>
            </a:xfrm>
            <a:custGeom>
              <a:avLst/>
              <a:gdLst>
                <a:gd name="T0" fmla="*/ 237 w 356"/>
                <a:gd name="T1" fmla="*/ 0 h 711"/>
                <a:gd name="T2" fmla="*/ 356 w 356"/>
                <a:gd name="T3" fmla="*/ 183 h 711"/>
                <a:gd name="T4" fmla="*/ 171 w 356"/>
                <a:gd name="T5" fmla="*/ 711 h 711"/>
                <a:gd name="T6" fmla="*/ 95 w 356"/>
                <a:gd name="T7" fmla="*/ 711 h 711"/>
                <a:gd name="T8" fmla="*/ 168 w 356"/>
                <a:gd name="T9" fmla="*/ 224 h 711"/>
                <a:gd name="T10" fmla="*/ 0 w 356"/>
                <a:gd name="T11" fmla="*/ 25 h 711"/>
                <a:gd name="T12" fmla="*/ 237 w 356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711">
                  <a:moveTo>
                    <a:pt x="237" y="0"/>
                  </a:moveTo>
                  <a:lnTo>
                    <a:pt x="356" y="183"/>
                  </a:lnTo>
                  <a:lnTo>
                    <a:pt x="171" y="711"/>
                  </a:lnTo>
                  <a:lnTo>
                    <a:pt x="95" y="711"/>
                  </a:lnTo>
                  <a:lnTo>
                    <a:pt x="168" y="224"/>
                  </a:lnTo>
                  <a:lnTo>
                    <a:pt x="0" y="25"/>
                  </a:lnTo>
                  <a:lnTo>
                    <a:pt x="23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S1îḍe">
              <a:extLst>
                <a:ext uri="{FF2B5EF4-FFF2-40B4-BE49-F238E27FC236}">
                  <a16:creationId xmlns:a16="http://schemas.microsoft.com/office/drawing/2014/main" id="{4EF8DE95-2A0E-47C0-8911-F252AC6EB5D9}"/>
                </a:ext>
              </a:extLst>
            </p:cNvPr>
            <p:cNvSpPr/>
            <p:nvPr/>
          </p:nvSpPr>
          <p:spPr bwMode="auto">
            <a:xfrm>
              <a:off x="4637088" y="4160838"/>
              <a:ext cx="587375" cy="1177925"/>
            </a:xfrm>
            <a:custGeom>
              <a:avLst/>
              <a:gdLst>
                <a:gd name="T0" fmla="*/ 320 w 370"/>
                <a:gd name="T1" fmla="*/ 50 h 742"/>
                <a:gd name="T2" fmla="*/ 370 w 370"/>
                <a:gd name="T3" fmla="*/ 251 h 742"/>
                <a:gd name="T4" fmla="*/ 251 w 370"/>
                <a:gd name="T5" fmla="*/ 742 h 742"/>
                <a:gd name="T6" fmla="*/ 173 w 370"/>
                <a:gd name="T7" fmla="*/ 729 h 742"/>
                <a:gd name="T8" fmla="*/ 185 w 370"/>
                <a:gd name="T9" fmla="*/ 264 h 742"/>
                <a:gd name="T10" fmla="*/ 0 w 370"/>
                <a:gd name="T11" fmla="*/ 138 h 742"/>
                <a:gd name="T12" fmla="*/ 132 w 370"/>
                <a:gd name="T13" fmla="*/ 0 h 742"/>
                <a:gd name="T14" fmla="*/ 320 w 370"/>
                <a:gd name="T15" fmla="*/ 5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0" h="742">
                  <a:moveTo>
                    <a:pt x="320" y="50"/>
                  </a:moveTo>
                  <a:lnTo>
                    <a:pt x="370" y="251"/>
                  </a:lnTo>
                  <a:lnTo>
                    <a:pt x="251" y="742"/>
                  </a:lnTo>
                  <a:lnTo>
                    <a:pt x="173" y="729"/>
                  </a:lnTo>
                  <a:lnTo>
                    <a:pt x="185" y="264"/>
                  </a:lnTo>
                  <a:lnTo>
                    <a:pt x="0" y="138"/>
                  </a:lnTo>
                  <a:lnTo>
                    <a:pt x="132" y="0"/>
                  </a:lnTo>
                  <a:lnTo>
                    <a:pt x="320" y="50"/>
                  </a:lnTo>
                  <a:close/>
                </a:path>
              </a:pathLst>
            </a:custGeom>
            <a:solidFill>
              <a:srgbClr val="59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ṧḻíḋè">
              <a:extLst>
                <a:ext uri="{FF2B5EF4-FFF2-40B4-BE49-F238E27FC236}">
                  <a16:creationId xmlns:a16="http://schemas.microsoft.com/office/drawing/2014/main" id="{2241AFFD-A4D8-44C7-AEE6-41C1BABE0F72}"/>
                </a:ext>
              </a:extLst>
            </p:cNvPr>
            <p:cNvSpPr/>
            <p:nvPr/>
          </p:nvSpPr>
          <p:spPr bwMode="auto">
            <a:xfrm>
              <a:off x="4595813" y="2919413"/>
              <a:ext cx="977900" cy="1535113"/>
            </a:xfrm>
            <a:custGeom>
              <a:avLst/>
              <a:gdLst>
                <a:gd name="T0" fmla="*/ 384 w 811"/>
                <a:gd name="T1" fmla="*/ 88 h 1274"/>
                <a:gd name="T2" fmla="*/ 544 w 811"/>
                <a:gd name="T3" fmla="*/ 274 h 1274"/>
                <a:gd name="T4" fmla="*/ 680 w 811"/>
                <a:gd name="T5" fmla="*/ 885 h 1274"/>
                <a:gd name="T6" fmla="*/ 692 w 811"/>
                <a:gd name="T7" fmla="*/ 1164 h 1274"/>
                <a:gd name="T8" fmla="*/ 76 w 811"/>
                <a:gd name="T9" fmla="*/ 1233 h 1274"/>
                <a:gd name="T10" fmla="*/ 16 w 811"/>
                <a:gd name="T11" fmla="*/ 1055 h 1274"/>
                <a:gd name="T12" fmla="*/ 384 w 811"/>
                <a:gd name="T13" fmla="*/ 88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1" h="1274">
                  <a:moveTo>
                    <a:pt x="384" y="88"/>
                  </a:moveTo>
                  <a:cubicBezTo>
                    <a:pt x="384" y="88"/>
                    <a:pt x="508" y="104"/>
                    <a:pt x="544" y="274"/>
                  </a:cubicBezTo>
                  <a:cubicBezTo>
                    <a:pt x="580" y="444"/>
                    <a:pt x="592" y="744"/>
                    <a:pt x="680" y="885"/>
                  </a:cubicBezTo>
                  <a:cubicBezTo>
                    <a:pt x="768" y="1027"/>
                    <a:pt x="811" y="1234"/>
                    <a:pt x="692" y="1164"/>
                  </a:cubicBezTo>
                  <a:cubicBezTo>
                    <a:pt x="556" y="1084"/>
                    <a:pt x="328" y="1108"/>
                    <a:pt x="76" y="1233"/>
                  </a:cubicBezTo>
                  <a:cubicBezTo>
                    <a:pt x="0" y="1274"/>
                    <a:pt x="8" y="1185"/>
                    <a:pt x="16" y="1055"/>
                  </a:cubicBezTo>
                  <a:cubicBezTo>
                    <a:pt x="24" y="926"/>
                    <a:pt x="36" y="0"/>
                    <a:pt x="384" y="88"/>
                  </a:cubicBezTo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ṡḷîdè">
              <a:extLst>
                <a:ext uri="{FF2B5EF4-FFF2-40B4-BE49-F238E27FC236}">
                  <a16:creationId xmlns:a16="http://schemas.microsoft.com/office/drawing/2014/main" id="{60BE6B41-A906-4D44-B6F8-3825D26FC60C}"/>
                </a:ext>
              </a:extLst>
            </p:cNvPr>
            <p:cNvSpPr/>
            <p:nvPr/>
          </p:nvSpPr>
          <p:spPr bwMode="auto">
            <a:xfrm>
              <a:off x="5189538" y="5338763"/>
              <a:ext cx="166688" cy="114300"/>
            </a:xfrm>
            <a:custGeom>
              <a:avLst/>
              <a:gdLst>
                <a:gd name="T0" fmla="*/ 57 w 105"/>
                <a:gd name="T1" fmla="*/ 0 h 72"/>
                <a:gd name="T2" fmla="*/ 105 w 105"/>
                <a:gd name="T3" fmla="*/ 50 h 72"/>
                <a:gd name="T4" fmla="*/ 82 w 105"/>
                <a:gd name="T5" fmla="*/ 72 h 72"/>
                <a:gd name="T6" fmla="*/ 0 w 105"/>
                <a:gd name="T7" fmla="*/ 44 h 72"/>
                <a:gd name="T8" fmla="*/ 7 w 105"/>
                <a:gd name="T9" fmla="*/ 0 h 72"/>
                <a:gd name="T10" fmla="*/ 57 w 105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72">
                  <a:moveTo>
                    <a:pt x="57" y="0"/>
                  </a:moveTo>
                  <a:lnTo>
                    <a:pt x="105" y="50"/>
                  </a:lnTo>
                  <a:lnTo>
                    <a:pt x="82" y="72"/>
                  </a:lnTo>
                  <a:lnTo>
                    <a:pt x="0" y="44"/>
                  </a:lnTo>
                  <a:lnTo>
                    <a:pt x="7" y="0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ṧ1îḋê">
              <a:extLst>
                <a:ext uri="{FF2B5EF4-FFF2-40B4-BE49-F238E27FC236}">
                  <a16:creationId xmlns:a16="http://schemas.microsoft.com/office/drawing/2014/main" id="{F8C47EC4-A6AE-4365-AFE8-2DC814833C11}"/>
                </a:ext>
              </a:extLst>
            </p:cNvPr>
            <p:cNvSpPr/>
            <p:nvPr/>
          </p:nvSpPr>
          <p:spPr bwMode="auto">
            <a:xfrm>
              <a:off x="4911725" y="5321300"/>
              <a:ext cx="184150" cy="131763"/>
            </a:xfrm>
            <a:custGeom>
              <a:avLst/>
              <a:gdLst>
                <a:gd name="T0" fmla="*/ 68 w 116"/>
                <a:gd name="T1" fmla="*/ 9 h 83"/>
                <a:gd name="T2" fmla="*/ 116 w 116"/>
                <a:gd name="T3" fmla="*/ 55 h 83"/>
                <a:gd name="T4" fmla="*/ 91 w 116"/>
                <a:gd name="T5" fmla="*/ 83 h 83"/>
                <a:gd name="T6" fmla="*/ 0 w 116"/>
                <a:gd name="T7" fmla="*/ 45 h 83"/>
                <a:gd name="T8" fmla="*/ 9 w 116"/>
                <a:gd name="T9" fmla="*/ 0 h 83"/>
                <a:gd name="T10" fmla="*/ 68 w 116"/>
                <a:gd name="T11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83">
                  <a:moveTo>
                    <a:pt x="68" y="9"/>
                  </a:moveTo>
                  <a:lnTo>
                    <a:pt x="116" y="55"/>
                  </a:lnTo>
                  <a:lnTo>
                    <a:pt x="91" y="83"/>
                  </a:lnTo>
                  <a:lnTo>
                    <a:pt x="0" y="45"/>
                  </a:lnTo>
                  <a:lnTo>
                    <a:pt x="9" y="0"/>
                  </a:lnTo>
                  <a:lnTo>
                    <a:pt x="68" y="9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ṥḻïḍé">
              <a:extLst>
                <a:ext uri="{FF2B5EF4-FFF2-40B4-BE49-F238E27FC236}">
                  <a16:creationId xmlns:a16="http://schemas.microsoft.com/office/drawing/2014/main" id="{48B50056-C32F-48BC-B60D-55694483800C}"/>
                </a:ext>
              </a:extLst>
            </p:cNvPr>
            <p:cNvSpPr/>
            <p:nvPr/>
          </p:nvSpPr>
          <p:spPr bwMode="auto">
            <a:xfrm>
              <a:off x="5099050" y="2622550"/>
              <a:ext cx="149225" cy="212725"/>
            </a:xfrm>
            <a:custGeom>
              <a:avLst/>
              <a:gdLst>
                <a:gd name="T0" fmla="*/ 0 w 124"/>
                <a:gd name="T1" fmla="*/ 70 h 177"/>
                <a:gd name="T2" fmla="*/ 83 w 124"/>
                <a:gd name="T3" fmla="*/ 177 h 177"/>
                <a:gd name="T4" fmla="*/ 121 w 124"/>
                <a:gd name="T5" fmla="*/ 85 h 177"/>
                <a:gd name="T6" fmla="*/ 68 w 124"/>
                <a:gd name="T7" fmla="*/ 0 h 177"/>
                <a:gd name="T8" fmla="*/ 4 w 124"/>
                <a:gd name="T9" fmla="*/ 71 h 177"/>
                <a:gd name="T10" fmla="*/ 0 w 124"/>
                <a:gd name="T11" fmla="*/ 7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77">
                  <a:moveTo>
                    <a:pt x="0" y="70"/>
                  </a:moveTo>
                  <a:cubicBezTo>
                    <a:pt x="46" y="85"/>
                    <a:pt x="80" y="129"/>
                    <a:pt x="83" y="177"/>
                  </a:cubicBezTo>
                  <a:cubicBezTo>
                    <a:pt x="109" y="155"/>
                    <a:pt x="124" y="119"/>
                    <a:pt x="121" y="85"/>
                  </a:cubicBezTo>
                  <a:cubicBezTo>
                    <a:pt x="118" y="50"/>
                    <a:pt x="98" y="18"/>
                    <a:pt x="68" y="0"/>
                  </a:cubicBezTo>
                  <a:cubicBezTo>
                    <a:pt x="38" y="14"/>
                    <a:pt x="15" y="40"/>
                    <a:pt x="4" y="71"/>
                  </a:cubicBezTo>
                  <a:lnTo>
                    <a:pt x="0" y="70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ŝľiḑê">
              <a:extLst>
                <a:ext uri="{FF2B5EF4-FFF2-40B4-BE49-F238E27FC236}">
                  <a16:creationId xmlns:a16="http://schemas.microsoft.com/office/drawing/2014/main" id="{A692A3FF-00A5-4C12-9EB3-B78731A88E7B}"/>
                </a:ext>
              </a:extLst>
            </p:cNvPr>
            <p:cNvSpPr/>
            <p:nvPr/>
          </p:nvSpPr>
          <p:spPr bwMode="auto">
            <a:xfrm>
              <a:off x="5081588" y="2657475"/>
              <a:ext cx="188913" cy="455613"/>
            </a:xfrm>
            <a:custGeom>
              <a:avLst/>
              <a:gdLst>
                <a:gd name="T0" fmla="*/ 117 w 156"/>
                <a:gd name="T1" fmla="*/ 4 h 379"/>
                <a:gd name="T2" fmla="*/ 131 w 156"/>
                <a:gd name="T3" fmla="*/ 160 h 379"/>
                <a:gd name="T4" fmla="*/ 113 w 156"/>
                <a:gd name="T5" fmla="*/ 362 h 379"/>
                <a:gd name="T6" fmla="*/ 41 w 156"/>
                <a:gd name="T7" fmla="*/ 359 h 379"/>
                <a:gd name="T8" fmla="*/ 14 w 156"/>
                <a:gd name="T9" fmla="*/ 285 h 379"/>
                <a:gd name="T10" fmla="*/ 62 w 156"/>
                <a:gd name="T11" fmla="*/ 0 h 379"/>
                <a:gd name="T12" fmla="*/ 117 w 156"/>
                <a:gd name="T13" fmla="*/ 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79">
                  <a:moveTo>
                    <a:pt x="117" y="4"/>
                  </a:moveTo>
                  <a:cubicBezTo>
                    <a:pt x="117" y="4"/>
                    <a:pt x="156" y="39"/>
                    <a:pt x="131" y="160"/>
                  </a:cubicBezTo>
                  <a:cubicBezTo>
                    <a:pt x="106" y="282"/>
                    <a:pt x="113" y="362"/>
                    <a:pt x="113" y="362"/>
                  </a:cubicBezTo>
                  <a:cubicBezTo>
                    <a:pt x="113" y="362"/>
                    <a:pt x="70" y="379"/>
                    <a:pt x="41" y="359"/>
                  </a:cubicBezTo>
                  <a:cubicBezTo>
                    <a:pt x="11" y="338"/>
                    <a:pt x="0" y="334"/>
                    <a:pt x="14" y="285"/>
                  </a:cubicBezTo>
                  <a:cubicBezTo>
                    <a:pt x="28" y="236"/>
                    <a:pt x="62" y="0"/>
                    <a:pt x="62" y="0"/>
                  </a:cubicBezTo>
                  <a:lnTo>
                    <a:pt x="117" y="4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şļíḑé">
              <a:extLst>
                <a:ext uri="{FF2B5EF4-FFF2-40B4-BE49-F238E27FC236}">
                  <a16:creationId xmlns:a16="http://schemas.microsoft.com/office/drawing/2014/main" id="{687C77CC-501F-4E57-B96B-E655894DC026}"/>
                </a:ext>
              </a:extLst>
            </p:cNvPr>
            <p:cNvSpPr/>
            <p:nvPr/>
          </p:nvSpPr>
          <p:spPr bwMode="auto">
            <a:xfrm>
              <a:off x="4900613" y="2633663"/>
              <a:ext cx="314325" cy="449263"/>
            </a:xfrm>
            <a:custGeom>
              <a:avLst/>
              <a:gdLst>
                <a:gd name="T0" fmla="*/ 255 w 261"/>
                <a:gd name="T1" fmla="*/ 127 h 373"/>
                <a:gd name="T2" fmla="*/ 28 w 261"/>
                <a:gd name="T3" fmla="*/ 114 h 373"/>
                <a:gd name="T4" fmla="*/ 72 w 261"/>
                <a:gd name="T5" fmla="*/ 308 h 373"/>
                <a:gd name="T6" fmla="*/ 80 w 261"/>
                <a:gd name="T7" fmla="*/ 364 h 373"/>
                <a:gd name="T8" fmla="*/ 130 w 261"/>
                <a:gd name="T9" fmla="*/ 364 h 373"/>
                <a:gd name="T10" fmla="*/ 139 w 261"/>
                <a:gd name="T11" fmla="*/ 361 h 373"/>
                <a:gd name="T12" fmla="*/ 144 w 261"/>
                <a:gd name="T13" fmla="*/ 326 h 373"/>
                <a:gd name="T14" fmla="*/ 170 w 261"/>
                <a:gd name="T15" fmla="*/ 322 h 373"/>
                <a:gd name="T16" fmla="*/ 249 w 261"/>
                <a:gd name="T17" fmla="*/ 242 h 373"/>
                <a:gd name="T18" fmla="*/ 255 w 261"/>
                <a:gd name="T19" fmla="*/ 127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1" h="373">
                  <a:moveTo>
                    <a:pt x="255" y="127"/>
                  </a:moveTo>
                  <a:cubicBezTo>
                    <a:pt x="238" y="0"/>
                    <a:pt x="79" y="14"/>
                    <a:pt x="28" y="114"/>
                  </a:cubicBezTo>
                  <a:cubicBezTo>
                    <a:pt x="0" y="171"/>
                    <a:pt x="0" y="285"/>
                    <a:pt x="72" y="308"/>
                  </a:cubicBezTo>
                  <a:cubicBezTo>
                    <a:pt x="72" y="319"/>
                    <a:pt x="72" y="356"/>
                    <a:pt x="80" y="364"/>
                  </a:cubicBezTo>
                  <a:cubicBezTo>
                    <a:pt x="89" y="373"/>
                    <a:pt x="119" y="366"/>
                    <a:pt x="130" y="364"/>
                  </a:cubicBezTo>
                  <a:cubicBezTo>
                    <a:pt x="133" y="364"/>
                    <a:pt x="137" y="363"/>
                    <a:pt x="139" y="361"/>
                  </a:cubicBezTo>
                  <a:cubicBezTo>
                    <a:pt x="142" y="358"/>
                    <a:pt x="144" y="334"/>
                    <a:pt x="144" y="326"/>
                  </a:cubicBezTo>
                  <a:cubicBezTo>
                    <a:pt x="153" y="326"/>
                    <a:pt x="161" y="324"/>
                    <a:pt x="170" y="322"/>
                  </a:cubicBezTo>
                  <a:cubicBezTo>
                    <a:pt x="208" y="312"/>
                    <a:pt x="236" y="279"/>
                    <a:pt x="249" y="242"/>
                  </a:cubicBezTo>
                  <a:cubicBezTo>
                    <a:pt x="261" y="206"/>
                    <a:pt x="261" y="166"/>
                    <a:pt x="255" y="127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šļidé">
              <a:extLst>
                <a:ext uri="{FF2B5EF4-FFF2-40B4-BE49-F238E27FC236}">
                  <a16:creationId xmlns:a16="http://schemas.microsoft.com/office/drawing/2014/main" id="{8B61DA7C-384E-47B6-8569-E6C4D4F212EB}"/>
                </a:ext>
              </a:extLst>
            </p:cNvPr>
            <p:cNvSpPr/>
            <p:nvPr/>
          </p:nvSpPr>
          <p:spPr bwMode="auto">
            <a:xfrm>
              <a:off x="4694238" y="2509838"/>
              <a:ext cx="496888" cy="596900"/>
            </a:xfrm>
            <a:custGeom>
              <a:avLst/>
              <a:gdLst>
                <a:gd name="T0" fmla="*/ 400 w 412"/>
                <a:gd name="T1" fmla="*/ 93 h 495"/>
                <a:gd name="T2" fmla="*/ 323 w 412"/>
                <a:gd name="T3" fmla="*/ 177 h 495"/>
                <a:gd name="T4" fmla="*/ 186 w 412"/>
                <a:gd name="T5" fmla="*/ 331 h 495"/>
                <a:gd name="T6" fmla="*/ 224 w 412"/>
                <a:gd name="T7" fmla="*/ 478 h 495"/>
                <a:gd name="T8" fmla="*/ 64 w 412"/>
                <a:gd name="T9" fmla="*/ 470 h 495"/>
                <a:gd name="T10" fmla="*/ 109 w 412"/>
                <a:gd name="T11" fmla="*/ 105 h 495"/>
                <a:gd name="T12" fmla="*/ 400 w 412"/>
                <a:gd name="T13" fmla="*/ 93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95">
                  <a:moveTo>
                    <a:pt x="400" y="93"/>
                  </a:moveTo>
                  <a:cubicBezTo>
                    <a:pt x="400" y="93"/>
                    <a:pt x="412" y="162"/>
                    <a:pt x="323" y="177"/>
                  </a:cubicBezTo>
                  <a:cubicBezTo>
                    <a:pt x="234" y="192"/>
                    <a:pt x="174" y="257"/>
                    <a:pt x="186" y="331"/>
                  </a:cubicBezTo>
                  <a:cubicBezTo>
                    <a:pt x="197" y="404"/>
                    <a:pt x="260" y="460"/>
                    <a:pt x="224" y="478"/>
                  </a:cubicBezTo>
                  <a:cubicBezTo>
                    <a:pt x="189" y="495"/>
                    <a:pt x="64" y="470"/>
                    <a:pt x="64" y="470"/>
                  </a:cubicBezTo>
                  <a:cubicBezTo>
                    <a:pt x="64" y="470"/>
                    <a:pt x="0" y="211"/>
                    <a:pt x="109" y="105"/>
                  </a:cubicBezTo>
                  <a:cubicBezTo>
                    <a:pt x="217" y="0"/>
                    <a:pt x="366" y="3"/>
                    <a:pt x="400" y="93"/>
                  </a:cubicBez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ṩ1ïdé">
              <a:extLst>
                <a:ext uri="{FF2B5EF4-FFF2-40B4-BE49-F238E27FC236}">
                  <a16:creationId xmlns:a16="http://schemas.microsoft.com/office/drawing/2014/main" id="{3065CB37-2633-4E55-A9C8-A00BB26534CC}"/>
                </a:ext>
              </a:extLst>
            </p:cNvPr>
            <p:cNvSpPr/>
            <p:nvPr/>
          </p:nvSpPr>
          <p:spPr bwMode="auto">
            <a:xfrm>
              <a:off x="4943475" y="2828925"/>
              <a:ext cx="273050" cy="220663"/>
            </a:xfrm>
            <a:custGeom>
              <a:avLst/>
              <a:gdLst>
                <a:gd name="T0" fmla="*/ 0 w 227"/>
                <a:gd name="T1" fmla="*/ 49 h 184"/>
                <a:gd name="T2" fmla="*/ 9 w 227"/>
                <a:gd name="T3" fmla="*/ 145 h 184"/>
                <a:gd name="T4" fmla="*/ 185 w 227"/>
                <a:gd name="T5" fmla="*/ 146 h 184"/>
                <a:gd name="T6" fmla="*/ 227 w 227"/>
                <a:gd name="T7" fmla="*/ 35 h 184"/>
                <a:gd name="T8" fmla="*/ 0 w 227"/>
                <a:gd name="T9" fmla="*/ 4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84">
                  <a:moveTo>
                    <a:pt x="0" y="49"/>
                  </a:moveTo>
                  <a:cubicBezTo>
                    <a:pt x="9" y="145"/>
                    <a:pt x="9" y="145"/>
                    <a:pt x="9" y="145"/>
                  </a:cubicBezTo>
                  <a:cubicBezTo>
                    <a:pt x="9" y="145"/>
                    <a:pt x="100" y="184"/>
                    <a:pt x="185" y="146"/>
                  </a:cubicBezTo>
                  <a:cubicBezTo>
                    <a:pt x="206" y="118"/>
                    <a:pt x="222" y="103"/>
                    <a:pt x="227" y="35"/>
                  </a:cubicBezTo>
                  <a:cubicBezTo>
                    <a:pt x="205" y="26"/>
                    <a:pt x="100" y="0"/>
                    <a:pt x="0" y="49"/>
                  </a:cubicBez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îṥḷiḍê">
              <a:extLst>
                <a:ext uri="{FF2B5EF4-FFF2-40B4-BE49-F238E27FC236}">
                  <a16:creationId xmlns:a16="http://schemas.microsoft.com/office/drawing/2014/main" id="{6CB1EF62-EF93-44BA-80C4-346A089BE1EE}"/>
                </a:ext>
              </a:extLst>
            </p:cNvPr>
            <p:cNvSpPr/>
            <p:nvPr/>
          </p:nvSpPr>
          <p:spPr bwMode="auto">
            <a:xfrm>
              <a:off x="4960938" y="2851150"/>
              <a:ext cx="254000" cy="179388"/>
            </a:xfrm>
            <a:custGeom>
              <a:avLst/>
              <a:gdLst>
                <a:gd name="T0" fmla="*/ 0 w 211"/>
                <a:gd name="T1" fmla="*/ 37 h 149"/>
                <a:gd name="T2" fmla="*/ 4 w 211"/>
                <a:gd name="T3" fmla="*/ 115 h 149"/>
                <a:gd name="T4" fmla="*/ 177 w 211"/>
                <a:gd name="T5" fmla="*/ 117 h 149"/>
                <a:gd name="T6" fmla="*/ 211 w 211"/>
                <a:gd name="T7" fmla="*/ 27 h 149"/>
                <a:gd name="T8" fmla="*/ 0 w 211"/>
                <a:gd name="T9" fmla="*/ 3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149">
                  <a:moveTo>
                    <a:pt x="0" y="37"/>
                  </a:move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103" y="149"/>
                    <a:pt x="177" y="117"/>
                  </a:cubicBezTo>
                  <a:cubicBezTo>
                    <a:pt x="185" y="108"/>
                    <a:pt x="210" y="79"/>
                    <a:pt x="211" y="27"/>
                  </a:cubicBezTo>
                  <a:cubicBezTo>
                    <a:pt x="171" y="12"/>
                    <a:pt x="77" y="0"/>
                    <a:pt x="0" y="37"/>
                  </a:cubicBez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ŝľíḑé">
              <a:extLst>
                <a:ext uri="{FF2B5EF4-FFF2-40B4-BE49-F238E27FC236}">
                  <a16:creationId xmlns:a16="http://schemas.microsoft.com/office/drawing/2014/main" id="{6D973AF1-F21D-4AD8-83F9-44BCAB611FC5}"/>
                </a:ext>
              </a:extLst>
            </p:cNvPr>
            <p:cNvSpPr/>
            <p:nvPr/>
          </p:nvSpPr>
          <p:spPr bwMode="auto">
            <a:xfrm>
              <a:off x="4916488" y="2881313"/>
              <a:ext cx="26988" cy="9525"/>
            </a:xfrm>
            <a:custGeom>
              <a:avLst/>
              <a:gdLst>
                <a:gd name="T0" fmla="*/ 17 w 17"/>
                <a:gd name="T1" fmla="*/ 4 h 6"/>
                <a:gd name="T2" fmla="*/ 0 w 17"/>
                <a:gd name="T3" fmla="*/ 0 h 6"/>
                <a:gd name="T4" fmla="*/ 0 w 17"/>
                <a:gd name="T5" fmla="*/ 3 h 6"/>
                <a:gd name="T6" fmla="*/ 17 w 17"/>
                <a:gd name="T7" fmla="*/ 6 h 6"/>
                <a:gd name="T8" fmla="*/ 17 w 17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17" y="4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6"/>
                  </a:lnTo>
                  <a:lnTo>
                    <a:pt x="17" y="4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şḻïde">
              <a:extLst>
                <a:ext uri="{FF2B5EF4-FFF2-40B4-BE49-F238E27FC236}">
                  <a16:creationId xmlns:a16="http://schemas.microsoft.com/office/drawing/2014/main" id="{E4E587E2-EDDE-45DB-B9ED-FEB5C898C722}"/>
                </a:ext>
              </a:extLst>
            </p:cNvPr>
            <p:cNvSpPr/>
            <p:nvPr/>
          </p:nvSpPr>
          <p:spPr bwMode="auto">
            <a:xfrm>
              <a:off x="4926013" y="2941638"/>
              <a:ext cx="23813" cy="23813"/>
            </a:xfrm>
            <a:custGeom>
              <a:avLst/>
              <a:gdLst>
                <a:gd name="T0" fmla="*/ 14 w 15"/>
                <a:gd name="T1" fmla="*/ 11 h 15"/>
                <a:gd name="T2" fmla="*/ 0 w 15"/>
                <a:gd name="T3" fmla="*/ 0 h 15"/>
                <a:gd name="T4" fmla="*/ 2 w 15"/>
                <a:gd name="T5" fmla="*/ 5 h 15"/>
                <a:gd name="T6" fmla="*/ 15 w 15"/>
                <a:gd name="T7" fmla="*/ 15 h 15"/>
                <a:gd name="T8" fmla="*/ 14 w 15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4" y="11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15" y="15"/>
                  </a:lnTo>
                  <a:lnTo>
                    <a:pt x="14" y="11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ślíḑè">
              <a:extLst>
                <a:ext uri="{FF2B5EF4-FFF2-40B4-BE49-F238E27FC236}">
                  <a16:creationId xmlns:a16="http://schemas.microsoft.com/office/drawing/2014/main" id="{9D2A6956-134B-44AA-BCB3-3889F431C59E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í$ļíďê">
              <a:extLst>
                <a:ext uri="{FF2B5EF4-FFF2-40B4-BE49-F238E27FC236}">
                  <a16:creationId xmlns:a16="http://schemas.microsoft.com/office/drawing/2014/main" id="{3DAA13F9-7469-4813-A904-D9C67C8B2F85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šļïḑê">
              <a:extLst>
                <a:ext uri="{FF2B5EF4-FFF2-40B4-BE49-F238E27FC236}">
                  <a16:creationId xmlns:a16="http://schemas.microsoft.com/office/drawing/2014/main" id="{F761E4D2-15AE-4FAA-A6E7-EA27540F227C}"/>
                </a:ext>
              </a:extLst>
            </p:cNvPr>
            <p:cNvSpPr/>
            <p:nvPr/>
          </p:nvSpPr>
          <p:spPr bwMode="auto">
            <a:xfrm>
              <a:off x="4437063" y="3014663"/>
              <a:ext cx="1339850" cy="1393825"/>
            </a:xfrm>
            <a:custGeom>
              <a:avLst/>
              <a:gdLst>
                <a:gd name="T0" fmla="*/ 881 w 1111"/>
                <a:gd name="T1" fmla="*/ 0 h 1156"/>
                <a:gd name="T2" fmla="*/ 408 w 1111"/>
                <a:gd name="T3" fmla="*/ 77 h 1156"/>
                <a:gd name="T4" fmla="*/ 407 w 1111"/>
                <a:gd name="T5" fmla="*/ 76 h 1156"/>
                <a:gd name="T6" fmla="*/ 406 w 1111"/>
                <a:gd name="T7" fmla="*/ 78 h 1156"/>
                <a:gd name="T8" fmla="*/ 0 w 1111"/>
                <a:gd name="T9" fmla="*/ 331 h 1156"/>
                <a:gd name="T10" fmla="*/ 386 w 1111"/>
                <a:gd name="T11" fmla="*/ 992 h 1156"/>
                <a:gd name="T12" fmla="*/ 813 w 1111"/>
                <a:gd name="T13" fmla="*/ 1155 h 1156"/>
                <a:gd name="T14" fmla="*/ 1027 w 1111"/>
                <a:gd name="T15" fmla="*/ 750 h 1156"/>
                <a:gd name="T16" fmla="*/ 881 w 1111"/>
                <a:gd name="T17" fmla="*/ 0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1" h="1156">
                  <a:moveTo>
                    <a:pt x="881" y="0"/>
                  </a:moveTo>
                  <a:cubicBezTo>
                    <a:pt x="625" y="165"/>
                    <a:pt x="435" y="89"/>
                    <a:pt x="408" y="77"/>
                  </a:cubicBezTo>
                  <a:cubicBezTo>
                    <a:pt x="408" y="77"/>
                    <a:pt x="407" y="75"/>
                    <a:pt x="407" y="76"/>
                  </a:cubicBezTo>
                  <a:cubicBezTo>
                    <a:pt x="406" y="76"/>
                    <a:pt x="406" y="78"/>
                    <a:pt x="406" y="78"/>
                  </a:cubicBezTo>
                  <a:cubicBezTo>
                    <a:pt x="394" y="104"/>
                    <a:pt x="302" y="287"/>
                    <a:pt x="0" y="331"/>
                  </a:cubicBezTo>
                  <a:cubicBezTo>
                    <a:pt x="0" y="331"/>
                    <a:pt x="146" y="849"/>
                    <a:pt x="386" y="992"/>
                  </a:cubicBezTo>
                  <a:cubicBezTo>
                    <a:pt x="642" y="1145"/>
                    <a:pt x="813" y="1156"/>
                    <a:pt x="813" y="1155"/>
                  </a:cubicBezTo>
                  <a:cubicBezTo>
                    <a:pt x="814" y="1155"/>
                    <a:pt x="937" y="1035"/>
                    <a:pt x="1027" y="750"/>
                  </a:cubicBezTo>
                  <a:cubicBezTo>
                    <a:pt x="1111" y="484"/>
                    <a:pt x="881" y="0"/>
                    <a:pt x="881" y="0"/>
                  </a:cubicBezTo>
                </a:path>
              </a:pathLst>
            </a:custGeom>
            <a:solidFill>
              <a:srgbClr val="066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śļïḋê">
              <a:extLst>
                <a:ext uri="{FF2B5EF4-FFF2-40B4-BE49-F238E27FC236}">
                  <a16:creationId xmlns:a16="http://schemas.microsoft.com/office/drawing/2014/main" id="{B232EF47-AD4E-4258-97BA-B8C9BD503F1A}"/>
                </a:ext>
              </a:extLst>
            </p:cNvPr>
            <p:cNvSpPr/>
            <p:nvPr/>
          </p:nvSpPr>
          <p:spPr bwMode="auto">
            <a:xfrm>
              <a:off x="4510088" y="3095625"/>
              <a:ext cx="1211263" cy="1258888"/>
            </a:xfrm>
            <a:custGeom>
              <a:avLst/>
              <a:gdLst>
                <a:gd name="T0" fmla="*/ 799 w 1005"/>
                <a:gd name="T1" fmla="*/ 0 h 1044"/>
                <a:gd name="T2" fmla="*/ 371 w 1005"/>
                <a:gd name="T3" fmla="*/ 71 h 1044"/>
                <a:gd name="T4" fmla="*/ 370 w 1005"/>
                <a:gd name="T5" fmla="*/ 70 h 1044"/>
                <a:gd name="T6" fmla="*/ 369 w 1005"/>
                <a:gd name="T7" fmla="*/ 72 h 1044"/>
                <a:gd name="T8" fmla="*/ 0 w 1005"/>
                <a:gd name="T9" fmla="*/ 300 h 1044"/>
                <a:gd name="T10" fmla="*/ 346 w 1005"/>
                <a:gd name="T11" fmla="*/ 888 h 1044"/>
                <a:gd name="T12" fmla="*/ 736 w 1005"/>
                <a:gd name="T13" fmla="*/ 1043 h 1044"/>
                <a:gd name="T14" fmla="*/ 927 w 1005"/>
                <a:gd name="T15" fmla="*/ 669 h 1044"/>
                <a:gd name="T16" fmla="*/ 799 w 1005"/>
                <a:gd name="T17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5" h="1044">
                  <a:moveTo>
                    <a:pt x="799" y="0"/>
                  </a:moveTo>
                  <a:cubicBezTo>
                    <a:pt x="567" y="148"/>
                    <a:pt x="395" y="82"/>
                    <a:pt x="371" y="71"/>
                  </a:cubicBezTo>
                  <a:cubicBezTo>
                    <a:pt x="371" y="71"/>
                    <a:pt x="370" y="69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130" y="761"/>
                    <a:pt x="346" y="888"/>
                  </a:cubicBezTo>
                  <a:cubicBezTo>
                    <a:pt x="576" y="1023"/>
                    <a:pt x="736" y="1044"/>
                    <a:pt x="736" y="1043"/>
                  </a:cubicBezTo>
                  <a:cubicBezTo>
                    <a:pt x="737" y="1043"/>
                    <a:pt x="845" y="923"/>
                    <a:pt x="927" y="669"/>
                  </a:cubicBezTo>
                  <a:cubicBezTo>
                    <a:pt x="1005" y="431"/>
                    <a:pt x="799" y="0"/>
                    <a:pt x="799" y="0"/>
                  </a:cubicBezTo>
                </a:path>
              </a:pathLst>
            </a:custGeom>
            <a:solidFill>
              <a:srgbClr val="4498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sľïḋé">
              <a:extLst>
                <a:ext uri="{FF2B5EF4-FFF2-40B4-BE49-F238E27FC236}">
                  <a16:creationId xmlns:a16="http://schemas.microsoft.com/office/drawing/2014/main" id="{10E308AF-5D6C-4B4B-84B3-367F32D5CACA}"/>
                </a:ext>
              </a:extLst>
            </p:cNvPr>
            <p:cNvSpPr/>
            <p:nvPr/>
          </p:nvSpPr>
          <p:spPr bwMode="auto">
            <a:xfrm>
              <a:off x="4510088" y="3095625"/>
              <a:ext cx="990600" cy="425450"/>
            </a:xfrm>
            <a:custGeom>
              <a:avLst/>
              <a:gdLst>
                <a:gd name="T0" fmla="*/ 799 w 821"/>
                <a:gd name="T1" fmla="*/ 0 h 353"/>
                <a:gd name="T2" fmla="*/ 504 w 821"/>
                <a:gd name="T3" fmla="*/ 95 h 353"/>
                <a:gd name="T4" fmla="*/ 371 w 821"/>
                <a:gd name="T5" fmla="*/ 71 h 353"/>
                <a:gd name="T6" fmla="*/ 370 w 821"/>
                <a:gd name="T7" fmla="*/ 70 h 353"/>
                <a:gd name="T8" fmla="*/ 370 w 821"/>
                <a:gd name="T9" fmla="*/ 70 h 353"/>
                <a:gd name="T10" fmla="*/ 370 w 821"/>
                <a:gd name="T11" fmla="*/ 70 h 353"/>
                <a:gd name="T12" fmla="*/ 369 w 821"/>
                <a:gd name="T13" fmla="*/ 72 h 353"/>
                <a:gd name="T14" fmla="*/ 0 w 821"/>
                <a:gd name="T15" fmla="*/ 300 h 353"/>
                <a:gd name="T16" fmla="*/ 17 w 821"/>
                <a:gd name="T17" fmla="*/ 353 h 353"/>
                <a:gd name="T18" fmla="*/ 386 w 821"/>
                <a:gd name="T19" fmla="*/ 116 h 353"/>
                <a:gd name="T20" fmla="*/ 386 w 821"/>
                <a:gd name="T21" fmla="*/ 114 h 353"/>
                <a:gd name="T22" fmla="*/ 386 w 821"/>
                <a:gd name="T23" fmla="*/ 114 h 353"/>
                <a:gd name="T24" fmla="*/ 387 w 821"/>
                <a:gd name="T25" fmla="*/ 114 h 353"/>
                <a:gd name="T26" fmla="*/ 388 w 821"/>
                <a:gd name="T27" fmla="*/ 115 h 353"/>
                <a:gd name="T28" fmla="*/ 527 w 821"/>
                <a:gd name="T29" fmla="*/ 140 h 353"/>
                <a:gd name="T30" fmla="*/ 821 w 821"/>
                <a:gd name="T31" fmla="*/ 49 h 353"/>
                <a:gd name="T32" fmla="*/ 799 w 821"/>
                <a:gd name="T33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1" h="353">
                  <a:moveTo>
                    <a:pt x="799" y="0"/>
                  </a:moveTo>
                  <a:cubicBezTo>
                    <a:pt x="681" y="75"/>
                    <a:pt x="579" y="95"/>
                    <a:pt x="504" y="95"/>
                  </a:cubicBezTo>
                  <a:cubicBezTo>
                    <a:pt x="431" y="95"/>
                    <a:pt x="383" y="76"/>
                    <a:pt x="371" y="71"/>
                  </a:cubicBezTo>
                  <a:cubicBezTo>
                    <a:pt x="371" y="71"/>
                    <a:pt x="371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6" y="320"/>
                    <a:pt x="17" y="353"/>
                  </a:cubicBezTo>
                  <a:cubicBezTo>
                    <a:pt x="289" y="305"/>
                    <a:pt x="375" y="140"/>
                    <a:pt x="386" y="116"/>
                  </a:cubicBezTo>
                  <a:cubicBezTo>
                    <a:pt x="386" y="116"/>
                    <a:pt x="386" y="114"/>
                    <a:pt x="386" y="114"/>
                  </a:cubicBezTo>
                  <a:cubicBezTo>
                    <a:pt x="386" y="114"/>
                    <a:pt x="386" y="114"/>
                    <a:pt x="386" y="114"/>
                  </a:cubicBezTo>
                  <a:cubicBezTo>
                    <a:pt x="387" y="114"/>
                    <a:pt x="387" y="114"/>
                    <a:pt x="387" y="114"/>
                  </a:cubicBezTo>
                  <a:cubicBezTo>
                    <a:pt x="387" y="114"/>
                    <a:pt x="388" y="115"/>
                    <a:pt x="388" y="115"/>
                  </a:cubicBezTo>
                  <a:cubicBezTo>
                    <a:pt x="400" y="120"/>
                    <a:pt x="450" y="140"/>
                    <a:pt x="527" y="140"/>
                  </a:cubicBezTo>
                  <a:cubicBezTo>
                    <a:pt x="602" y="140"/>
                    <a:pt x="704" y="121"/>
                    <a:pt x="821" y="49"/>
                  </a:cubicBezTo>
                  <a:cubicBezTo>
                    <a:pt x="808" y="18"/>
                    <a:pt x="799" y="0"/>
                    <a:pt x="799" y="0"/>
                  </a:cubicBezTo>
                </a:path>
              </a:pathLst>
            </a:custGeom>
            <a:solidFill>
              <a:srgbClr val="408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ṧḷíḓé">
              <a:extLst>
                <a:ext uri="{FF2B5EF4-FFF2-40B4-BE49-F238E27FC236}">
                  <a16:creationId xmlns:a16="http://schemas.microsoft.com/office/drawing/2014/main" id="{A8100813-79EE-4135-9494-4A3CD7302A17}"/>
                </a:ext>
              </a:extLst>
            </p:cNvPr>
            <p:cNvSpPr/>
            <p:nvPr/>
          </p:nvSpPr>
          <p:spPr bwMode="auto">
            <a:xfrm>
              <a:off x="4451350" y="3563938"/>
              <a:ext cx="650875" cy="366713"/>
            </a:xfrm>
            <a:custGeom>
              <a:avLst/>
              <a:gdLst>
                <a:gd name="T0" fmla="*/ 0 w 410"/>
                <a:gd name="T1" fmla="*/ 161 h 231"/>
                <a:gd name="T2" fmla="*/ 89 w 410"/>
                <a:gd name="T3" fmla="*/ 79 h 231"/>
                <a:gd name="T4" fmla="*/ 389 w 410"/>
                <a:gd name="T5" fmla="*/ 0 h 231"/>
                <a:gd name="T6" fmla="*/ 410 w 410"/>
                <a:gd name="T7" fmla="*/ 55 h 231"/>
                <a:gd name="T8" fmla="*/ 143 w 410"/>
                <a:gd name="T9" fmla="*/ 231 h 231"/>
                <a:gd name="T10" fmla="*/ 54 w 410"/>
                <a:gd name="T11" fmla="*/ 231 h 231"/>
                <a:gd name="T12" fmla="*/ 0 w 410"/>
                <a:gd name="T13" fmla="*/ 16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" h="231">
                  <a:moveTo>
                    <a:pt x="0" y="161"/>
                  </a:moveTo>
                  <a:lnTo>
                    <a:pt x="89" y="79"/>
                  </a:lnTo>
                  <a:lnTo>
                    <a:pt x="389" y="0"/>
                  </a:lnTo>
                  <a:lnTo>
                    <a:pt x="410" y="55"/>
                  </a:lnTo>
                  <a:lnTo>
                    <a:pt x="143" y="231"/>
                  </a:lnTo>
                  <a:lnTo>
                    <a:pt x="54" y="231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8" name="i$1íḑê">
            <a:extLst>
              <a:ext uri="{FF2B5EF4-FFF2-40B4-BE49-F238E27FC236}">
                <a16:creationId xmlns:a16="http://schemas.microsoft.com/office/drawing/2014/main" id="{96479E3F-D591-4344-BD82-468C95BC5B72}"/>
              </a:ext>
            </a:extLst>
          </p:cNvPr>
          <p:cNvSpPr/>
          <p:nvPr/>
        </p:nvSpPr>
        <p:spPr>
          <a:xfrm rot="5400000">
            <a:off x="462604" y="1492378"/>
            <a:ext cx="4724646" cy="4356099"/>
          </a:xfrm>
          <a:prstGeom prst="blockArc">
            <a:avLst>
              <a:gd name="adj1" fmla="val 11276733"/>
              <a:gd name="adj2" fmla="val 20956921"/>
              <a:gd name="adj3" fmla="val 8266"/>
            </a:avLst>
          </a:prstGeom>
          <a:gradFill>
            <a:gsLst>
              <a:gs pos="0">
                <a:schemeClr val="bg1">
                  <a:lumMod val="85000"/>
                  <a:alpha val="51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503" name="8b3f14cc-9f84-41e8-8138-7054b945ee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9A955C2-EA32-4A68-8A1E-218E6C22101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0787" y="2381790"/>
            <a:ext cx="2574972" cy="2556606"/>
            <a:chOff x="3870325" y="1222375"/>
            <a:chExt cx="4451350" cy="4419601"/>
          </a:xfrm>
        </p:grpSpPr>
        <p:sp>
          <p:nvSpPr>
            <p:cNvPr id="504" name="iś1îḋé">
              <a:extLst>
                <a:ext uri="{FF2B5EF4-FFF2-40B4-BE49-F238E27FC236}">
                  <a16:creationId xmlns:a16="http://schemas.microsoft.com/office/drawing/2014/main" id="{2140A1A5-D1F9-469E-B43C-3432C43CBE1D}"/>
                </a:ext>
              </a:extLst>
            </p:cNvPr>
            <p:cNvSpPr/>
            <p:nvPr/>
          </p:nvSpPr>
          <p:spPr bwMode="auto">
            <a:xfrm>
              <a:off x="5173663" y="5332413"/>
              <a:ext cx="733425" cy="111125"/>
            </a:xfrm>
            <a:custGeom>
              <a:avLst/>
              <a:gdLst>
                <a:gd name="T0" fmla="*/ 36 w 277"/>
                <a:gd name="T1" fmla="*/ 0 h 42"/>
                <a:gd name="T2" fmla="*/ 241 w 277"/>
                <a:gd name="T3" fmla="*/ 0 h 42"/>
                <a:gd name="T4" fmla="*/ 277 w 277"/>
                <a:gd name="T5" fmla="*/ 36 h 42"/>
                <a:gd name="T6" fmla="*/ 277 w 277"/>
                <a:gd name="T7" fmla="*/ 42 h 42"/>
                <a:gd name="T8" fmla="*/ 0 w 277"/>
                <a:gd name="T9" fmla="*/ 42 h 42"/>
                <a:gd name="T10" fmla="*/ 0 w 277"/>
                <a:gd name="T11" fmla="*/ 36 h 42"/>
                <a:gd name="T12" fmla="*/ 36 w 277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42">
                  <a:moveTo>
                    <a:pt x="36" y="0"/>
                  </a:moveTo>
                  <a:cubicBezTo>
                    <a:pt x="241" y="0"/>
                    <a:pt x="241" y="0"/>
                    <a:pt x="241" y="0"/>
                  </a:cubicBezTo>
                  <a:cubicBezTo>
                    <a:pt x="261" y="0"/>
                    <a:pt x="277" y="16"/>
                    <a:pt x="277" y="36"/>
                  </a:cubicBezTo>
                  <a:cubicBezTo>
                    <a:pt x="277" y="42"/>
                    <a:pt x="277" y="42"/>
                    <a:pt x="277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lose/>
                </a:path>
              </a:pathLst>
            </a:cu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išlïḑé">
              <a:extLst>
                <a:ext uri="{FF2B5EF4-FFF2-40B4-BE49-F238E27FC236}">
                  <a16:creationId xmlns:a16="http://schemas.microsoft.com/office/drawing/2014/main" id="{18DFA911-C41A-4BB0-998F-852C31966C54}"/>
                </a:ext>
              </a:extLst>
            </p:cNvPr>
            <p:cNvSpPr/>
            <p:nvPr/>
          </p:nvSpPr>
          <p:spPr bwMode="auto">
            <a:xfrm>
              <a:off x="5043488" y="1544638"/>
              <a:ext cx="1077913" cy="3843338"/>
            </a:xfrm>
            <a:custGeom>
              <a:avLst/>
              <a:gdLst>
                <a:gd name="T0" fmla="*/ 406 w 407"/>
                <a:gd name="T1" fmla="*/ 187 h 1453"/>
                <a:gd name="T2" fmla="*/ 238 w 407"/>
                <a:gd name="T3" fmla="*/ 284 h 1453"/>
                <a:gd name="T4" fmla="*/ 155 w 407"/>
                <a:gd name="T5" fmla="*/ 237 h 1453"/>
                <a:gd name="T6" fmla="*/ 155 w 407"/>
                <a:gd name="T7" fmla="*/ 140 h 1453"/>
                <a:gd name="T8" fmla="*/ 322 w 407"/>
                <a:gd name="T9" fmla="*/ 44 h 1453"/>
                <a:gd name="T10" fmla="*/ 167 w 407"/>
                <a:gd name="T11" fmla="*/ 12 h 1453"/>
                <a:gd name="T12" fmla="*/ 10 w 407"/>
                <a:gd name="T13" fmla="*/ 179 h 1453"/>
                <a:gd name="T14" fmla="*/ 75 w 407"/>
                <a:gd name="T15" fmla="*/ 356 h 1453"/>
                <a:gd name="T16" fmla="*/ 96 w 407"/>
                <a:gd name="T17" fmla="*/ 401 h 1453"/>
                <a:gd name="T18" fmla="*/ 96 w 407"/>
                <a:gd name="T19" fmla="*/ 555 h 1453"/>
                <a:gd name="T20" fmla="*/ 73 w 407"/>
                <a:gd name="T21" fmla="*/ 1337 h 1453"/>
                <a:gd name="T22" fmla="*/ 186 w 407"/>
                <a:gd name="T23" fmla="*/ 1453 h 1453"/>
                <a:gd name="T24" fmla="*/ 186 w 407"/>
                <a:gd name="T25" fmla="*/ 1453 h 1453"/>
                <a:gd name="T26" fmla="*/ 299 w 407"/>
                <a:gd name="T27" fmla="*/ 1337 h 1453"/>
                <a:gd name="T28" fmla="*/ 276 w 407"/>
                <a:gd name="T29" fmla="*/ 555 h 1453"/>
                <a:gd name="T30" fmla="*/ 276 w 407"/>
                <a:gd name="T31" fmla="*/ 431 h 1453"/>
                <a:gd name="T32" fmla="*/ 307 w 407"/>
                <a:gd name="T33" fmla="*/ 380 h 1453"/>
                <a:gd name="T34" fmla="*/ 407 w 407"/>
                <a:gd name="T35" fmla="*/ 207 h 1453"/>
                <a:gd name="T36" fmla="*/ 406 w 407"/>
                <a:gd name="T37" fmla="*/ 187 h 1453"/>
                <a:gd name="T38" fmla="*/ 188 w 407"/>
                <a:gd name="T39" fmla="*/ 1386 h 1453"/>
                <a:gd name="T40" fmla="*/ 129 w 407"/>
                <a:gd name="T41" fmla="*/ 1327 h 1453"/>
                <a:gd name="T42" fmla="*/ 188 w 407"/>
                <a:gd name="T43" fmla="*/ 1268 h 1453"/>
                <a:gd name="T44" fmla="*/ 247 w 407"/>
                <a:gd name="T45" fmla="*/ 1327 h 1453"/>
                <a:gd name="T46" fmla="*/ 188 w 407"/>
                <a:gd name="T47" fmla="*/ 1386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7" h="1453">
                  <a:moveTo>
                    <a:pt x="406" y="187"/>
                  </a:moveTo>
                  <a:cubicBezTo>
                    <a:pt x="238" y="284"/>
                    <a:pt x="238" y="284"/>
                    <a:pt x="238" y="284"/>
                  </a:cubicBezTo>
                  <a:cubicBezTo>
                    <a:pt x="155" y="237"/>
                    <a:pt x="155" y="237"/>
                    <a:pt x="155" y="237"/>
                  </a:cubicBezTo>
                  <a:cubicBezTo>
                    <a:pt x="155" y="140"/>
                    <a:pt x="155" y="140"/>
                    <a:pt x="155" y="140"/>
                  </a:cubicBezTo>
                  <a:cubicBezTo>
                    <a:pt x="322" y="44"/>
                    <a:pt x="322" y="44"/>
                    <a:pt x="322" y="44"/>
                  </a:cubicBezTo>
                  <a:cubicBezTo>
                    <a:pt x="280" y="14"/>
                    <a:pt x="225" y="0"/>
                    <a:pt x="167" y="12"/>
                  </a:cubicBezTo>
                  <a:cubicBezTo>
                    <a:pt x="84" y="28"/>
                    <a:pt x="22" y="94"/>
                    <a:pt x="10" y="179"/>
                  </a:cubicBezTo>
                  <a:cubicBezTo>
                    <a:pt x="0" y="249"/>
                    <a:pt x="28" y="314"/>
                    <a:pt x="75" y="356"/>
                  </a:cubicBezTo>
                  <a:cubicBezTo>
                    <a:pt x="88" y="368"/>
                    <a:pt x="96" y="384"/>
                    <a:pt x="96" y="401"/>
                  </a:cubicBezTo>
                  <a:cubicBezTo>
                    <a:pt x="96" y="555"/>
                    <a:pt x="96" y="555"/>
                    <a:pt x="96" y="555"/>
                  </a:cubicBezTo>
                  <a:cubicBezTo>
                    <a:pt x="73" y="1337"/>
                    <a:pt x="73" y="1337"/>
                    <a:pt x="73" y="1337"/>
                  </a:cubicBezTo>
                  <a:cubicBezTo>
                    <a:pt x="72" y="1400"/>
                    <a:pt x="123" y="1453"/>
                    <a:pt x="186" y="1453"/>
                  </a:cubicBezTo>
                  <a:cubicBezTo>
                    <a:pt x="186" y="1453"/>
                    <a:pt x="186" y="1453"/>
                    <a:pt x="186" y="1453"/>
                  </a:cubicBezTo>
                  <a:cubicBezTo>
                    <a:pt x="250" y="1453"/>
                    <a:pt x="301" y="1400"/>
                    <a:pt x="299" y="1337"/>
                  </a:cubicBezTo>
                  <a:cubicBezTo>
                    <a:pt x="276" y="555"/>
                    <a:pt x="276" y="555"/>
                    <a:pt x="276" y="555"/>
                  </a:cubicBezTo>
                  <a:cubicBezTo>
                    <a:pt x="276" y="431"/>
                    <a:pt x="276" y="431"/>
                    <a:pt x="276" y="431"/>
                  </a:cubicBezTo>
                  <a:cubicBezTo>
                    <a:pt x="276" y="410"/>
                    <a:pt x="288" y="390"/>
                    <a:pt x="307" y="380"/>
                  </a:cubicBezTo>
                  <a:cubicBezTo>
                    <a:pt x="367" y="345"/>
                    <a:pt x="407" y="281"/>
                    <a:pt x="407" y="207"/>
                  </a:cubicBezTo>
                  <a:cubicBezTo>
                    <a:pt x="407" y="200"/>
                    <a:pt x="407" y="194"/>
                    <a:pt x="406" y="187"/>
                  </a:cubicBezTo>
                  <a:close/>
                  <a:moveTo>
                    <a:pt x="188" y="1386"/>
                  </a:moveTo>
                  <a:cubicBezTo>
                    <a:pt x="156" y="1386"/>
                    <a:pt x="129" y="1360"/>
                    <a:pt x="129" y="1327"/>
                  </a:cubicBezTo>
                  <a:cubicBezTo>
                    <a:pt x="129" y="1295"/>
                    <a:pt x="156" y="1268"/>
                    <a:pt x="188" y="1268"/>
                  </a:cubicBezTo>
                  <a:cubicBezTo>
                    <a:pt x="221" y="1268"/>
                    <a:pt x="247" y="1295"/>
                    <a:pt x="247" y="1327"/>
                  </a:cubicBezTo>
                  <a:cubicBezTo>
                    <a:pt x="247" y="1360"/>
                    <a:pt x="221" y="1386"/>
                    <a:pt x="188" y="1386"/>
                  </a:cubicBez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íŝḻïḍé">
              <a:extLst>
                <a:ext uri="{FF2B5EF4-FFF2-40B4-BE49-F238E27FC236}">
                  <a16:creationId xmlns:a16="http://schemas.microsoft.com/office/drawing/2014/main" id="{5B009DC3-5D13-45AC-9B0A-27F638DC0230}"/>
                </a:ext>
              </a:extLst>
            </p:cNvPr>
            <p:cNvSpPr/>
            <p:nvPr/>
          </p:nvSpPr>
          <p:spPr bwMode="auto">
            <a:xfrm>
              <a:off x="5453063" y="2038350"/>
              <a:ext cx="665163" cy="328613"/>
            </a:xfrm>
            <a:custGeom>
              <a:avLst/>
              <a:gdLst>
                <a:gd name="T0" fmla="*/ 0 w 419"/>
                <a:gd name="T1" fmla="*/ 84 h 207"/>
                <a:gd name="T2" fmla="*/ 0 w 419"/>
                <a:gd name="T3" fmla="*/ 125 h 207"/>
                <a:gd name="T4" fmla="*/ 149 w 419"/>
                <a:gd name="T5" fmla="*/ 207 h 207"/>
                <a:gd name="T6" fmla="*/ 419 w 419"/>
                <a:gd name="T7" fmla="*/ 0 h 207"/>
                <a:gd name="T8" fmla="*/ 139 w 419"/>
                <a:gd name="T9" fmla="*/ 162 h 207"/>
                <a:gd name="T10" fmla="*/ 0 w 419"/>
                <a:gd name="T11" fmla="*/ 8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207">
                  <a:moveTo>
                    <a:pt x="0" y="84"/>
                  </a:moveTo>
                  <a:lnTo>
                    <a:pt x="0" y="125"/>
                  </a:lnTo>
                  <a:lnTo>
                    <a:pt x="149" y="207"/>
                  </a:lnTo>
                  <a:lnTo>
                    <a:pt x="419" y="0"/>
                  </a:lnTo>
                  <a:lnTo>
                    <a:pt x="139" y="16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7" name="î$lîḋê">
              <a:extLst>
                <a:ext uri="{FF2B5EF4-FFF2-40B4-BE49-F238E27FC236}">
                  <a16:creationId xmlns:a16="http://schemas.microsoft.com/office/drawing/2014/main" id="{103ACE64-A4A2-4446-8AFB-037D6DA1FA89}"/>
                </a:ext>
              </a:extLst>
            </p:cNvPr>
            <p:cNvSpPr/>
            <p:nvPr/>
          </p:nvSpPr>
          <p:spPr bwMode="auto">
            <a:xfrm>
              <a:off x="5419725" y="1636713"/>
              <a:ext cx="476250" cy="600075"/>
            </a:xfrm>
            <a:custGeom>
              <a:avLst/>
              <a:gdLst>
                <a:gd name="T0" fmla="*/ 21 w 300"/>
                <a:gd name="T1" fmla="*/ 378 h 378"/>
                <a:gd name="T2" fmla="*/ 0 w 300"/>
                <a:gd name="T3" fmla="*/ 367 h 378"/>
                <a:gd name="T4" fmla="*/ 0 w 300"/>
                <a:gd name="T5" fmla="*/ 163 h 378"/>
                <a:gd name="T6" fmla="*/ 277 w 300"/>
                <a:gd name="T7" fmla="*/ 0 h 378"/>
                <a:gd name="T8" fmla="*/ 300 w 300"/>
                <a:gd name="T9" fmla="*/ 15 h 378"/>
                <a:gd name="T10" fmla="*/ 21 w 300"/>
                <a:gd name="T11" fmla="*/ 175 h 378"/>
                <a:gd name="T12" fmla="*/ 21 w 300"/>
                <a:gd name="T13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0" h="378">
                  <a:moveTo>
                    <a:pt x="21" y="378"/>
                  </a:moveTo>
                  <a:lnTo>
                    <a:pt x="0" y="367"/>
                  </a:lnTo>
                  <a:lnTo>
                    <a:pt x="0" y="163"/>
                  </a:lnTo>
                  <a:lnTo>
                    <a:pt x="277" y="0"/>
                  </a:lnTo>
                  <a:lnTo>
                    <a:pt x="300" y="15"/>
                  </a:lnTo>
                  <a:lnTo>
                    <a:pt x="21" y="175"/>
                  </a:lnTo>
                  <a:lnTo>
                    <a:pt x="21" y="378"/>
                  </a:ln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8" name="íṥlïḓè">
              <a:extLst>
                <a:ext uri="{FF2B5EF4-FFF2-40B4-BE49-F238E27FC236}">
                  <a16:creationId xmlns:a16="http://schemas.microsoft.com/office/drawing/2014/main" id="{39894FE3-7072-4308-BF5F-6CD646EF35CE}"/>
                </a:ext>
              </a:extLst>
            </p:cNvPr>
            <p:cNvSpPr/>
            <p:nvPr/>
          </p:nvSpPr>
          <p:spPr bwMode="auto">
            <a:xfrm>
              <a:off x="5043488" y="1560513"/>
              <a:ext cx="693738" cy="3827463"/>
            </a:xfrm>
            <a:custGeom>
              <a:avLst/>
              <a:gdLst>
                <a:gd name="T0" fmla="*/ 160 w 262"/>
                <a:gd name="T1" fmla="*/ 1423 h 1447"/>
                <a:gd name="T2" fmla="*/ 94 w 262"/>
                <a:gd name="T3" fmla="*/ 1307 h 1447"/>
                <a:gd name="T4" fmla="*/ 120 w 262"/>
                <a:gd name="T5" fmla="*/ 394 h 1447"/>
                <a:gd name="T6" fmla="*/ 39 w 262"/>
                <a:gd name="T7" fmla="*/ 177 h 1447"/>
                <a:gd name="T8" fmla="*/ 262 w 262"/>
                <a:gd name="T9" fmla="*/ 10 h 1447"/>
                <a:gd name="T10" fmla="*/ 179 w 262"/>
                <a:gd name="T11" fmla="*/ 4 h 1447"/>
                <a:gd name="T12" fmla="*/ 10 w 262"/>
                <a:gd name="T13" fmla="*/ 172 h 1447"/>
                <a:gd name="T14" fmla="*/ 77 w 262"/>
                <a:gd name="T15" fmla="*/ 352 h 1447"/>
                <a:gd name="T16" fmla="*/ 96 w 262"/>
                <a:gd name="T17" fmla="*/ 395 h 1447"/>
                <a:gd name="T18" fmla="*/ 96 w 262"/>
                <a:gd name="T19" fmla="*/ 519 h 1447"/>
                <a:gd name="T20" fmla="*/ 96 w 262"/>
                <a:gd name="T21" fmla="*/ 519 h 1447"/>
                <a:gd name="T22" fmla="*/ 96 w 262"/>
                <a:gd name="T23" fmla="*/ 549 h 1447"/>
                <a:gd name="T24" fmla="*/ 73 w 262"/>
                <a:gd name="T25" fmla="*/ 1331 h 1447"/>
                <a:gd name="T26" fmla="*/ 186 w 262"/>
                <a:gd name="T27" fmla="*/ 1447 h 1447"/>
                <a:gd name="T28" fmla="*/ 254 w 262"/>
                <a:gd name="T29" fmla="*/ 1424 h 1447"/>
                <a:gd name="T30" fmla="*/ 160 w 262"/>
                <a:gd name="T31" fmla="*/ 1423 h 1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2" h="1447">
                  <a:moveTo>
                    <a:pt x="160" y="1423"/>
                  </a:moveTo>
                  <a:cubicBezTo>
                    <a:pt x="115" y="1407"/>
                    <a:pt x="94" y="1368"/>
                    <a:pt x="94" y="1307"/>
                  </a:cubicBezTo>
                  <a:cubicBezTo>
                    <a:pt x="94" y="1207"/>
                    <a:pt x="120" y="441"/>
                    <a:pt x="120" y="394"/>
                  </a:cubicBezTo>
                  <a:cubicBezTo>
                    <a:pt x="120" y="318"/>
                    <a:pt x="21" y="318"/>
                    <a:pt x="39" y="177"/>
                  </a:cubicBezTo>
                  <a:cubicBezTo>
                    <a:pt x="58" y="30"/>
                    <a:pt x="207" y="2"/>
                    <a:pt x="262" y="10"/>
                  </a:cubicBezTo>
                  <a:cubicBezTo>
                    <a:pt x="236" y="2"/>
                    <a:pt x="208" y="0"/>
                    <a:pt x="179" y="4"/>
                  </a:cubicBezTo>
                  <a:cubicBezTo>
                    <a:pt x="92" y="16"/>
                    <a:pt x="22" y="86"/>
                    <a:pt x="10" y="172"/>
                  </a:cubicBezTo>
                  <a:cubicBezTo>
                    <a:pt x="0" y="244"/>
                    <a:pt x="28" y="309"/>
                    <a:pt x="77" y="352"/>
                  </a:cubicBezTo>
                  <a:cubicBezTo>
                    <a:pt x="90" y="363"/>
                    <a:pt x="96" y="379"/>
                    <a:pt x="96" y="395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49"/>
                    <a:pt x="96" y="549"/>
                    <a:pt x="96" y="549"/>
                  </a:cubicBezTo>
                  <a:cubicBezTo>
                    <a:pt x="73" y="1331"/>
                    <a:pt x="73" y="1331"/>
                    <a:pt x="73" y="1331"/>
                  </a:cubicBezTo>
                  <a:cubicBezTo>
                    <a:pt x="72" y="1394"/>
                    <a:pt x="123" y="1447"/>
                    <a:pt x="186" y="1447"/>
                  </a:cubicBezTo>
                  <a:cubicBezTo>
                    <a:pt x="212" y="1447"/>
                    <a:pt x="235" y="1438"/>
                    <a:pt x="254" y="1424"/>
                  </a:cubicBezTo>
                  <a:cubicBezTo>
                    <a:pt x="255" y="1423"/>
                    <a:pt x="208" y="1441"/>
                    <a:pt x="160" y="1423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9" name="îṥľîḑè">
              <a:extLst>
                <a:ext uri="{FF2B5EF4-FFF2-40B4-BE49-F238E27FC236}">
                  <a16:creationId xmlns:a16="http://schemas.microsoft.com/office/drawing/2014/main" id="{BD1F1B36-7355-4FFD-8AA0-00D392E20FA6}"/>
                </a:ext>
              </a:extLst>
            </p:cNvPr>
            <p:cNvSpPr/>
            <p:nvPr/>
          </p:nvSpPr>
          <p:spPr bwMode="auto">
            <a:xfrm>
              <a:off x="5740400" y="2038350"/>
              <a:ext cx="381000" cy="3167063"/>
            </a:xfrm>
            <a:custGeom>
              <a:avLst/>
              <a:gdLst>
                <a:gd name="T0" fmla="*/ 143 w 144"/>
                <a:gd name="T1" fmla="*/ 0 h 1197"/>
                <a:gd name="T2" fmla="*/ 132 w 144"/>
                <a:gd name="T3" fmla="*/ 6 h 1197"/>
                <a:gd name="T4" fmla="*/ 108 w 144"/>
                <a:gd name="T5" fmla="*/ 114 h 1197"/>
                <a:gd name="T6" fmla="*/ 12 w 144"/>
                <a:gd name="T7" fmla="*/ 205 h 1197"/>
                <a:gd name="T8" fmla="*/ 2 w 144"/>
                <a:gd name="T9" fmla="*/ 284 h 1197"/>
                <a:gd name="T10" fmla="*/ 27 w 144"/>
                <a:gd name="T11" fmla="*/ 1035 h 1197"/>
                <a:gd name="T12" fmla="*/ 27 w 144"/>
                <a:gd name="T13" fmla="*/ 1197 h 1197"/>
                <a:gd name="T14" fmla="*/ 36 w 144"/>
                <a:gd name="T15" fmla="*/ 1150 h 1197"/>
                <a:gd name="T16" fmla="*/ 13 w 144"/>
                <a:gd name="T17" fmla="*/ 368 h 1197"/>
                <a:gd name="T18" fmla="*/ 13 w 144"/>
                <a:gd name="T19" fmla="*/ 355 h 1197"/>
                <a:gd name="T20" fmla="*/ 13 w 144"/>
                <a:gd name="T21" fmla="*/ 355 h 1197"/>
                <a:gd name="T22" fmla="*/ 13 w 144"/>
                <a:gd name="T23" fmla="*/ 244 h 1197"/>
                <a:gd name="T24" fmla="*/ 44 w 144"/>
                <a:gd name="T25" fmla="*/ 193 h 1197"/>
                <a:gd name="T26" fmla="*/ 144 w 144"/>
                <a:gd name="T27" fmla="*/ 20 h 1197"/>
                <a:gd name="T28" fmla="*/ 143 w 144"/>
                <a:gd name="T29" fmla="*/ 0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1197">
                  <a:moveTo>
                    <a:pt x="143" y="0"/>
                  </a:moveTo>
                  <a:cubicBezTo>
                    <a:pt x="132" y="6"/>
                    <a:pt x="132" y="6"/>
                    <a:pt x="132" y="6"/>
                  </a:cubicBezTo>
                  <a:cubicBezTo>
                    <a:pt x="132" y="6"/>
                    <a:pt x="138" y="60"/>
                    <a:pt x="108" y="114"/>
                  </a:cubicBezTo>
                  <a:cubicBezTo>
                    <a:pt x="78" y="168"/>
                    <a:pt x="38" y="169"/>
                    <a:pt x="12" y="205"/>
                  </a:cubicBezTo>
                  <a:cubicBezTo>
                    <a:pt x="0" y="220"/>
                    <a:pt x="1" y="246"/>
                    <a:pt x="2" y="284"/>
                  </a:cubicBezTo>
                  <a:cubicBezTo>
                    <a:pt x="2" y="308"/>
                    <a:pt x="15" y="789"/>
                    <a:pt x="27" y="1035"/>
                  </a:cubicBezTo>
                  <a:cubicBezTo>
                    <a:pt x="30" y="1101"/>
                    <a:pt x="36" y="1163"/>
                    <a:pt x="27" y="1197"/>
                  </a:cubicBezTo>
                  <a:cubicBezTo>
                    <a:pt x="33" y="1183"/>
                    <a:pt x="37" y="1167"/>
                    <a:pt x="36" y="1150"/>
                  </a:cubicBezTo>
                  <a:cubicBezTo>
                    <a:pt x="13" y="368"/>
                    <a:pt x="13" y="368"/>
                    <a:pt x="13" y="368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244"/>
                    <a:pt x="13" y="244"/>
                    <a:pt x="13" y="244"/>
                  </a:cubicBezTo>
                  <a:cubicBezTo>
                    <a:pt x="13" y="223"/>
                    <a:pt x="25" y="203"/>
                    <a:pt x="44" y="193"/>
                  </a:cubicBezTo>
                  <a:cubicBezTo>
                    <a:pt x="104" y="158"/>
                    <a:pt x="144" y="94"/>
                    <a:pt x="144" y="20"/>
                  </a:cubicBezTo>
                  <a:cubicBezTo>
                    <a:pt x="144" y="13"/>
                    <a:pt x="144" y="7"/>
                    <a:pt x="143" y="0"/>
                  </a:cubicBez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0" name="íšľîḋé">
              <a:extLst>
                <a:ext uri="{FF2B5EF4-FFF2-40B4-BE49-F238E27FC236}">
                  <a16:creationId xmlns:a16="http://schemas.microsoft.com/office/drawing/2014/main" id="{77706F0F-1BF6-4B79-9B2F-4366DC575D85}"/>
                </a:ext>
              </a:extLst>
            </p:cNvPr>
            <p:cNvSpPr/>
            <p:nvPr/>
          </p:nvSpPr>
          <p:spPr bwMode="auto">
            <a:xfrm>
              <a:off x="5372100" y="2608263"/>
              <a:ext cx="333375" cy="2208213"/>
            </a:xfrm>
            <a:custGeom>
              <a:avLst/>
              <a:gdLst>
                <a:gd name="T0" fmla="*/ 126 w 126"/>
                <a:gd name="T1" fmla="*/ 833 h 835"/>
                <a:gd name="T2" fmla="*/ 109 w 126"/>
                <a:gd name="T3" fmla="*/ 824 h 835"/>
                <a:gd name="T4" fmla="*/ 64 w 126"/>
                <a:gd name="T5" fmla="*/ 814 h 835"/>
                <a:gd name="T6" fmla="*/ 56 w 126"/>
                <a:gd name="T7" fmla="*/ 815 h 835"/>
                <a:gd name="T8" fmla="*/ 0 w 126"/>
                <a:gd name="T9" fmla="*/ 835 h 835"/>
                <a:gd name="T10" fmla="*/ 1 w 126"/>
                <a:gd name="T11" fmla="*/ 824 h 835"/>
                <a:gd name="T12" fmla="*/ 25 w 126"/>
                <a:gd name="T13" fmla="*/ 39 h 835"/>
                <a:gd name="T14" fmla="*/ 37 w 126"/>
                <a:gd name="T15" fmla="*/ 11 h 835"/>
                <a:gd name="T16" fmla="*/ 57 w 126"/>
                <a:gd name="T17" fmla="*/ 1 h 835"/>
                <a:gd name="T18" fmla="*/ 65 w 126"/>
                <a:gd name="T19" fmla="*/ 0 h 835"/>
                <a:gd name="T20" fmla="*/ 105 w 126"/>
                <a:gd name="T21" fmla="*/ 39 h 835"/>
                <a:gd name="T22" fmla="*/ 126 w 126"/>
                <a:gd name="T23" fmla="*/ 833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6" h="835">
                  <a:moveTo>
                    <a:pt x="126" y="833"/>
                  </a:moveTo>
                  <a:cubicBezTo>
                    <a:pt x="121" y="829"/>
                    <a:pt x="115" y="826"/>
                    <a:pt x="109" y="824"/>
                  </a:cubicBezTo>
                  <a:cubicBezTo>
                    <a:pt x="95" y="818"/>
                    <a:pt x="80" y="814"/>
                    <a:pt x="64" y="814"/>
                  </a:cubicBezTo>
                  <a:cubicBezTo>
                    <a:pt x="61" y="814"/>
                    <a:pt x="59" y="814"/>
                    <a:pt x="56" y="815"/>
                  </a:cubicBezTo>
                  <a:cubicBezTo>
                    <a:pt x="35" y="816"/>
                    <a:pt x="16" y="823"/>
                    <a:pt x="0" y="835"/>
                  </a:cubicBezTo>
                  <a:cubicBezTo>
                    <a:pt x="1" y="824"/>
                    <a:pt x="1" y="824"/>
                    <a:pt x="1" y="82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6" y="28"/>
                    <a:pt x="30" y="18"/>
                    <a:pt x="37" y="11"/>
                  </a:cubicBezTo>
                  <a:cubicBezTo>
                    <a:pt x="43" y="6"/>
                    <a:pt x="49" y="2"/>
                    <a:pt x="57" y="1"/>
                  </a:cubicBezTo>
                  <a:cubicBezTo>
                    <a:pt x="59" y="0"/>
                    <a:pt x="62" y="0"/>
                    <a:pt x="65" y="0"/>
                  </a:cubicBezTo>
                  <a:cubicBezTo>
                    <a:pt x="87" y="0"/>
                    <a:pt x="105" y="17"/>
                    <a:pt x="105" y="39"/>
                  </a:cubicBezTo>
                  <a:lnTo>
                    <a:pt x="126" y="833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1" name="îṩlîḓè">
              <a:extLst>
                <a:ext uri="{FF2B5EF4-FFF2-40B4-BE49-F238E27FC236}">
                  <a16:creationId xmlns:a16="http://schemas.microsoft.com/office/drawing/2014/main" id="{EA9A78A7-637B-4D51-A22D-0C3F39A4D9C7}"/>
                </a:ext>
              </a:extLst>
            </p:cNvPr>
            <p:cNvSpPr/>
            <p:nvPr/>
          </p:nvSpPr>
          <p:spPr bwMode="auto">
            <a:xfrm>
              <a:off x="5372100" y="2609850"/>
              <a:ext cx="288925" cy="2206625"/>
            </a:xfrm>
            <a:custGeom>
              <a:avLst/>
              <a:gdLst>
                <a:gd name="T0" fmla="*/ 109 w 109"/>
                <a:gd name="T1" fmla="*/ 823 h 834"/>
                <a:gd name="T2" fmla="*/ 0 w 109"/>
                <a:gd name="T3" fmla="*/ 834 h 834"/>
                <a:gd name="T4" fmla="*/ 25 w 109"/>
                <a:gd name="T5" fmla="*/ 38 h 834"/>
                <a:gd name="T6" fmla="*/ 37 w 109"/>
                <a:gd name="T7" fmla="*/ 10 h 834"/>
                <a:gd name="T8" fmla="*/ 57 w 109"/>
                <a:gd name="T9" fmla="*/ 0 h 834"/>
                <a:gd name="T10" fmla="*/ 88 w 109"/>
                <a:gd name="T11" fmla="*/ 38 h 834"/>
                <a:gd name="T12" fmla="*/ 109 w 109"/>
                <a:gd name="T13" fmla="*/ 823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834">
                  <a:moveTo>
                    <a:pt x="109" y="823"/>
                  </a:moveTo>
                  <a:cubicBezTo>
                    <a:pt x="75" y="811"/>
                    <a:pt x="38" y="807"/>
                    <a:pt x="0" y="834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27"/>
                    <a:pt x="30" y="17"/>
                    <a:pt x="37" y="10"/>
                  </a:cubicBezTo>
                  <a:cubicBezTo>
                    <a:pt x="43" y="5"/>
                    <a:pt x="49" y="1"/>
                    <a:pt x="57" y="0"/>
                  </a:cubicBezTo>
                  <a:cubicBezTo>
                    <a:pt x="74" y="4"/>
                    <a:pt x="88" y="19"/>
                    <a:pt x="88" y="38"/>
                  </a:cubicBezTo>
                  <a:cubicBezTo>
                    <a:pt x="109" y="823"/>
                    <a:pt x="109" y="823"/>
                    <a:pt x="109" y="82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2" name="ïsľîḍe">
              <a:extLst>
                <a:ext uri="{FF2B5EF4-FFF2-40B4-BE49-F238E27FC236}">
                  <a16:creationId xmlns:a16="http://schemas.microsoft.com/office/drawing/2014/main" id="{DEF16381-D280-4F5E-A5CF-F78D44095A3D}"/>
                </a:ext>
              </a:extLst>
            </p:cNvPr>
            <p:cNvSpPr/>
            <p:nvPr/>
          </p:nvSpPr>
          <p:spPr bwMode="auto">
            <a:xfrm>
              <a:off x="5387975" y="5032375"/>
              <a:ext cx="309563" cy="177800"/>
            </a:xfrm>
            <a:custGeom>
              <a:avLst/>
              <a:gdLst>
                <a:gd name="T0" fmla="*/ 117 w 117"/>
                <a:gd name="T1" fmla="*/ 8 h 67"/>
                <a:gd name="T2" fmla="*/ 58 w 117"/>
                <a:gd name="T3" fmla="*/ 67 h 67"/>
                <a:gd name="T4" fmla="*/ 0 w 117"/>
                <a:gd name="T5" fmla="*/ 8 h 67"/>
                <a:gd name="T6" fmla="*/ 0 w 117"/>
                <a:gd name="T7" fmla="*/ 0 h 67"/>
                <a:gd name="T8" fmla="*/ 58 w 117"/>
                <a:gd name="T9" fmla="*/ 50 h 67"/>
                <a:gd name="T10" fmla="*/ 117 w 117"/>
                <a:gd name="T11" fmla="*/ 0 h 67"/>
                <a:gd name="T12" fmla="*/ 117 w 117"/>
                <a:gd name="T13" fmla="*/ 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67">
                  <a:moveTo>
                    <a:pt x="117" y="8"/>
                  </a:moveTo>
                  <a:cubicBezTo>
                    <a:pt x="117" y="41"/>
                    <a:pt x="91" y="67"/>
                    <a:pt x="58" y="67"/>
                  </a:cubicBezTo>
                  <a:cubicBezTo>
                    <a:pt x="26" y="67"/>
                    <a:pt x="0" y="41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  <a:cubicBezTo>
                    <a:pt x="4" y="28"/>
                    <a:pt x="29" y="50"/>
                    <a:pt x="58" y="50"/>
                  </a:cubicBezTo>
                  <a:cubicBezTo>
                    <a:pt x="88" y="50"/>
                    <a:pt x="113" y="28"/>
                    <a:pt x="117" y="0"/>
                  </a:cubicBezTo>
                  <a:cubicBezTo>
                    <a:pt x="117" y="3"/>
                    <a:pt x="117" y="5"/>
                    <a:pt x="117" y="8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3" name="ïṩ1íḋé">
              <a:extLst>
                <a:ext uri="{FF2B5EF4-FFF2-40B4-BE49-F238E27FC236}">
                  <a16:creationId xmlns:a16="http://schemas.microsoft.com/office/drawing/2014/main" id="{D2564FE4-A153-4F22-BA63-69F41240A476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4" name="í$lïde">
              <a:extLst>
                <a:ext uri="{FF2B5EF4-FFF2-40B4-BE49-F238E27FC236}">
                  <a16:creationId xmlns:a16="http://schemas.microsoft.com/office/drawing/2014/main" id="{72F2BD48-BC50-4310-B72A-EFE402D90DB8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custGeom>
              <a:avLst/>
              <a:gdLst>
                <a:gd name="T0" fmla="*/ 0 w 565"/>
                <a:gd name="T1" fmla="*/ 91 h 91"/>
                <a:gd name="T2" fmla="*/ 565 w 565"/>
                <a:gd name="T3" fmla="*/ 0 h 91"/>
                <a:gd name="T4" fmla="*/ 0 w 565"/>
                <a:gd name="T5" fmla="*/ 0 h 91"/>
                <a:gd name="T6" fmla="*/ 0 w 565"/>
                <a:gd name="T7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91">
                  <a:moveTo>
                    <a:pt x="0" y="91"/>
                  </a:moveTo>
                  <a:lnTo>
                    <a:pt x="565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5" name="íṧ1íḑé">
              <a:extLst>
                <a:ext uri="{FF2B5EF4-FFF2-40B4-BE49-F238E27FC236}">
                  <a16:creationId xmlns:a16="http://schemas.microsoft.com/office/drawing/2014/main" id="{CAF5F313-57A5-40E3-9E31-3203F11BEC4D}"/>
                </a:ext>
              </a:extLst>
            </p:cNvPr>
            <p:cNvSpPr/>
            <p:nvPr/>
          </p:nvSpPr>
          <p:spPr bwMode="auto">
            <a:xfrm>
              <a:off x="5035550" y="5588000"/>
              <a:ext cx="1006475" cy="53975"/>
            </a:xfrm>
            <a:prstGeom prst="rect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6" name="isḻîďé">
              <a:extLst>
                <a:ext uri="{FF2B5EF4-FFF2-40B4-BE49-F238E27FC236}">
                  <a16:creationId xmlns:a16="http://schemas.microsoft.com/office/drawing/2014/main" id="{5A49CA1A-67FB-492C-BD21-621B4DCFD536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249238"/>
            </a:xfrm>
            <a:custGeom>
              <a:avLst/>
              <a:gdLst>
                <a:gd name="T0" fmla="*/ 142 w 147"/>
                <a:gd name="T1" fmla="*/ 157 h 157"/>
                <a:gd name="T2" fmla="*/ 7 w 147"/>
                <a:gd name="T3" fmla="*/ 157 h 157"/>
                <a:gd name="T4" fmla="*/ 0 w 147"/>
                <a:gd name="T5" fmla="*/ 0 h 157"/>
                <a:gd name="T6" fmla="*/ 147 w 147"/>
                <a:gd name="T7" fmla="*/ 0 h 157"/>
                <a:gd name="T8" fmla="*/ 142 w 147"/>
                <a:gd name="T9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7">
                  <a:moveTo>
                    <a:pt x="142" y="157"/>
                  </a:moveTo>
                  <a:lnTo>
                    <a:pt x="7" y="157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7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7" name="îṣḷîḋé">
              <a:extLst>
                <a:ext uri="{FF2B5EF4-FFF2-40B4-BE49-F238E27FC236}">
                  <a16:creationId xmlns:a16="http://schemas.microsoft.com/office/drawing/2014/main" id="{E25F0C7E-D155-4626-98E8-6BD1BCAD3637}"/>
                </a:ext>
              </a:extLst>
            </p:cNvPr>
            <p:cNvSpPr/>
            <p:nvPr/>
          </p:nvSpPr>
          <p:spPr bwMode="auto">
            <a:xfrm>
              <a:off x="3875088" y="5392738"/>
              <a:ext cx="225425" cy="249238"/>
            </a:xfrm>
            <a:custGeom>
              <a:avLst/>
              <a:gdLst>
                <a:gd name="T0" fmla="*/ 0 w 85"/>
                <a:gd name="T1" fmla="*/ 0 h 94"/>
                <a:gd name="T2" fmla="*/ 32 w 85"/>
                <a:gd name="T3" fmla="*/ 74 h 94"/>
                <a:gd name="T4" fmla="*/ 85 w 85"/>
                <a:gd name="T5" fmla="*/ 74 h 94"/>
                <a:gd name="T6" fmla="*/ 85 w 85"/>
                <a:gd name="T7" fmla="*/ 94 h 94"/>
                <a:gd name="T8" fmla="*/ 4 w 85"/>
                <a:gd name="T9" fmla="*/ 94 h 94"/>
                <a:gd name="T10" fmla="*/ 0 w 85"/>
                <a:gd name="T11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4">
                  <a:moveTo>
                    <a:pt x="0" y="0"/>
                  </a:moveTo>
                  <a:cubicBezTo>
                    <a:pt x="0" y="0"/>
                    <a:pt x="3" y="55"/>
                    <a:pt x="32" y="74"/>
                  </a:cubicBezTo>
                  <a:cubicBezTo>
                    <a:pt x="61" y="94"/>
                    <a:pt x="85" y="74"/>
                    <a:pt x="85" y="74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4" y="94"/>
                    <a:pt x="4" y="94"/>
                    <a:pt x="4" y="9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8" name="ïslíḓe">
              <a:extLst>
                <a:ext uri="{FF2B5EF4-FFF2-40B4-BE49-F238E27FC236}">
                  <a16:creationId xmlns:a16="http://schemas.microsoft.com/office/drawing/2014/main" id="{29C868C1-3009-422B-AF69-AFB2C25B27C8}"/>
                </a:ext>
              </a:extLst>
            </p:cNvPr>
            <p:cNvSpPr/>
            <p:nvPr/>
          </p:nvSpPr>
          <p:spPr bwMode="auto">
            <a:xfrm>
              <a:off x="3943350" y="5411788"/>
              <a:ext cx="26988" cy="25400"/>
            </a:xfrm>
            <a:custGeom>
              <a:avLst/>
              <a:gdLst>
                <a:gd name="T0" fmla="*/ 0 w 10"/>
                <a:gd name="T1" fmla="*/ 5 h 10"/>
                <a:gd name="T2" fmla="*/ 5 w 10"/>
                <a:gd name="T3" fmla="*/ 1 h 10"/>
                <a:gd name="T4" fmla="*/ 9 w 10"/>
                <a:gd name="T5" fmla="*/ 6 h 10"/>
                <a:gd name="T6" fmla="*/ 4 w 10"/>
                <a:gd name="T7" fmla="*/ 10 h 10"/>
                <a:gd name="T8" fmla="*/ 0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5"/>
                  </a:moveTo>
                  <a:cubicBezTo>
                    <a:pt x="0" y="2"/>
                    <a:pt x="3" y="0"/>
                    <a:pt x="5" y="1"/>
                  </a:cubicBezTo>
                  <a:cubicBezTo>
                    <a:pt x="8" y="1"/>
                    <a:pt x="10" y="3"/>
                    <a:pt x="9" y="6"/>
                  </a:cubicBezTo>
                  <a:cubicBezTo>
                    <a:pt x="9" y="8"/>
                    <a:pt x="7" y="10"/>
                    <a:pt x="4" y="10"/>
                  </a:cubicBezTo>
                  <a:cubicBezTo>
                    <a:pt x="2" y="10"/>
                    <a:pt x="0" y="7"/>
                    <a:pt x="0" y="5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9" name="íSļîḋe">
              <a:extLst>
                <a:ext uri="{FF2B5EF4-FFF2-40B4-BE49-F238E27FC236}">
                  <a16:creationId xmlns:a16="http://schemas.microsoft.com/office/drawing/2014/main" id="{33D22A43-2DC0-43BD-9981-3A364F73FEE0}"/>
                </a:ext>
              </a:extLst>
            </p:cNvPr>
            <p:cNvSpPr/>
            <p:nvPr/>
          </p:nvSpPr>
          <p:spPr bwMode="auto">
            <a:xfrm>
              <a:off x="3957638" y="5424488"/>
              <a:ext cx="171450" cy="123825"/>
            </a:xfrm>
            <a:custGeom>
              <a:avLst/>
              <a:gdLst>
                <a:gd name="T0" fmla="*/ 0 w 65"/>
                <a:gd name="T1" fmla="*/ 0 h 47"/>
                <a:gd name="T2" fmla="*/ 65 w 65"/>
                <a:gd name="T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7">
                  <a:moveTo>
                    <a:pt x="0" y="0"/>
                  </a:moveTo>
                  <a:cubicBezTo>
                    <a:pt x="12" y="17"/>
                    <a:pt x="34" y="41"/>
                    <a:pt x="65" y="47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0" name="íŝľiḍe">
              <a:extLst>
                <a:ext uri="{FF2B5EF4-FFF2-40B4-BE49-F238E27FC236}">
                  <a16:creationId xmlns:a16="http://schemas.microsoft.com/office/drawing/2014/main" id="{11713F6C-B7FF-4E2F-A4A2-5AF6DDF7AF75}"/>
                </a:ext>
              </a:extLst>
            </p:cNvPr>
            <p:cNvSpPr/>
            <p:nvPr/>
          </p:nvSpPr>
          <p:spPr bwMode="auto">
            <a:xfrm>
              <a:off x="4105275" y="5535613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6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2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3"/>
                    <a:pt x="14" y="4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1" name="íṡļïḍe">
              <a:extLst>
                <a:ext uri="{FF2B5EF4-FFF2-40B4-BE49-F238E27FC236}">
                  <a16:creationId xmlns:a16="http://schemas.microsoft.com/office/drawing/2014/main" id="{CA55C231-15FC-4A1D-8C19-5ED00883D96F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6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6"/>
                  </a:cubicBezTo>
                  <a:cubicBezTo>
                    <a:pt x="87" y="26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2" name="iṡļíḑé">
              <a:extLst>
                <a:ext uri="{FF2B5EF4-FFF2-40B4-BE49-F238E27FC236}">
                  <a16:creationId xmlns:a16="http://schemas.microsoft.com/office/drawing/2014/main" id="{ABEDC04F-4C5F-4B64-8EBA-CFA160A1B68E}"/>
                </a:ext>
              </a:extLst>
            </p:cNvPr>
            <p:cNvSpPr/>
            <p:nvPr/>
          </p:nvSpPr>
          <p:spPr bwMode="auto">
            <a:xfrm>
              <a:off x="4049713" y="5392738"/>
              <a:ext cx="19050" cy="68263"/>
            </a:xfrm>
            <a:custGeom>
              <a:avLst/>
              <a:gdLst>
                <a:gd name="T0" fmla="*/ 3 w 7"/>
                <a:gd name="T1" fmla="*/ 26 h 26"/>
                <a:gd name="T2" fmla="*/ 3 w 7"/>
                <a:gd name="T3" fmla="*/ 26 h 26"/>
                <a:gd name="T4" fmla="*/ 0 w 7"/>
                <a:gd name="T5" fmla="*/ 22 h 26"/>
                <a:gd name="T6" fmla="*/ 0 w 7"/>
                <a:gd name="T7" fmla="*/ 0 h 26"/>
                <a:gd name="T8" fmla="*/ 7 w 7"/>
                <a:gd name="T9" fmla="*/ 0 h 26"/>
                <a:gd name="T10" fmla="*/ 7 w 7"/>
                <a:gd name="T11" fmla="*/ 22 h 26"/>
                <a:gd name="T12" fmla="*/ 3 w 7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6"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5" y="26"/>
                    <a:pt x="3" y="26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3" name="iṣ1îde">
              <a:extLst>
                <a:ext uri="{FF2B5EF4-FFF2-40B4-BE49-F238E27FC236}">
                  <a16:creationId xmlns:a16="http://schemas.microsoft.com/office/drawing/2014/main" id="{ACD087E8-9F3C-4B56-B1DE-5590F1F46004}"/>
                </a:ext>
              </a:extLst>
            </p:cNvPr>
            <p:cNvSpPr/>
            <p:nvPr/>
          </p:nvSpPr>
          <p:spPr bwMode="auto">
            <a:xfrm>
              <a:off x="3870325" y="5384800"/>
              <a:ext cx="242888" cy="7938"/>
            </a:xfrm>
            <a:custGeom>
              <a:avLst/>
              <a:gdLst>
                <a:gd name="T0" fmla="*/ 90 w 92"/>
                <a:gd name="T1" fmla="*/ 0 h 3"/>
                <a:gd name="T2" fmla="*/ 2 w 92"/>
                <a:gd name="T3" fmla="*/ 0 h 3"/>
                <a:gd name="T4" fmla="*/ 0 w 92"/>
                <a:gd name="T5" fmla="*/ 2 h 3"/>
                <a:gd name="T6" fmla="*/ 0 w 92"/>
                <a:gd name="T7" fmla="*/ 2 h 3"/>
                <a:gd name="T8" fmla="*/ 2 w 92"/>
                <a:gd name="T9" fmla="*/ 3 h 3"/>
                <a:gd name="T10" fmla="*/ 90 w 92"/>
                <a:gd name="T11" fmla="*/ 3 h 3"/>
                <a:gd name="T12" fmla="*/ 92 w 92"/>
                <a:gd name="T13" fmla="*/ 2 h 3"/>
                <a:gd name="T14" fmla="*/ 92 w 92"/>
                <a:gd name="T15" fmla="*/ 2 h 3"/>
                <a:gd name="T16" fmla="*/ 90 w 9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">
                  <a:moveTo>
                    <a:pt x="9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2" y="2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4" name="ïş1ïďé">
              <a:extLst>
                <a:ext uri="{FF2B5EF4-FFF2-40B4-BE49-F238E27FC236}">
                  <a16:creationId xmlns:a16="http://schemas.microsoft.com/office/drawing/2014/main" id="{DDCBEEDB-923A-4C2C-9F33-ED767AEF73CF}"/>
                </a:ext>
              </a:extLst>
            </p:cNvPr>
            <p:cNvSpPr/>
            <p:nvPr/>
          </p:nvSpPr>
          <p:spPr bwMode="auto">
            <a:xfrm>
              <a:off x="4049713" y="5468938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5" name="ïṥḻïḋe">
              <a:extLst>
                <a:ext uri="{FF2B5EF4-FFF2-40B4-BE49-F238E27FC236}">
                  <a16:creationId xmlns:a16="http://schemas.microsoft.com/office/drawing/2014/main" id="{98ABC332-584B-4BB9-A4F9-7DADD3FA38D9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244475"/>
            </a:xfrm>
            <a:custGeom>
              <a:avLst/>
              <a:gdLst>
                <a:gd name="T0" fmla="*/ 142 w 147"/>
                <a:gd name="T1" fmla="*/ 154 h 154"/>
                <a:gd name="T2" fmla="*/ 7 w 147"/>
                <a:gd name="T3" fmla="*/ 154 h 154"/>
                <a:gd name="T4" fmla="*/ 0 w 147"/>
                <a:gd name="T5" fmla="*/ 0 h 154"/>
                <a:gd name="T6" fmla="*/ 147 w 147"/>
                <a:gd name="T7" fmla="*/ 0 h 154"/>
                <a:gd name="T8" fmla="*/ 142 w 147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4">
                  <a:moveTo>
                    <a:pt x="142" y="154"/>
                  </a:moveTo>
                  <a:lnTo>
                    <a:pt x="7" y="154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6" name="íṥlîḋê">
              <a:extLst>
                <a:ext uri="{FF2B5EF4-FFF2-40B4-BE49-F238E27FC236}">
                  <a16:creationId xmlns:a16="http://schemas.microsoft.com/office/drawing/2014/main" id="{2D2F06CF-DE40-4924-8D4E-3ABACDA7C064}"/>
                </a:ext>
              </a:extLst>
            </p:cNvPr>
            <p:cNvSpPr/>
            <p:nvPr/>
          </p:nvSpPr>
          <p:spPr bwMode="auto">
            <a:xfrm>
              <a:off x="4759325" y="4724400"/>
              <a:ext cx="225425" cy="244475"/>
            </a:xfrm>
            <a:custGeom>
              <a:avLst/>
              <a:gdLst>
                <a:gd name="T0" fmla="*/ 0 w 85"/>
                <a:gd name="T1" fmla="*/ 0 h 93"/>
                <a:gd name="T2" fmla="*/ 32 w 85"/>
                <a:gd name="T3" fmla="*/ 74 h 93"/>
                <a:gd name="T4" fmla="*/ 85 w 85"/>
                <a:gd name="T5" fmla="*/ 74 h 93"/>
                <a:gd name="T6" fmla="*/ 85 w 85"/>
                <a:gd name="T7" fmla="*/ 93 h 93"/>
                <a:gd name="T8" fmla="*/ 4 w 85"/>
                <a:gd name="T9" fmla="*/ 93 h 93"/>
                <a:gd name="T10" fmla="*/ 0 w 85"/>
                <a:gd name="T1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3">
                  <a:moveTo>
                    <a:pt x="0" y="0"/>
                  </a:moveTo>
                  <a:cubicBezTo>
                    <a:pt x="0" y="0"/>
                    <a:pt x="3" y="54"/>
                    <a:pt x="32" y="74"/>
                  </a:cubicBezTo>
                  <a:cubicBezTo>
                    <a:pt x="61" y="93"/>
                    <a:pt x="85" y="74"/>
                    <a:pt x="85" y="74"/>
                  </a:cubicBezTo>
                  <a:cubicBezTo>
                    <a:pt x="85" y="93"/>
                    <a:pt x="85" y="93"/>
                    <a:pt x="85" y="93"/>
                  </a:cubicBezTo>
                  <a:cubicBezTo>
                    <a:pt x="4" y="93"/>
                    <a:pt x="4" y="93"/>
                    <a:pt x="4" y="9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7" name="işḷiḋè">
              <a:extLst>
                <a:ext uri="{FF2B5EF4-FFF2-40B4-BE49-F238E27FC236}">
                  <a16:creationId xmlns:a16="http://schemas.microsoft.com/office/drawing/2014/main" id="{1A65A147-B113-4C90-94FE-3E0B5B339D0D}"/>
                </a:ext>
              </a:extLst>
            </p:cNvPr>
            <p:cNvSpPr/>
            <p:nvPr/>
          </p:nvSpPr>
          <p:spPr bwMode="auto">
            <a:xfrm>
              <a:off x="4829175" y="4741863"/>
              <a:ext cx="25400" cy="23813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0 h 9"/>
                <a:gd name="T4" fmla="*/ 10 w 10"/>
                <a:gd name="T5" fmla="*/ 5 h 9"/>
                <a:gd name="T6" fmla="*/ 4 w 10"/>
                <a:gd name="T7" fmla="*/ 9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1" y="1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9" y="8"/>
                    <a:pt x="7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8" name="îSľïḑé">
              <a:extLst>
                <a:ext uri="{FF2B5EF4-FFF2-40B4-BE49-F238E27FC236}">
                  <a16:creationId xmlns:a16="http://schemas.microsoft.com/office/drawing/2014/main" id="{5227F7FF-1A7E-4F09-A456-C0374A4305F6}"/>
                </a:ext>
              </a:extLst>
            </p:cNvPr>
            <p:cNvSpPr/>
            <p:nvPr/>
          </p:nvSpPr>
          <p:spPr bwMode="auto">
            <a:xfrm>
              <a:off x="4841875" y="4756150"/>
              <a:ext cx="171450" cy="120650"/>
            </a:xfrm>
            <a:custGeom>
              <a:avLst/>
              <a:gdLst>
                <a:gd name="T0" fmla="*/ 0 w 65"/>
                <a:gd name="T1" fmla="*/ 0 h 46"/>
                <a:gd name="T2" fmla="*/ 65 w 65"/>
                <a:gd name="T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6">
                  <a:moveTo>
                    <a:pt x="0" y="0"/>
                  </a:moveTo>
                  <a:cubicBezTo>
                    <a:pt x="12" y="16"/>
                    <a:pt x="34" y="40"/>
                    <a:pt x="65" y="46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9" name="ïṧļíḍè">
              <a:extLst>
                <a:ext uri="{FF2B5EF4-FFF2-40B4-BE49-F238E27FC236}">
                  <a16:creationId xmlns:a16="http://schemas.microsoft.com/office/drawing/2014/main" id="{7A4564F7-2137-4E5F-9AAB-D2771A975695}"/>
                </a:ext>
              </a:extLst>
            </p:cNvPr>
            <p:cNvSpPr/>
            <p:nvPr/>
          </p:nvSpPr>
          <p:spPr bwMode="auto">
            <a:xfrm>
              <a:off x="4989513" y="4864100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7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3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5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3" y="0"/>
                    <a:pt x="4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0" name="ïṩľïďê">
              <a:extLst>
                <a:ext uri="{FF2B5EF4-FFF2-40B4-BE49-F238E27FC236}">
                  <a16:creationId xmlns:a16="http://schemas.microsoft.com/office/drawing/2014/main" id="{40028441-771B-4FD4-85F5-5694ECE1D47A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5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5"/>
                  </a:cubicBezTo>
                  <a:cubicBezTo>
                    <a:pt x="87" y="25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1" name="ís1íďe">
              <a:extLst>
                <a:ext uri="{FF2B5EF4-FFF2-40B4-BE49-F238E27FC236}">
                  <a16:creationId xmlns:a16="http://schemas.microsoft.com/office/drawing/2014/main" id="{B39118C1-4347-4283-90D4-9AD647C4C423}"/>
                </a:ext>
              </a:extLst>
            </p:cNvPr>
            <p:cNvSpPr/>
            <p:nvPr/>
          </p:nvSpPr>
          <p:spPr bwMode="auto">
            <a:xfrm>
              <a:off x="4933950" y="4724400"/>
              <a:ext cx="19050" cy="65088"/>
            </a:xfrm>
            <a:custGeom>
              <a:avLst/>
              <a:gdLst>
                <a:gd name="T0" fmla="*/ 3 w 7"/>
                <a:gd name="T1" fmla="*/ 25 h 25"/>
                <a:gd name="T2" fmla="*/ 3 w 7"/>
                <a:gd name="T3" fmla="*/ 25 h 25"/>
                <a:gd name="T4" fmla="*/ 0 w 7"/>
                <a:gd name="T5" fmla="*/ 22 h 25"/>
                <a:gd name="T6" fmla="*/ 0 w 7"/>
                <a:gd name="T7" fmla="*/ 0 h 25"/>
                <a:gd name="T8" fmla="*/ 7 w 7"/>
                <a:gd name="T9" fmla="*/ 0 h 25"/>
                <a:gd name="T10" fmla="*/ 7 w 7"/>
                <a:gd name="T11" fmla="*/ 22 h 25"/>
                <a:gd name="T12" fmla="*/ 3 w 7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5">
                  <a:moveTo>
                    <a:pt x="3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1" y="25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6" y="25"/>
                    <a:pt x="3" y="25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2" name="íślíḑe">
              <a:extLst>
                <a:ext uri="{FF2B5EF4-FFF2-40B4-BE49-F238E27FC236}">
                  <a16:creationId xmlns:a16="http://schemas.microsoft.com/office/drawing/2014/main" id="{408AAAFD-3C44-4979-8ADC-58A09DF036A7}"/>
                </a:ext>
              </a:extLst>
            </p:cNvPr>
            <p:cNvSpPr/>
            <p:nvPr/>
          </p:nvSpPr>
          <p:spPr bwMode="auto">
            <a:xfrm>
              <a:off x="4757738" y="4713288"/>
              <a:ext cx="239713" cy="11113"/>
            </a:xfrm>
            <a:custGeom>
              <a:avLst/>
              <a:gdLst>
                <a:gd name="T0" fmla="*/ 89 w 91"/>
                <a:gd name="T1" fmla="*/ 0 h 4"/>
                <a:gd name="T2" fmla="*/ 1 w 91"/>
                <a:gd name="T3" fmla="*/ 0 h 4"/>
                <a:gd name="T4" fmla="*/ 0 w 91"/>
                <a:gd name="T5" fmla="*/ 2 h 4"/>
                <a:gd name="T6" fmla="*/ 0 w 91"/>
                <a:gd name="T7" fmla="*/ 2 h 4"/>
                <a:gd name="T8" fmla="*/ 1 w 91"/>
                <a:gd name="T9" fmla="*/ 4 h 4"/>
                <a:gd name="T10" fmla="*/ 89 w 91"/>
                <a:gd name="T11" fmla="*/ 4 h 4"/>
                <a:gd name="T12" fmla="*/ 91 w 91"/>
                <a:gd name="T13" fmla="*/ 2 h 4"/>
                <a:gd name="T14" fmla="*/ 91 w 91"/>
                <a:gd name="T15" fmla="*/ 2 h 4"/>
                <a:gd name="T16" fmla="*/ 89 w 9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4">
                  <a:moveTo>
                    <a:pt x="8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0" y="4"/>
                    <a:pt x="91" y="3"/>
                    <a:pt x="91" y="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0" y="0"/>
                    <a:pt x="8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3" name="íṧļïḋê">
              <a:extLst>
                <a:ext uri="{FF2B5EF4-FFF2-40B4-BE49-F238E27FC236}">
                  <a16:creationId xmlns:a16="http://schemas.microsoft.com/office/drawing/2014/main" id="{1F48A8E5-8F49-42AE-9AC5-77371B0D7568}"/>
                </a:ext>
              </a:extLst>
            </p:cNvPr>
            <p:cNvSpPr/>
            <p:nvPr/>
          </p:nvSpPr>
          <p:spPr bwMode="auto">
            <a:xfrm>
              <a:off x="4933950" y="4797425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4" name="iSḻíďè">
              <a:extLst>
                <a:ext uri="{FF2B5EF4-FFF2-40B4-BE49-F238E27FC236}">
                  <a16:creationId xmlns:a16="http://schemas.microsoft.com/office/drawing/2014/main" id="{17AAC21D-5892-4E84-BEE1-DAB1DBAE444E}"/>
                </a:ext>
              </a:extLst>
            </p:cNvPr>
            <p:cNvSpPr/>
            <p:nvPr/>
          </p:nvSpPr>
          <p:spPr bwMode="auto">
            <a:xfrm>
              <a:off x="4240213" y="5610225"/>
              <a:ext cx="79375" cy="31750"/>
            </a:xfrm>
            <a:prstGeom prst="rect">
              <a:avLst/>
            </a:pr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5" name="îSlïḓê">
              <a:extLst>
                <a:ext uri="{FF2B5EF4-FFF2-40B4-BE49-F238E27FC236}">
                  <a16:creationId xmlns:a16="http://schemas.microsoft.com/office/drawing/2014/main" id="{9397DA82-6FC3-4571-913B-DB9BDD58BEEE}"/>
                </a:ext>
              </a:extLst>
            </p:cNvPr>
            <p:cNvSpPr/>
            <p:nvPr/>
          </p:nvSpPr>
          <p:spPr bwMode="auto">
            <a:xfrm>
              <a:off x="4319588" y="5610225"/>
              <a:ext cx="79375" cy="31750"/>
            </a:xfrm>
            <a:custGeom>
              <a:avLst/>
              <a:gdLst>
                <a:gd name="T0" fmla="*/ 26 w 30"/>
                <a:gd name="T1" fmla="*/ 0 h 12"/>
                <a:gd name="T2" fmla="*/ 0 w 30"/>
                <a:gd name="T3" fmla="*/ 0 h 12"/>
                <a:gd name="T4" fmla="*/ 0 w 30"/>
                <a:gd name="T5" fmla="*/ 12 h 12"/>
                <a:gd name="T6" fmla="*/ 26 w 30"/>
                <a:gd name="T7" fmla="*/ 12 h 12"/>
                <a:gd name="T8" fmla="*/ 30 w 30"/>
                <a:gd name="T9" fmla="*/ 8 h 12"/>
                <a:gd name="T10" fmla="*/ 30 w 30"/>
                <a:gd name="T11" fmla="*/ 4 h 12"/>
                <a:gd name="T12" fmla="*/ 26 w 3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9" y="12"/>
                    <a:pt x="30" y="10"/>
                    <a:pt x="30" y="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2"/>
                    <a:pt x="29" y="0"/>
                    <a:pt x="26" y="0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6" name="ís1ïḓe">
              <a:extLst>
                <a:ext uri="{FF2B5EF4-FFF2-40B4-BE49-F238E27FC236}">
                  <a16:creationId xmlns:a16="http://schemas.microsoft.com/office/drawing/2014/main" id="{6E93EE6E-596D-447E-AA05-50B34EBEE62F}"/>
                </a:ext>
              </a:extLst>
            </p:cNvPr>
            <p:cNvSpPr/>
            <p:nvPr/>
          </p:nvSpPr>
          <p:spPr bwMode="auto">
            <a:xfrm>
              <a:off x="4240213" y="5626100"/>
              <a:ext cx="79375" cy="15875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7" name="iś1íḍè">
              <a:extLst>
                <a:ext uri="{FF2B5EF4-FFF2-40B4-BE49-F238E27FC236}">
                  <a16:creationId xmlns:a16="http://schemas.microsoft.com/office/drawing/2014/main" id="{7CE93240-5FDB-43BA-B388-9C6917753D04}"/>
                </a:ext>
              </a:extLst>
            </p:cNvPr>
            <p:cNvSpPr/>
            <p:nvPr/>
          </p:nvSpPr>
          <p:spPr bwMode="auto">
            <a:xfrm>
              <a:off x="4319588" y="5626100"/>
              <a:ext cx="79375" cy="15875"/>
            </a:xfrm>
            <a:custGeom>
              <a:avLst/>
              <a:gdLst>
                <a:gd name="T0" fmla="*/ 30 w 30"/>
                <a:gd name="T1" fmla="*/ 0 h 6"/>
                <a:gd name="T2" fmla="*/ 0 w 30"/>
                <a:gd name="T3" fmla="*/ 0 h 6"/>
                <a:gd name="T4" fmla="*/ 0 w 30"/>
                <a:gd name="T5" fmla="*/ 6 h 6"/>
                <a:gd name="T6" fmla="*/ 26 w 30"/>
                <a:gd name="T7" fmla="*/ 6 h 6"/>
                <a:gd name="T8" fmla="*/ 30 w 30"/>
                <a:gd name="T9" fmla="*/ 2 h 6"/>
                <a:gd name="T10" fmla="*/ 30 w 3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9" y="6"/>
                    <a:pt x="30" y="4"/>
                    <a:pt x="30" y="2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8" name="íŝlíďé">
              <a:extLst>
                <a:ext uri="{FF2B5EF4-FFF2-40B4-BE49-F238E27FC236}">
                  <a16:creationId xmlns:a16="http://schemas.microsoft.com/office/drawing/2014/main" id="{6334D236-3372-4324-A78F-C7BBF2DB7A78}"/>
                </a:ext>
              </a:extLst>
            </p:cNvPr>
            <p:cNvSpPr/>
            <p:nvPr/>
          </p:nvSpPr>
          <p:spPr bwMode="auto">
            <a:xfrm>
              <a:off x="4398963" y="5619750"/>
              <a:ext cx="22225" cy="14288"/>
            </a:xfrm>
            <a:prstGeom prst="rect">
              <a:avLst/>
            </a:pr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9" name="ï$líďê">
              <a:extLst>
                <a:ext uri="{FF2B5EF4-FFF2-40B4-BE49-F238E27FC236}">
                  <a16:creationId xmlns:a16="http://schemas.microsoft.com/office/drawing/2014/main" id="{30DC902C-743B-4BA4-8578-342385CD71A9}"/>
                </a:ext>
              </a:extLst>
            </p:cNvPr>
            <p:cNvSpPr/>
            <p:nvPr/>
          </p:nvSpPr>
          <p:spPr bwMode="auto">
            <a:xfrm>
              <a:off x="4421188" y="5619750"/>
              <a:ext cx="80963" cy="14288"/>
            </a:xfrm>
            <a:custGeom>
              <a:avLst/>
              <a:gdLst>
                <a:gd name="T0" fmla="*/ 29 w 31"/>
                <a:gd name="T1" fmla="*/ 5 h 5"/>
                <a:gd name="T2" fmla="*/ 0 w 31"/>
                <a:gd name="T3" fmla="*/ 5 h 5"/>
                <a:gd name="T4" fmla="*/ 0 w 31"/>
                <a:gd name="T5" fmla="*/ 0 h 5"/>
                <a:gd name="T6" fmla="*/ 29 w 31"/>
                <a:gd name="T7" fmla="*/ 0 h 5"/>
                <a:gd name="T8" fmla="*/ 31 w 31"/>
                <a:gd name="T9" fmla="*/ 2 h 5"/>
                <a:gd name="T10" fmla="*/ 31 w 31"/>
                <a:gd name="T11" fmla="*/ 2 h 5"/>
                <a:gd name="T12" fmla="*/ 29 w 31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">
                  <a:moveTo>
                    <a:pt x="29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4"/>
                    <a:pt x="30" y="5"/>
                    <a:pt x="29" y="5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0" name="işlîḓê">
              <a:extLst>
                <a:ext uri="{FF2B5EF4-FFF2-40B4-BE49-F238E27FC236}">
                  <a16:creationId xmlns:a16="http://schemas.microsoft.com/office/drawing/2014/main" id="{75105E11-C002-48D2-81F7-6140D8E4A037}"/>
                </a:ext>
              </a:extLst>
            </p:cNvPr>
            <p:cNvSpPr/>
            <p:nvPr/>
          </p:nvSpPr>
          <p:spPr bwMode="auto">
            <a:xfrm>
              <a:off x="4398963" y="5626100"/>
              <a:ext cx="22225" cy="7938"/>
            </a:xfrm>
            <a:prstGeom prst="rect">
              <a:avLst/>
            </a:pr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1" name="ïŝļíďè">
              <a:extLst>
                <a:ext uri="{FF2B5EF4-FFF2-40B4-BE49-F238E27FC236}">
                  <a16:creationId xmlns:a16="http://schemas.microsoft.com/office/drawing/2014/main" id="{AF3E1E0B-6DD4-4107-B3B4-5A56A52F2812}"/>
                </a:ext>
              </a:extLst>
            </p:cNvPr>
            <p:cNvSpPr/>
            <p:nvPr/>
          </p:nvSpPr>
          <p:spPr bwMode="auto">
            <a:xfrm>
              <a:off x="4421188" y="5626100"/>
              <a:ext cx="80963" cy="7938"/>
            </a:xfrm>
            <a:custGeom>
              <a:avLst/>
              <a:gdLst>
                <a:gd name="T0" fmla="*/ 31 w 31"/>
                <a:gd name="T1" fmla="*/ 0 h 3"/>
                <a:gd name="T2" fmla="*/ 31 w 31"/>
                <a:gd name="T3" fmla="*/ 0 h 3"/>
                <a:gd name="T4" fmla="*/ 0 w 31"/>
                <a:gd name="T5" fmla="*/ 0 h 3"/>
                <a:gd name="T6" fmla="*/ 0 w 31"/>
                <a:gd name="T7" fmla="*/ 3 h 3"/>
                <a:gd name="T8" fmla="*/ 29 w 31"/>
                <a:gd name="T9" fmla="*/ 3 h 3"/>
                <a:gd name="T10" fmla="*/ 31 w 31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3"/>
                    <a:pt x="31" y="2"/>
                    <a:pt x="31" y="0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2" name="iṥ1îḑê">
              <a:extLst>
                <a:ext uri="{FF2B5EF4-FFF2-40B4-BE49-F238E27FC236}">
                  <a16:creationId xmlns:a16="http://schemas.microsoft.com/office/drawing/2014/main" id="{29997ACF-9D79-4D89-B58A-6535BBD63ACC}"/>
                </a:ext>
              </a:extLst>
            </p:cNvPr>
            <p:cNvSpPr/>
            <p:nvPr/>
          </p:nvSpPr>
          <p:spPr bwMode="auto">
            <a:xfrm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3" name="ïṧļîde">
              <a:extLst>
                <a:ext uri="{FF2B5EF4-FFF2-40B4-BE49-F238E27FC236}">
                  <a16:creationId xmlns:a16="http://schemas.microsoft.com/office/drawing/2014/main" id="{0B85B9D3-276B-4B02-916D-053624577935}"/>
                </a:ext>
              </a:extLst>
            </p:cNvPr>
            <p:cNvSpPr/>
            <p:nvPr/>
          </p:nvSpPr>
          <p:spPr bwMode="auto">
            <a:xfrm flipH="1"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4" name="is1îďé">
              <a:extLst>
                <a:ext uri="{FF2B5EF4-FFF2-40B4-BE49-F238E27FC236}">
                  <a16:creationId xmlns:a16="http://schemas.microsoft.com/office/drawing/2014/main" id="{F61D14AE-002A-4210-9C3B-3B70B425724A}"/>
                </a:ext>
              </a:extLst>
            </p:cNvPr>
            <p:cNvSpPr/>
            <p:nvPr/>
          </p:nvSpPr>
          <p:spPr bwMode="auto">
            <a:xfrm>
              <a:off x="6118225" y="3565525"/>
              <a:ext cx="1235075" cy="115888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5" name="îşliḓé">
              <a:extLst>
                <a:ext uri="{FF2B5EF4-FFF2-40B4-BE49-F238E27FC236}">
                  <a16:creationId xmlns:a16="http://schemas.microsoft.com/office/drawing/2014/main" id="{4063C4A3-CF02-409F-B06A-F76622E4CD8F}"/>
                </a:ext>
              </a:extLst>
            </p:cNvPr>
            <p:cNvSpPr/>
            <p:nvPr/>
          </p:nvSpPr>
          <p:spPr bwMode="auto">
            <a:xfrm>
              <a:off x="6121400" y="3622675"/>
              <a:ext cx="1231900" cy="58738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6" name="ïṩļiḍê">
              <a:extLst>
                <a:ext uri="{FF2B5EF4-FFF2-40B4-BE49-F238E27FC236}">
                  <a16:creationId xmlns:a16="http://schemas.microsoft.com/office/drawing/2014/main" id="{08AD2B9D-21FD-46C8-9FF6-B217648FCF2A}"/>
                </a:ext>
              </a:extLst>
            </p:cNvPr>
            <p:cNvSpPr/>
            <p:nvPr/>
          </p:nvSpPr>
          <p:spPr bwMode="auto">
            <a:xfrm>
              <a:off x="6189663" y="3681413"/>
              <a:ext cx="93663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7" name="îṧḻïḍè">
              <a:extLst>
                <a:ext uri="{FF2B5EF4-FFF2-40B4-BE49-F238E27FC236}">
                  <a16:creationId xmlns:a16="http://schemas.microsoft.com/office/drawing/2014/main" id="{FFBEF4F4-9301-4F5E-A8CF-85658D20D9D8}"/>
                </a:ext>
              </a:extLst>
            </p:cNvPr>
            <p:cNvSpPr/>
            <p:nvPr/>
          </p:nvSpPr>
          <p:spPr bwMode="auto">
            <a:xfrm>
              <a:off x="7191375" y="3681413"/>
              <a:ext cx="92075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8" name="îśļíḑe">
              <a:extLst>
                <a:ext uri="{FF2B5EF4-FFF2-40B4-BE49-F238E27FC236}">
                  <a16:creationId xmlns:a16="http://schemas.microsoft.com/office/drawing/2014/main" id="{14980F14-C338-4AF5-8C7B-4ADB70E570C0}"/>
                </a:ext>
              </a:extLst>
            </p:cNvPr>
            <p:cNvSpPr/>
            <p:nvPr/>
          </p:nvSpPr>
          <p:spPr bwMode="auto">
            <a:xfrm>
              <a:off x="6283325" y="4078288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9" name="iṥḻïḑé">
              <a:extLst>
                <a:ext uri="{FF2B5EF4-FFF2-40B4-BE49-F238E27FC236}">
                  <a16:creationId xmlns:a16="http://schemas.microsoft.com/office/drawing/2014/main" id="{78C71DB4-B8C7-4BF3-AC9B-99B86C27D29C}"/>
                </a:ext>
              </a:extLst>
            </p:cNvPr>
            <p:cNvSpPr/>
            <p:nvPr/>
          </p:nvSpPr>
          <p:spPr bwMode="auto">
            <a:xfrm>
              <a:off x="6356350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0" name="ïśḷiďê">
              <a:extLst>
                <a:ext uri="{FF2B5EF4-FFF2-40B4-BE49-F238E27FC236}">
                  <a16:creationId xmlns:a16="http://schemas.microsoft.com/office/drawing/2014/main" id="{B2CFEF42-A6E5-4334-8032-0D9A2C359E22}"/>
                </a:ext>
              </a:extLst>
            </p:cNvPr>
            <p:cNvSpPr/>
            <p:nvPr/>
          </p:nvSpPr>
          <p:spPr bwMode="auto">
            <a:xfrm>
              <a:off x="65373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1" name="işḻíḑe">
              <a:extLst>
                <a:ext uri="{FF2B5EF4-FFF2-40B4-BE49-F238E27FC236}">
                  <a16:creationId xmlns:a16="http://schemas.microsoft.com/office/drawing/2014/main" id="{0019FCCB-A555-4F78-A40E-2F517590D32A}"/>
                </a:ext>
              </a:extLst>
            </p:cNvPr>
            <p:cNvSpPr/>
            <p:nvPr/>
          </p:nvSpPr>
          <p:spPr bwMode="auto">
            <a:xfrm>
              <a:off x="6719888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2" name="íšľïḓe">
              <a:extLst>
                <a:ext uri="{FF2B5EF4-FFF2-40B4-BE49-F238E27FC236}">
                  <a16:creationId xmlns:a16="http://schemas.microsoft.com/office/drawing/2014/main" id="{18B4DE7B-7D1C-4F65-968C-62EFF0E92297}"/>
                </a:ext>
              </a:extLst>
            </p:cNvPr>
            <p:cNvSpPr/>
            <p:nvPr/>
          </p:nvSpPr>
          <p:spPr bwMode="auto">
            <a:xfrm>
              <a:off x="6899275" y="4106863"/>
              <a:ext cx="38100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3" name="íṡḷîdé">
              <a:extLst>
                <a:ext uri="{FF2B5EF4-FFF2-40B4-BE49-F238E27FC236}">
                  <a16:creationId xmlns:a16="http://schemas.microsoft.com/office/drawing/2014/main" id="{364EFD09-7E65-45A6-A519-D20FC6921C96}"/>
                </a:ext>
              </a:extLst>
            </p:cNvPr>
            <p:cNvSpPr/>
            <p:nvPr/>
          </p:nvSpPr>
          <p:spPr bwMode="auto">
            <a:xfrm>
              <a:off x="70834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4" name="ïṡľide">
              <a:extLst>
                <a:ext uri="{FF2B5EF4-FFF2-40B4-BE49-F238E27FC236}">
                  <a16:creationId xmlns:a16="http://schemas.microsoft.com/office/drawing/2014/main" id="{23731BA6-336F-411A-8AFD-47129F36729A}"/>
                </a:ext>
              </a:extLst>
            </p:cNvPr>
            <p:cNvSpPr/>
            <p:nvPr/>
          </p:nvSpPr>
          <p:spPr bwMode="auto">
            <a:xfrm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5" name="ïşḻïḋe">
              <a:extLst>
                <a:ext uri="{FF2B5EF4-FFF2-40B4-BE49-F238E27FC236}">
                  <a16:creationId xmlns:a16="http://schemas.microsoft.com/office/drawing/2014/main" id="{1DFF9A24-7177-40EF-9E2D-E7D391701E08}"/>
                </a:ext>
              </a:extLst>
            </p:cNvPr>
            <p:cNvSpPr/>
            <p:nvPr/>
          </p:nvSpPr>
          <p:spPr bwMode="auto">
            <a:xfrm flipH="1"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6" name="iṣḻïḑè">
              <a:extLst>
                <a:ext uri="{FF2B5EF4-FFF2-40B4-BE49-F238E27FC236}">
                  <a16:creationId xmlns:a16="http://schemas.microsoft.com/office/drawing/2014/main" id="{3C223B6B-7204-49AD-8F8B-7007014A1D95}"/>
                </a:ext>
              </a:extLst>
            </p:cNvPr>
            <p:cNvSpPr/>
            <p:nvPr/>
          </p:nvSpPr>
          <p:spPr bwMode="auto">
            <a:xfrm>
              <a:off x="6283325" y="457041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7" name="î$ḷíďé">
              <a:extLst>
                <a:ext uri="{FF2B5EF4-FFF2-40B4-BE49-F238E27FC236}">
                  <a16:creationId xmlns:a16="http://schemas.microsoft.com/office/drawing/2014/main" id="{8C04C025-936A-449D-A523-77E927EF31D2}"/>
                </a:ext>
              </a:extLst>
            </p:cNvPr>
            <p:cNvSpPr/>
            <p:nvPr/>
          </p:nvSpPr>
          <p:spPr bwMode="auto">
            <a:xfrm>
              <a:off x="6356350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8" name="îśḷïḑe">
              <a:extLst>
                <a:ext uri="{FF2B5EF4-FFF2-40B4-BE49-F238E27FC236}">
                  <a16:creationId xmlns:a16="http://schemas.microsoft.com/office/drawing/2014/main" id="{4875B503-8668-4DF9-8066-EDD0F1DD1661}"/>
                </a:ext>
              </a:extLst>
            </p:cNvPr>
            <p:cNvSpPr/>
            <p:nvPr/>
          </p:nvSpPr>
          <p:spPr bwMode="auto">
            <a:xfrm>
              <a:off x="65373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9" name="ï$lïḋè">
              <a:extLst>
                <a:ext uri="{FF2B5EF4-FFF2-40B4-BE49-F238E27FC236}">
                  <a16:creationId xmlns:a16="http://schemas.microsoft.com/office/drawing/2014/main" id="{7D25754C-6D3E-46B4-A375-DE11C5ED5765}"/>
                </a:ext>
              </a:extLst>
            </p:cNvPr>
            <p:cNvSpPr/>
            <p:nvPr/>
          </p:nvSpPr>
          <p:spPr bwMode="auto">
            <a:xfrm>
              <a:off x="6719888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0" name="íSḻîḑé">
              <a:extLst>
                <a:ext uri="{FF2B5EF4-FFF2-40B4-BE49-F238E27FC236}">
                  <a16:creationId xmlns:a16="http://schemas.microsoft.com/office/drawing/2014/main" id="{73832A55-7E77-41B7-83CE-8517957C36FE}"/>
                </a:ext>
              </a:extLst>
            </p:cNvPr>
            <p:cNvSpPr/>
            <p:nvPr/>
          </p:nvSpPr>
          <p:spPr bwMode="auto">
            <a:xfrm>
              <a:off x="6899275" y="4597400"/>
              <a:ext cx="38100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1" name="iṡļiḓe">
              <a:extLst>
                <a:ext uri="{FF2B5EF4-FFF2-40B4-BE49-F238E27FC236}">
                  <a16:creationId xmlns:a16="http://schemas.microsoft.com/office/drawing/2014/main" id="{4922490F-AB65-41D3-9EAD-B928D09878D5}"/>
                </a:ext>
              </a:extLst>
            </p:cNvPr>
            <p:cNvSpPr/>
            <p:nvPr/>
          </p:nvSpPr>
          <p:spPr bwMode="auto">
            <a:xfrm>
              <a:off x="70834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2" name="íṡḷídê">
              <a:extLst>
                <a:ext uri="{FF2B5EF4-FFF2-40B4-BE49-F238E27FC236}">
                  <a16:creationId xmlns:a16="http://schemas.microsoft.com/office/drawing/2014/main" id="{26CEED95-C7A2-4344-A27D-59D4C560A723}"/>
                </a:ext>
              </a:extLst>
            </p:cNvPr>
            <p:cNvSpPr/>
            <p:nvPr/>
          </p:nvSpPr>
          <p:spPr bwMode="auto">
            <a:xfrm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3" name="iṡľïḍé">
              <a:extLst>
                <a:ext uri="{FF2B5EF4-FFF2-40B4-BE49-F238E27FC236}">
                  <a16:creationId xmlns:a16="http://schemas.microsoft.com/office/drawing/2014/main" id="{EC9691ED-768A-4E48-90BE-2EEACDAB634E}"/>
                </a:ext>
              </a:extLst>
            </p:cNvPr>
            <p:cNvSpPr/>
            <p:nvPr/>
          </p:nvSpPr>
          <p:spPr bwMode="auto">
            <a:xfrm flipH="1"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4" name="íSľïdê">
              <a:extLst>
                <a:ext uri="{FF2B5EF4-FFF2-40B4-BE49-F238E27FC236}">
                  <a16:creationId xmlns:a16="http://schemas.microsoft.com/office/drawing/2014/main" id="{1060E4BA-D598-4EEB-8AC6-63EB79EC43DD}"/>
                </a:ext>
              </a:extLst>
            </p:cNvPr>
            <p:cNvSpPr/>
            <p:nvPr/>
          </p:nvSpPr>
          <p:spPr bwMode="auto">
            <a:xfrm>
              <a:off x="6283325" y="505936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5" name="ïSľíḑé">
              <a:extLst>
                <a:ext uri="{FF2B5EF4-FFF2-40B4-BE49-F238E27FC236}">
                  <a16:creationId xmlns:a16="http://schemas.microsoft.com/office/drawing/2014/main" id="{3996CDA7-9B40-499B-81F5-8BF1600452A1}"/>
                </a:ext>
              </a:extLst>
            </p:cNvPr>
            <p:cNvSpPr/>
            <p:nvPr/>
          </p:nvSpPr>
          <p:spPr bwMode="auto">
            <a:xfrm>
              <a:off x="6356350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6" name="îşḷiḋé">
              <a:extLst>
                <a:ext uri="{FF2B5EF4-FFF2-40B4-BE49-F238E27FC236}">
                  <a16:creationId xmlns:a16="http://schemas.microsoft.com/office/drawing/2014/main" id="{F1A6EE6B-CCC3-4C92-8109-7D956D2CAA32}"/>
                </a:ext>
              </a:extLst>
            </p:cNvPr>
            <p:cNvSpPr/>
            <p:nvPr/>
          </p:nvSpPr>
          <p:spPr bwMode="auto">
            <a:xfrm>
              <a:off x="65373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7" name="iṥľîḍe">
              <a:extLst>
                <a:ext uri="{FF2B5EF4-FFF2-40B4-BE49-F238E27FC236}">
                  <a16:creationId xmlns:a16="http://schemas.microsoft.com/office/drawing/2014/main" id="{4AF8C5C1-717D-4B7F-8C23-CCBFFFCF5331}"/>
                </a:ext>
              </a:extLst>
            </p:cNvPr>
            <p:cNvSpPr/>
            <p:nvPr/>
          </p:nvSpPr>
          <p:spPr bwMode="auto">
            <a:xfrm>
              <a:off x="6719888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8" name="íṥ1íďê">
              <a:extLst>
                <a:ext uri="{FF2B5EF4-FFF2-40B4-BE49-F238E27FC236}">
                  <a16:creationId xmlns:a16="http://schemas.microsoft.com/office/drawing/2014/main" id="{E6884545-0687-4ECD-A7F3-6CE8ED4677DE}"/>
                </a:ext>
              </a:extLst>
            </p:cNvPr>
            <p:cNvSpPr/>
            <p:nvPr/>
          </p:nvSpPr>
          <p:spPr bwMode="auto">
            <a:xfrm>
              <a:off x="6899275" y="5087938"/>
              <a:ext cx="38100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9" name="iṣļiḋé">
              <a:extLst>
                <a:ext uri="{FF2B5EF4-FFF2-40B4-BE49-F238E27FC236}">
                  <a16:creationId xmlns:a16="http://schemas.microsoft.com/office/drawing/2014/main" id="{1BC1AA29-B544-4947-BE9F-5937BF595089}"/>
                </a:ext>
              </a:extLst>
            </p:cNvPr>
            <p:cNvSpPr/>
            <p:nvPr/>
          </p:nvSpPr>
          <p:spPr bwMode="auto">
            <a:xfrm>
              <a:off x="70834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0" name="íślîḋê">
              <a:extLst>
                <a:ext uri="{FF2B5EF4-FFF2-40B4-BE49-F238E27FC236}">
                  <a16:creationId xmlns:a16="http://schemas.microsoft.com/office/drawing/2014/main" id="{55933BC2-FB90-4CAB-AEE1-D287E47972EC}"/>
                </a:ext>
              </a:extLst>
            </p:cNvPr>
            <p:cNvSpPr/>
            <p:nvPr/>
          </p:nvSpPr>
          <p:spPr bwMode="auto">
            <a:xfrm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1" name="îṧḻiḓe">
              <a:extLst>
                <a:ext uri="{FF2B5EF4-FFF2-40B4-BE49-F238E27FC236}">
                  <a16:creationId xmlns:a16="http://schemas.microsoft.com/office/drawing/2014/main" id="{BB64666F-9B6A-4EAD-9DC9-97F012075404}"/>
                </a:ext>
              </a:extLst>
            </p:cNvPr>
            <p:cNvSpPr/>
            <p:nvPr/>
          </p:nvSpPr>
          <p:spPr bwMode="auto">
            <a:xfrm flipH="1"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2" name="iş1ïḓê">
              <a:extLst>
                <a:ext uri="{FF2B5EF4-FFF2-40B4-BE49-F238E27FC236}">
                  <a16:creationId xmlns:a16="http://schemas.microsoft.com/office/drawing/2014/main" id="{6A85EDED-FC29-49F1-BECD-F94D138EFCA8}"/>
                </a:ext>
              </a:extLst>
            </p:cNvPr>
            <p:cNvSpPr/>
            <p:nvPr/>
          </p:nvSpPr>
          <p:spPr bwMode="auto">
            <a:xfrm>
              <a:off x="6283325" y="5548313"/>
              <a:ext cx="908050" cy="93663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3" name="iṧļiḑè">
              <a:extLst>
                <a:ext uri="{FF2B5EF4-FFF2-40B4-BE49-F238E27FC236}">
                  <a16:creationId xmlns:a16="http://schemas.microsoft.com/office/drawing/2014/main" id="{83792892-EAFE-4132-AF61-DDFD87E2231D}"/>
                </a:ext>
              </a:extLst>
            </p:cNvPr>
            <p:cNvSpPr/>
            <p:nvPr/>
          </p:nvSpPr>
          <p:spPr bwMode="auto">
            <a:xfrm>
              <a:off x="6356350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4" name="ïṣ1îḍê">
              <a:extLst>
                <a:ext uri="{FF2B5EF4-FFF2-40B4-BE49-F238E27FC236}">
                  <a16:creationId xmlns:a16="http://schemas.microsoft.com/office/drawing/2014/main" id="{00E91DF8-A600-40D8-B44F-C3567CA47C56}"/>
                </a:ext>
              </a:extLst>
            </p:cNvPr>
            <p:cNvSpPr/>
            <p:nvPr/>
          </p:nvSpPr>
          <p:spPr bwMode="auto">
            <a:xfrm>
              <a:off x="65373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5" name="ïśḷiḓê">
              <a:extLst>
                <a:ext uri="{FF2B5EF4-FFF2-40B4-BE49-F238E27FC236}">
                  <a16:creationId xmlns:a16="http://schemas.microsoft.com/office/drawing/2014/main" id="{61E97DD7-5521-4D4F-B08B-31F8845D58A7}"/>
                </a:ext>
              </a:extLst>
            </p:cNvPr>
            <p:cNvSpPr/>
            <p:nvPr/>
          </p:nvSpPr>
          <p:spPr bwMode="auto">
            <a:xfrm>
              <a:off x="6719888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6" name="iṡlîďé">
              <a:extLst>
                <a:ext uri="{FF2B5EF4-FFF2-40B4-BE49-F238E27FC236}">
                  <a16:creationId xmlns:a16="http://schemas.microsoft.com/office/drawing/2014/main" id="{8DA7F7D8-91AF-4EB6-A6D2-E14348DE7A4E}"/>
                </a:ext>
              </a:extLst>
            </p:cNvPr>
            <p:cNvSpPr/>
            <p:nvPr/>
          </p:nvSpPr>
          <p:spPr bwMode="auto">
            <a:xfrm>
              <a:off x="6899275" y="5578475"/>
              <a:ext cx="38100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7" name="íSḷïde">
              <a:extLst>
                <a:ext uri="{FF2B5EF4-FFF2-40B4-BE49-F238E27FC236}">
                  <a16:creationId xmlns:a16="http://schemas.microsoft.com/office/drawing/2014/main" id="{07F42A09-85EA-40C4-AF09-C323CFB55077}"/>
                </a:ext>
              </a:extLst>
            </p:cNvPr>
            <p:cNvSpPr/>
            <p:nvPr/>
          </p:nvSpPr>
          <p:spPr bwMode="auto">
            <a:xfrm>
              <a:off x="70834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8" name="îSḻîdè">
              <a:extLst>
                <a:ext uri="{FF2B5EF4-FFF2-40B4-BE49-F238E27FC236}">
                  <a16:creationId xmlns:a16="http://schemas.microsoft.com/office/drawing/2014/main" id="{CADB6879-E92F-4CC4-AAE3-BF8B777A3A55}"/>
                </a:ext>
              </a:extLst>
            </p:cNvPr>
            <p:cNvSpPr/>
            <p:nvPr/>
          </p:nvSpPr>
          <p:spPr bwMode="auto">
            <a:xfrm>
              <a:off x="5229225" y="3236913"/>
              <a:ext cx="71438" cy="84138"/>
            </a:xfrm>
            <a:custGeom>
              <a:avLst/>
              <a:gdLst>
                <a:gd name="T0" fmla="*/ 0 w 45"/>
                <a:gd name="T1" fmla="*/ 42 h 53"/>
                <a:gd name="T2" fmla="*/ 28 w 45"/>
                <a:gd name="T3" fmla="*/ 0 h 53"/>
                <a:gd name="T4" fmla="*/ 45 w 45"/>
                <a:gd name="T5" fmla="*/ 12 h 53"/>
                <a:gd name="T6" fmla="*/ 16 w 45"/>
                <a:gd name="T7" fmla="*/ 53 h 53"/>
                <a:gd name="T8" fmla="*/ 0 w 4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3">
                  <a:moveTo>
                    <a:pt x="0" y="42"/>
                  </a:moveTo>
                  <a:lnTo>
                    <a:pt x="28" y="0"/>
                  </a:lnTo>
                  <a:lnTo>
                    <a:pt x="45" y="12"/>
                  </a:lnTo>
                  <a:lnTo>
                    <a:pt x="16" y="53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9" name="ïsḷïḓé">
              <a:extLst>
                <a:ext uri="{FF2B5EF4-FFF2-40B4-BE49-F238E27FC236}">
                  <a16:creationId xmlns:a16="http://schemas.microsoft.com/office/drawing/2014/main" id="{B2EEF2FD-3B4D-4099-B120-471EA19E1C34}"/>
                </a:ext>
              </a:extLst>
            </p:cNvPr>
            <p:cNvSpPr/>
            <p:nvPr/>
          </p:nvSpPr>
          <p:spPr bwMode="auto">
            <a:xfrm>
              <a:off x="5186363" y="3303588"/>
              <a:ext cx="68263" cy="80963"/>
            </a:xfrm>
            <a:custGeom>
              <a:avLst/>
              <a:gdLst>
                <a:gd name="T0" fmla="*/ 1 w 26"/>
                <a:gd name="T1" fmla="*/ 21 h 31"/>
                <a:gd name="T2" fmla="*/ 16 w 26"/>
                <a:gd name="T3" fmla="*/ 0 h 31"/>
                <a:gd name="T4" fmla="*/ 26 w 26"/>
                <a:gd name="T5" fmla="*/ 7 h 31"/>
                <a:gd name="T6" fmla="*/ 11 w 26"/>
                <a:gd name="T7" fmla="*/ 28 h 31"/>
                <a:gd name="T8" fmla="*/ 5 w 26"/>
                <a:gd name="T9" fmla="*/ 29 h 31"/>
                <a:gd name="T10" fmla="*/ 2 w 26"/>
                <a:gd name="T11" fmla="*/ 27 h 31"/>
                <a:gd name="T12" fmla="*/ 1 w 26"/>
                <a:gd name="T1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1">
                  <a:moveTo>
                    <a:pt x="1" y="21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9" y="30"/>
                    <a:pt x="7" y="31"/>
                    <a:pt x="5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6"/>
                    <a:pt x="0" y="23"/>
                    <a:pt x="1" y="21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0" name="îSľiḋè">
              <a:extLst>
                <a:ext uri="{FF2B5EF4-FFF2-40B4-BE49-F238E27FC236}">
                  <a16:creationId xmlns:a16="http://schemas.microsoft.com/office/drawing/2014/main" id="{622EDE9C-8162-48CB-99EF-B3997E6F81D0}"/>
                </a:ext>
              </a:extLst>
            </p:cNvPr>
            <p:cNvSpPr/>
            <p:nvPr/>
          </p:nvSpPr>
          <p:spPr bwMode="auto">
            <a:xfrm>
              <a:off x="5241925" y="3248025"/>
              <a:ext cx="58738" cy="73025"/>
            </a:xfrm>
            <a:custGeom>
              <a:avLst/>
              <a:gdLst>
                <a:gd name="T0" fmla="*/ 0 w 37"/>
                <a:gd name="T1" fmla="*/ 40 h 46"/>
                <a:gd name="T2" fmla="*/ 28 w 37"/>
                <a:gd name="T3" fmla="*/ 0 h 46"/>
                <a:gd name="T4" fmla="*/ 37 w 37"/>
                <a:gd name="T5" fmla="*/ 5 h 46"/>
                <a:gd name="T6" fmla="*/ 8 w 37"/>
                <a:gd name="T7" fmla="*/ 46 h 46"/>
                <a:gd name="T8" fmla="*/ 0 w 37"/>
                <a:gd name="T9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6">
                  <a:moveTo>
                    <a:pt x="0" y="40"/>
                  </a:moveTo>
                  <a:lnTo>
                    <a:pt x="28" y="0"/>
                  </a:lnTo>
                  <a:lnTo>
                    <a:pt x="37" y="5"/>
                  </a:lnTo>
                  <a:lnTo>
                    <a:pt x="8" y="46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1" name="íS1iḓè">
              <a:extLst>
                <a:ext uri="{FF2B5EF4-FFF2-40B4-BE49-F238E27FC236}">
                  <a16:creationId xmlns:a16="http://schemas.microsoft.com/office/drawing/2014/main" id="{7B132FDE-6F8A-439A-9428-092FCD3B55FD}"/>
                </a:ext>
              </a:extLst>
            </p:cNvPr>
            <p:cNvSpPr/>
            <p:nvPr/>
          </p:nvSpPr>
          <p:spPr bwMode="auto">
            <a:xfrm>
              <a:off x="5194300" y="3311525"/>
              <a:ext cx="60325" cy="73025"/>
            </a:xfrm>
            <a:custGeom>
              <a:avLst/>
              <a:gdLst>
                <a:gd name="T0" fmla="*/ 0 w 23"/>
                <a:gd name="T1" fmla="*/ 25 h 28"/>
                <a:gd name="T2" fmla="*/ 18 w 23"/>
                <a:gd name="T3" fmla="*/ 0 h 28"/>
                <a:gd name="T4" fmla="*/ 23 w 23"/>
                <a:gd name="T5" fmla="*/ 4 h 28"/>
                <a:gd name="T6" fmla="*/ 8 w 23"/>
                <a:gd name="T7" fmla="*/ 25 h 28"/>
                <a:gd name="T8" fmla="*/ 2 w 23"/>
                <a:gd name="T9" fmla="*/ 26 h 28"/>
                <a:gd name="T10" fmla="*/ 0 w 23"/>
                <a:gd name="T11" fmla="*/ 2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8">
                  <a:moveTo>
                    <a:pt x="0" y="25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6" y="27"/>
                    <a:pt x="4" y="28"/>
                    <a:pt x="2" y="26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2" name="îṩḷïďè">
              <a:extLst>
                <a:ext uri="{FF2B5EF4-FFF2-40B4-BE49-F238E27FC236}">
                  <a16:creationId xmlns:a16="http://schemas.microsoft.com/office/drawing/2014/main" id="{1498D65B-BE1B-46FC-843A-815186FC727D}"/>
                </a:ext>
              </a:extLst>
            </p:cNvPr>
            <p:cNvSpPr/>
            <p:nvPr/>
          </p:nvSpPr>
          <p:spPr bwMode="auto">
            <a:xfrm>
              <a:off x="5178425" y="3375025"/>
              <a:ext cx="23813" cy="23813"/>
            </a:xfrm>
            <a:custGeom>
              <a:avLst/>
              <a:gdLst>
                <a:gd name="T0" fmla="*/ 8 w 15"/>
                <a:gd name="T1" fmla="*/ 15 h 15"/>
                <a:gd name="T2" fmla="*/ 15 w 15"/>
                <a:gd name="T3" fmla="*/ 5 h 15"/>
                <a:gd name="T4" fmla="*/ 8 w 15"/>
                <a:gd name="T5" fmla="*/ 0 h 15"/>
                <a:gd name="T6" fmla="*/ 0 w 15"/>
                <a:gd name="T7" fmla="*/ 10 h 15"/>
                <a:gd name="T8" fmla="*/ 8 w 1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8" y="15"/>
                  </a:moveTo>
                  <a:lnTo>
                    <a:pt x="15" y="5"/>
                  </a:lnTo>
                  <a:lnTo>
                    <a:pt x="8" y="0"/>
                  </a:lnTo>
                  <a:lnTo>
                    <a:pt x="0" y="10"/>
                  </a:lnTo>
                  <a:lnTo>
                    <a:pt x="8" y="15"/>
                  </a:lnTo>
                  <a:close/>
                </a:path>
              </a:pathLst>
            </a:cu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3" name="îşļidè">
              <a:extLst>
                <a:ext uri="{FF2B5EF4-FFF2-40B4-BE49-F238E27FC236}">
                  <a16:creationId xmlns:a16="http://schemas.microsoft.com/office/drawing/2014/main" id="{1949BB1D-6E98-4B76-8402-F7BD9D8447CA}"/>
                </a:ext>
              </a:extLst>
            </p:cNvPr>
            <p:cNvSpPr/>
            <p:nvPr/>
          </p:nvSpPr>
          <p:spPr bwMode="auto">
            <a:xfrm>
              <a:off x="5133975" y="3390900"/>
              <a:ext cx="57150" cy="73025"/>
            </a:xfrm>
            <a:custGeom>
              <a:avLst/>
              <a:gdLst>
                <a:gd name="T0" fmla="*/ 5 w 22"/>
                <a:gd name="T1" fmla="*/ 27 h 28"/>
                <a:gd name="T2" fmla="*/ 22 w 22"/>
                <a:gd name="T3" fmla="*/ 3 h 28"/>
                <a:gd name="T4" fmla="*/ 17 w 22"/>
                <a:gd name="T5" fmla="*/ 0 h 28"/>
                <a:gd name="T6" fmla="*/ 1 w 22"/>
                <a:gd name="T7" fmla="*/ 24 h 28"/>
                <a:gd name="T8" fmla="*/ 1 w 22"/>
                <a:gd name="T9" fmla="*/ 27 h 28"/>
                <a:gd name="T10" fmla="*/ 1 w 22"/>
                <a:gd name="T11" fmla="*/ 27 h 28"/>
                <a:gd name="T12" fmla="*/ 5 w 22"/>
                <a:gd name="T13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5" y="27"/>
                  </a:moveTo>
                  <a:cubicBezTo>
                    <a:pt x="22" y="3"/>
                    <a:pt x="22" y="3"/>
                    <a:pt x="22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5"/>
                    <a:pt x="0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3" y="28"/>
                    <a:pt x="4" y="28"/>
                    <a:pt x="5" y="27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4" name="ï$líḋé">
              <a:extLst>
                <a:ext uri="{FF2B5EF4-FFF2-40B4-BE49-F238E27FC236}">
                  <a16:creationId xmlns:a16="http://schemas.microsoft.com/office/drawing/2014/main" id="{232D2721-D53B-468A-9EAF-B7ADB9D94279}"/>
                </a:ext>
              </a:extLst>
            </p:cNvPr>
            <p:cNvSpPr/>
            <p:nvPr/>
          </p:nvSpPr>
          <p:spPr bwMode="auto">
            <a:xfrm>
              <a:off x="5183188" y="3376613"/>
              <a:ext cx="19050" cy="22225"/>
            </a:xfrm>
            <a:custGeom>
              <a:avLst/>
              <a:gdLst>
                <a:gd name="T0" fmla="*/ 7 w 12"/>
                <a:gd name="T1" fmla="*/ 0 h 14"/>
                <a:gd name="T2" fmla="*/ 0 w 12"/>
                <a:gd name="T3" fmla="*/ 10 h 14"/>
                <a:gd name="T4" fmla="*/ 5 w 12"/>
                <a:gd name="T5" fmla="*/ 14 h 14"/>
                <a:gd name="T6" fmla="*/ 12 w 12"/>
                <a:gd name="T7" fmla="*/ 4 h 14"/>
                <a:gd name="T8" fmla="*/ 7 w 12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7" y="0"/>
                  </a:moveTo>
                  <a:lnTo>
                    <a:pt x="0" y="10"/>
                  </a:lnTo>
                  <a:lnTo>
                    <a:pt x="5" y="14"/>
                  </a:lnTo>
                  <a:lnTo>
                    <a:pt x="12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5" name="iṡļídê">
              <a:extLst>
                <a:ext uri="{FF2B5EF4-FFF2-40B4-BE49-F238E27FC236}">
                  <a16:creationId xmlns:a16="http://schemas.microsoft.com/office/drawing/2014/main" id="{3399FDCF-1A75-438B-BE29-E6C1FCED2B4D}"/>
                </a:ext>
              </a:extLst>
            </p:cNvPr>
            <p:cNvSpPr/>
            <p:nvPr/>
          </p:nvSpPr>
          <p:spPr bwMode="auto">
            <a:xfrm>
              <a:off x="5135563" y="3392488"/>
              <a:ext cx="55563" cy="71438"/>
            </a:xfrm>
            <a:custGeom>
              <a:avLst/>
              <a:gdLst>
                <a:gd name="T0" fmla="*/ 0 w 21"/>
                <a:gd name="T1" fmla="*/ 26 h 27"/>
                <a:gd name="T2" fmla="*/ 0 w 21"/>
                <a:gd name="T3" fmla="*/ 26 h 27"/>
                <a:gd name="T4" fmla="*/ 18 w 21"/>
                <a:gd name="T5" fmla="*/ 0 h 27"/>
                <a:gd name="T6" fmla="*/ 21 w 21"/>
                <a:gd name="T7" fmla="*/ 2 h 27"/>
                <a:gd name="T8" fmla="*/ 4 w 21"/>
                <a:gd name="T9" fmla="*/ 26 h 27"/>
                <a:gd name="T10" fmla="*/ 0 w 21"/>
                <a:gd name="T1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7">
                  <a:moveTo>
                    <a:pt x="0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7"/>
                    <a:pt x="2" y="27"/>
                    <a:pt x="0" y="26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6" name="íśḷíḍê">
              <a:extLst>
                <a:ext uri="{FF2B5EF4-FFF2-40B4-BE49-F238E27FC236}">
                  <a16:creationId xmlns:a16="http://schemas.microsoft.com/office/drawing/2014/main" id="{65F8A47A-E2A6-41FE-94A0-ACBC23899B78}"/>
                </a:ext>
              </a:extLst>
            </p:cNvPr>
            <p:cNvSpPr/>
            <p:nvPr/>
          </p:nvSpPr>
          <p:spPr bwMode="auto">
            <a:xfrm>
              <a:off x="4600575" y="4141788"/>
              <a:ext cx="177800" cy="762000"/>
            </a:xfrm>
            <a:custGeom>
              <a:avLst/>
              <a:gdLst>
                <a:gd name="T0" fmla="*/ 0 w 112"/>
                <a:gd name="T1" fmla="*/ 0 h 480"/>
                <a:gd name="T2" fmla="*/ 22 w 112"/>
                <a:gd name="T3" fmla="*/ 235 h 480"/>
                <a:gd name="T4" fmla="*/ 17 w 112"/>
                <a:gd name="T5" fmla="*/ 480 h 480"/>
                <a:gd name="T6" fmla="*/ 54 w 112"/>
                <a:gd name="T7" fmla="*/ 480 h 480"/>
                <a:gd name="T8" fmla="*/ 105 w 112"/>
                <a:gd name="T9" fmla="*/ 237 h 480"/>
                <a:gd name="T10" fmla="*/ 112 w 112"/>
                <a:gd name="T11" fmla="*/ 0 h 480"/>
                <a:gd name="T12" fmla="*/ 0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0" y="0"/>
                  </a:moveTo>
                  <a:lnTo>
                    <a:pt x="22" y="235"/>
                  </a:lnTo>
                  <a:lnTo>
                    <a:pt x="17" y="480"/>
                  </a:lnTo>
                  <a:lnTo>
                    <a:pt x="54" y="480"/>
                  </a:lnTo>
                  <a:lnTo>
                    <a:pt x="105" y="237"/>
                  </a:lnTo>
                  <a:lnTo>
                    <a:pt x="1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7" name="ïṥlîďé">
              <a:extLst>
                <a:ext uri="{FF2B5EF4-FFF2-40B4-BE49-F238E27FC236}">
                  <a16:creationId xmlns:a16="http://schemas.microsoft.com/office/drawing/2014/main" id="{793F4CEF-B44F-4D6A-9533-21017B444C96}"/>
                </a:ext>
              </a:extLst>
            </p:cNvPr>
            <p:cNvSpPr/>
            <p:nvPr/>
          </p:nvSpPr>
          <p:spPr bwMode="auto">
            <a:xfrm>
              <a:off x="4614863" y="4141788"/>
              <a:ext cx="303213" cy="762000"/>
            </a:xfrm>
            <a:custGeom>
              <a:avLst/>
              <a:gdLst>
                <a:gd name="T0" fmla="*/ 128 w 191"/>
                <a:gd name="T1" fmla="*/ 0 h 480"/>
                <a:gd name="T2" fmla="*/ 191 w 191"/>
                <a:gd name="T3" fmla="*/ 220 h 480"/>
                <a:gd name="T4" fmla="*/ 118 w 191"/>
                <a:gd name="T5" fmla="*/ 480 h 480"/>
                <a:gd name="T6" fmla="*/ 81 w 191"/>
                <a:gd name="T7" fmla="*/ 480 h 480"/>
                <a:gd name="T8" fmla="*/ 110 w 191"/>
                <a:gd name="T9" fmla="*/ 230 h 480"/>
                <a:gd name="T10" fmla="*/ 0 w 191"/>
                <a:gd name="T11" fmla="*/ 0 h 480"/>
                <a:gd name="T12" fmla="*/ 128 w 191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480">
                  <a:moveTo>
                    <a:pt x="128" y="0"/>
                  </a:moveTo>
                  <a:lnTo>
                    <a:pt x="191" y="220"/>
                  </a:lnTo>
                  <a:lnTo>
                    <a:pt x="118" y="480"/>
                  </a:lnTo>
                  <a:lnTo>
                    <a:pt x="81" y="480"/>
                  </a:lnTo>
                  <a:lnTo>
                    <a:pt x="110" y="230"/>
                  </a:lnTo>
                  <a:lnTo>
                    <a:pt x="0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8" name="îslídê">
              <a:extLst>
                <a:ext uri="{FF2B5EF4-FFF2-40B4-BE49-F238E27FC236}">
                  <a16:creationId xmlns:a16="http://schemas.microsoft.com/office/drawing/2014/main" id="{29B53A95-3FFE-4F37-9B8C-3CD17579BFEE}"/>
                </a:ext>
              </a:extLst>
            </p:cNvPr>
            <p:cNvSpPr/>
            <p:nvPr/>
          </p:nvSpPr>
          <p:spPr bwMode="auto">
            <a:xfrm>
              <a:off x="4733925" y="4903788"/>
              <a:ext cx="215900" cy="65088"/>
            </a:xfrm>
            <a:custGeom>
              <a:avLst/>
              <a:gdLst>
                <a:gd name="T0" fmla="*/ 4 w 82"/>
                <a:gd name="T1" fmla="*/ 0 h 25"/>
                <a:gd name="T2" fmla="*/ 0 w 82"/>
                <a:gd name="T3" fmla="*/ 25 h 25"/>
                <a:gd name="T4" fmla="*/ 79 w 82"/>
                <a:gd name="T5" fmla="*/ 25 h 25"/>
                <a:gd name="T6" fmla="*/ 82 w 82"/>
                <a:gd name="T7" fmla="*/ 17 h 25"/>
                <a:gd name="T8" fmla="*/ 29 w 82"/>
                <a:gd name="T9" fmla="*/ 4 h 25"/>
                <a:gd name="T10" fmla="*/ 26 w 82"/>
                <a:gd name="T11" fmla="*/ 0 h 25"/>
                <a:gd name="T12" fmla="*/ 4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1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9" name="iŝ1ïde">
              <a:extLst>
                <a:ext uri="{FF2B5EF4-FFF2-40B4-BE49-F238E27FC236}">
                  <a16:creationId xmlns:a16="http://schemas.microsoft.com/office/drawing/2014/main" id="{A4EF147C-03A1-4E3A-8733-1F74AE381EA9}"/>
                </a:ext>
              </a:extLst>
            </p:cNvPr>
            <p:cNvSpPr/>
            <p:nvPr/>
          </p:nvSpPr>
          <p:spPr bwMode="auto">
            <a:xfrm>
              <a:off x="4616450" y="4903788"/>
              <a:ext cx="220663" cy="65088"/>
            </a:xfrm>
            <a:custGeom>
              <a:avLst/>
              <a:gdLst>
                <a:gd name="T0" fmla="*/ 4 w 83"/>
                <a:gd name="T1" fmla="*/ 0 h 25"/>
                <a:gd name="T2" fmla="*/ 0 w 83"/>
                <a:gd name="T3" fmla="*/ 25 h 25"/>
                <a:gd name="T4" fmla="*/ 79 w 83"/>
                <a:gd name="T5" fmla="*/ 25 h 25"/>
                <a:gd name="T6" fmla="*/ 83 w 83"/>
                <a:gd name="T7" fmla="*/ 17 h 25"/>
                <a:gd name="T8" fmla="*/ 29 w 83"/>
                <a:gd name="T9" fmla="*/ 4 h 25"/>
                <a:gd name="T10" fmla="*/ 26 w 83"/>
                <a:gd name="T11" fmla="*/ 0 h 25"/>
                <a:gd name="T12" fmla="*/ 4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2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0" name="isḻíďè">
              <a:extLst>
                <a:ext uri="{FF2B5EF4-FFF2-40B4-BE49-F238E27FC236}">
                  <a16:creationId xmlns:a16="http://schemas.microsoft.com/office/drawing/2014/main" id="{038720FD-BF98-4978-9E88-DAA04207FBB0}"/>
                </a:ext>
              </a:extLst>
            </p:cNvPr>
            <p:cNvSpPr/>
            <p:nvPr/>
          </p:nvSpPr>
          <p:spPr bwMode="auto">
            <a:xfrm>
              <a:off x="4608513" y="3629025"/>
              <a:ext cx="106363" cy="128588"/>
            </a:xfrm>
            <a:custGeom>
              <a:avLst/>
              <a:gdLst>
                <a:gd name="T0" fmla="*/ 11 w 40"/>
                <a:gd name="T1" fmla="*/ 0 h 49"/>
                <a:gd name="T2" fmla="*/ 0 w 40"/>
                <a:gd name="T3" fmla="*/ 33 h 49"/>
                <a:gd name="T4" fmla="*/ 29 w 40"/>
                <a:gd name="T5" fmla="*/ 46 h 49"/>
                <a:gd name="T6" fmla="*/ 40 w 40"/>
                <a:gd name="T7" fmla="*/ 11 h 49"/>
                <a:gd name="T8" fmla="*/ 11 w 40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9">
                  <a:moveTo>
                    <a:pt x="11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2" y="38"/>
                    <a:pt x="11" y="49"/>
                    <a:pt x="29" y="46"/>
                  </a:cubicBezTo>
                  <a:cubicBezTo>
                    <a:pt x="30" y="43"/>
                    <a:pt x="40" y="11"/>
                    <a:pt x="40" y="11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1" name="î$ľïḑé">
              <a:extLst>
                <a:ext uri="{FF2B5EF4-FFF2-40B4-BE49-F238E27FC236}">
                  <a16:creationId xmlns:a16="http://schemas.microsoft.com/office/drawing/2014/main" id="{0F3BB526-CD70-4049-BCC2-8934217E716A}"/>
                </a:ext>
              </a:extLst>
            </p:cNvPr>
            <p:cNvSpPr/>
            <p:nvPr/>
          </p:nvSpPr>
          <p:spPr bwMode="auto">
            <a:xfrm>
              <a:off x="4576763" y="3427413"/>
              <a:ext cx="220663" cy="249238"/>
            </a:xfrm>
            <a:custGeom>
              <a:avLst/>
              <a:gdLst>
                <a:gd name="T0" fmla="*/ 61 w 83"/>
                <a:gd name="T1" fmla="*/ 87 h 94"/>
                <a:gd name="T2" fmla="*/ 61 w 83"/>
                <a:gd name="T3" fmla="*/ 87 h 94"/>
                <a:gd name="T4" fmla="*/ 18 w 83"/>
                <a:gd name="T5" fmla="*/ 72 h 94"/>
                <a:gd name="T6" fmla="*/ 8 w 83"/>
                <a:gd name="T7" fmla="*/ 50 h 94"/>
                <a:gd name="T8" fmla="*/ 23 w 83"/>
                <a:gd name="T9" fmla="*/ 8 h 94"/>
                <a:gd name="T10" fmla="*/ 23 w 83"/>
                <a:gd name="T11" fmla="*/ 8 h 94"/>
                <a:gd name="T12" fmla="*/ 65 w 83"/>
                <a:gd name="T13" fmla="*/ 23 h 94"/>
                <a:gd name="T14" fmla="*/ 76 w 83"/>
                <a:gd name="T15" fmla="*/ 44 h 94"/>
                <a:gd name="T16" fmla="*/ 61 w 83"/>
                <a:gd name="T17" fmla="*/ 8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94">
                  <a:moveTo>
                    <a:pt x="61" y="87"/>
                  </a:moveTo>
                  <a:cubicBezTo>
                    <a:pt x="61" y="87"/>
                    <a:pt x="61" y="87"/>
                    <a:pt x="61" y="87"/>
                  </a:cubicBezTo>
                  <a:cubicBezTo>
                    <a:pt x="45" y="94"/>
                    <a:pt x="26" y="88"/>
                    <a:pt x="18" y="72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0" y="35"/>
                    <a:pt x="7" y="16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39" y="0"/>
                    <a:pt x="58" y="7"/>
                    <a:pt x="65" y="2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83" y="60"/>
                    <a:pt x="77" y="79"/>
                    <a:pt x="61" y="87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2" name="îṡľîdè">
              <a:extLst>
                <a:ext uri="{FF2B5EF4-FFF2-40B4-BE49-F238E27FC236}">
                  <a16:creationId xmlns:a16="http://schemas.microsoft.com/office/drawing/2014/main" id="{EB3320E2-93EE-4CF9-8CD4-A5711270CCE0}"/>
                </a:ext>
              </a:extLst>
            </p:cNvPr>
            <p:cNvSpPr/>
            <p:nvPr/>
          </p:nvSpPr>
          <p:spPr bwMode="auto">
            <a:xfrm>
              <a:off x="4573588" y="3665538"/>
              <a:ext cx="260350" cy="512763"/>
            </a:xfrm>
            <a:custGeom>
              <a:avLst/>
              <a:gdLst>
                <a:gd name="T0" fmla="*/ 0 w 164"/>
                <a:gd name="T1" fmla="*/ 0 h 323"/>
                <a:gd name="T2" fmla="*/ 112 w 164"/>
                <a:gd name="T3" fmla="*/ 72 h 323"/>
                <a:gd name="T4" fmla="*/ 164 w 164"/>
                <a:gd name="T5" fmla="*/ 302 h 323"/>
                <a:gd name="T6" fmla="*/ 10 w 164"/>
                <a:gd name="T7" fmla="*/ 323 h 323"/>
                <a:gd name="T8" fmla="*/ 0 w 164"/>
                <a:gd name="T9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323">
                  <a:moveTo>
                    <a:pt x="0" y="0"/>
                  </a:moveTo>
                  <a:lnTo>
                    <a:pt x="112" y="72"/>
                  </a:lnTo>
                  <a:lnTo>
                    <a:pt x="164" y="302"/>
                  </a:lnTo>
                  <a:lnTo>
                    <a:pt x="10" y="3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3" name="iṩlïḓe">
              <a:extLst>
                <a:ext uri="{FF2B5EF4-FFF2-40B4-BE49-F238E27FC236}">
                  <a16:creationId xmlns:a16="http://schemas.microsoft.com/office/drawing/2014/main" id="{D1405692-8EC7-4184-8E26-07A9812D8E77}"/>
                </a:ext>
              </a:extLst>
            </p:cNvPr>
            <p:cNvSpPr/>
            <p:nvPr/>
          </p:nvSpPr>
          <p:spPr bwMode="auto">
            <a:xfrm>
              <a:off x="4525963" y="3387725"/>
              <a:ext cx="223838" cy="246063"/>
            </a:xfrm>
            <a:custGeom>
              <a:avLst/>
              <a:gdLst>
                <a:gd name="T0" fmla="*/ 41 w 84"/>
                <a:gd name="T1" fmla="*/ 93 h 93"/>
                <a:gd name="T2" fmla="*/ 57 w 84"/>
                <a:gd name="T3" fmla="*/ 41 h 93"/>
                <a:gd name="T4" fmla="*/ 84 w 84"/>
                <a:gd name="T5" fmla="*/ 0 h 93"/>
                <a:gd name="T6" fmla="*/ 23 w 84"/>
                <a:gd name="T7" fmla="*/ 31 h 93"/>
                <a:gd name="T8" fmla="*/ 41 w 84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93">
                  <a:moveTo>
                    <a:pt x="41" y="93"/>
                  </a:moveTo>
                  <a:cubicBezTo>
                    <a:pt x="41" y="93"/>
                    <a:pt x="71" y="78"/>
                    <a:pt x="57" y="41"/>
                  </a:cubicBezTo>
                  <a:cubicBezTo>
                    <a:pt x="57" y="41"/>
                    <a:pt x="82" y="29"/>
                    <a:pt x="84" y="0"/>
                  </a:cubicBezTo>
                  <a:cubicBezTo>
                    <a:pt x="84" y="0"/>
                    <a:pt x="30" y="27"/>
                    <a:pt x="23" y="31"/>
                  </a:cubicBezTo>
                  <a:cubicBezTo>
                    <a:pt x="15" y="35"/>
                    <a:pt x="0" y="51"/>
                    <a:pt x="41" y="93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4" name="íšlïḍè">
              <a:extLst>
                <a:ext uri="{FF2B5EF4-FFF2-40B4-BE49-F238E27FC236}">
                  <a16:creationId xmlns:a16="http://schemas.microsoft.com/office/drawing/2014/main" id="{FD5DEC19-C240-4EE4-93E0-2F43FA57CF43}"/>
                </a:ext>
              </a:extLst>
            </p:cNvPr>
            <p:cNvSpPr/>
            <p:nvPr/>
          </p:nvSpPr>
          <p:spPr bwMode="auto">
            <a:xfrm>
              <a:off x="4635500" y="3538538"/>
              <a:ext cx="60325" cy="60325"/>
            </a:xfrm>
            <a:custGeom>
              <a:avLst/>
              <a:gdLst>
                <a:gd name="T0" fmla="*/ 2 w 23"/>
                <a:gd name="T1" fmla="*/ 16 h 23"/>
                <a:gd name="T2" fmla="*/ 7 w 23"/>
                <a:gd name="T3" fmla="*/ 2 h 23"/>
                <a:gd name="T4" fmla="*/ 21 w 23"/>
                <a:gd name="T5" fmla="*/ 7 h 23"/>
                <a:gd name="T6" fmla="*/ 16 w 23"/>
                <a:gd name="T7" fmla="*/ 21 h 23"/>
                <a:gd name="T8" fmla="*/ 2 w 23"/>
                <a:gd name="T9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16"/>
                  </a:moveTo>
                  <a:cubicBezTo>
                    <a:pt x="0" y="11"/>
                    <a:pt x="2" y="5"/>
                    <a:pt x="7" y="2"/>
                  </a:cubicBezTo>
                  <a:cubicBezTo>
                    <a:pt x="12" y="0"/>
                    <a:pt x="18" y="2"/>
                    <a:pt x="21" y="7"/>
                  </a:cubicBezTo>
                  <a:cubicBezTo>
                    <a:pt x="23" y="12"/>
                    <a:pt x="21" y="18"/>
                    <a:pt x="16" y="21"/>
                  </a:cubicBezTo>
                  <a:cubicBezTo>
                    <a:pt x="11" y="23"/>
                    <a:pt x="5" y="21"/>
                    <a:pt x="2" y="16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5" name="ïṡlîdè">
              <a:extLst>
                <a:ext uri="{FF2B5EF4-FFF2-40B4-BE49-F238E27FC236}">
                  <a16:creationId xmlns:a16="http://schemas.microsoft.com/office/drawing/2014/main" id="{B3DBD825-A213-439F-AA8E-6260F4A99884}"/>
                </a:ext>
              </a:extLst>
            </p:cNvPr>
            <p:cNvSpPr/>
            <p:nvPr/>
          </p:nvSpPr>
          <p:spPr bwMode="auto">
            <a:xfrm>
              <a:off x="4702175" y="3463925"/>
              <a:ext cx="373063" cy="368300"/>
            </a:xfrm>
            <a:custGeom>
              <a:avLst/>
              <a:gdLst>
                <a:gd name="T0" fmla="*/ 1 w 235"/>
                <a:gd name="T1" fmla="*/ 177 h 232"/>
                <a:gd name="T2" fmla="*/ 126 w 235"/>
                <a:gd name="T3" fmla="*/ 119 h 232"/>
                <a:gd name="T4" fmla="*/ 215 w 235"/>
                <a:gd name="T5" fmla="*/ 0 h 232"/>
                <a:gd name="T6" fmla="*/ 235 w 235"/>
                <a:gd name="T7" fmla="*/ 24 h 232"/>
                <a:gd name="T8" fmla="*/ 151 w 235"/>
                <a:gd name="T9" fmla="*/ 162 h 232"/>
                <a:gd name="T10" fmla="*/ 0 w 235"/>
                <a:gd name="T11" fmla="*/ 232 h 232"/>
                <a:gd name="T12" fmla="*/ 1 w 235"/>
                <a:gd name="T13" fmla="*/ 17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2">
                  <a:moveTo>
                    <a:pt x="1" y="177"/>
                  </a:moveTo>
                  <a:lnTo>
                    <a:pt x="126" y="119"/>
                  </a:lnTo>
                  <a:lnTo>
                    <a:pt x="215" y="0"/>
                  </a:lnTo>
                  <a:lnTo>
                    <a:pt x="235" y="24"/>
                  </a:lnTo>
                  <a:lnTo>
                    <a:pt x="151" y="162"/>
                  </a:lnTo>
                  <a:lnTo>
                    <a:pt x="0" y="232"/>
                  </a:lnTo>
                  <a:lnTo>
                    <a:pt x="1" y="177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6" name="iṩļïďê">
              <a:extLst>
                <a:ext uri="{FF2B5EF4-FFF2-40B4-BE49-F238E27FC236}">
                  <a16:creationId xmlns:a16="http://schemas.microsoft.com/office/drawing/2014/main" id="{4D1AF733-9436-493A-A239-B6C0D6AEF95D}"/>
                </a:ext>
              </a:extLst>
            </p:cNvPr>
            <p:cNvSpPr/>
            <p:nvPr/>
          </p:nvSpPr>
          <p:spPr bwMode="auto">
            <a:xfrm>
              <a:off x="4608513" y="3694113"/>
              <a:ext cx="217488" cy="173038"/>
            </a:xfrm>
            <a:custGeom>
              <a:avLst/>
              <a:gdLst>
                <a:gd name="T0" fmla="*/ 0 w 137"/>
                <a:gd name="T1" fmla="*/ 27 h 109"/>
                <a:gd name="T2" fmla="*/ 117 w 137"/>
                <a:gd name="T3" fmla="*/ 0 h 109"/>
                <a:gd name="T4" fmla="*/ 137 w 137"/>
                <a:gd name="T5" fmla="*/ 62 h 109"/>
                <a:gd name="T6" fmla="*/ 40 w 137"/>
                <a:gd name="T7" fmla="*/ 109 h 109"/>
                <a:gd name="T8" fmla="*/ 0 w 137"/>
                <a:gd name="T9" fmla="*/ 2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09">
                  <a:moveTo>
                    <a:pt x="0" y="27"/>
                  </a:moveTo>
                  <a:lnTo>
                    <a:pt x="117" y="0"/>
                  </a:lnTo>
                  <a:lnTo>
                    <a:pt x="137" y="62"/>
                  </a:lnTo>
                  <a:lnTo>
                    <a:pt x="40" y="109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C6D7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7" name="iŝļîḑé">
              <a:extLst>
                <a:ext uri="{FF2B5EF4-FFF2-40B4-BE49-F238E27FC236}">
                  <a16:creationId xmlns:a16="http://schemas.microsoft.com/office/drawing/2014/main" id="{60294188-9A3B-4515-9AD7-A1110F5FE85B}"/>
                </a:ext>
              </a:extLst>
            </p:cNvPr>
            <p:cNvSpPr/>
            <p:nvPr/>
          </p:nvSpPr>
          <p:spPr bwMode="auto">
            <a:xfrm>
              <a:off x="5043488" y="3406775"/>
              <a:ext cx="161925" cy="95250"/>
            </a:xfrm>
            <a:custGeom>
              <a:avLst/>
              <a:gdLst>
                <a:gd name="T0" fmla="*/ 0 w 61"/>
                <a:gd name="T1" fmla="*/ 22 h 36"/>
                <a:gd name="T2" fmla="*/ 36 w 61"/>
                <a:gd name="T3" fmla="*/ 4 h 36"/>
                <a:gd name="T4" fmla="*/ 53 w 61"/>
                <a:gd name="T5" fmla="*/ 22 h 36"/>
                <a:gd name="T6" fmla="*/ 12 w 61"/>
                <a:gd name="T7" fmla="*/ 36 h 36"/>
                <a:gd name="T8" fmla="*/ 0 w 61"/>
                <a:gd name="T9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6">
                  <a:moveTo>
                    <a:pt x="0" y="22"/>
                  </a:moveTo>
                  <a:cubicBezTo>
                    <a:pt x="13" y="5"/>
                    <a:pt x="21" y="0"/>
                    <a:pt x="36" y="4"/>
                  </a:cubicBezTo>
                  <a:cubicBezTo>
                    <a:pt x="52" y="9"/>
                    <a:pt x="61" y="8"/>
                    <a:pt x="53" y="22"/>
                  </a:cubicBezTo>
                  <a:cubicBezTo>
                    <a:pt x="45" y="36"/>
                    <a:pt x="34" y="36"/>
                    <a:pt x="12" y="36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8" name="íṥļîďé">
              <a:extLst>
                <a:ext uri="{FF2B5EF4-FFF2-40B4-BE49-F238E27FC236}">
                  <a16:creationId xmlns:a16="http://schemas.microsoft.com/office/drawing/2014/main" id="{01068F34-70CA-4D2C-BF8D-7A386D2BFF8E}"/>
                </a:ext>
              </a:extLst>
            </p:cNvPr>
            <p:cNvSpPr/>
            <p:nvPr/>
          </p:nvSpPr>
          <p:spPr bwMode="auto">
            <a:xfrm>
              <a:off x="4516438" y="3382963"/>
              <a:ext cx="163513" cy="187325"/>
            </a:xfrm>
            <a:custGeom>
              <a:avLst/>
              <a:gdLst>
                <a:gd name="T0" fmla="*/ 20 w 62"/>
                <a:gd name="T1" fmla="*/ 71 h 71"/>
                <a:gd name="T2" fmla="*/ 12 w 62"/>
                <a:gd name="T3" fmla="*/ 22 h 71"/>
                <a:gd name="T4" fmla="*/ 62 w 62"/>
                <a:gd name="T5" fmla="*/ 7 h 71"/>
                <a:gd name="T6" fmla="*/ 20 w 62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71">
                  <a:moveTo>
                    <a:pt x="20" y="71"/>
                  </a:moveTo>
                  <a:cubicBezTo>
                    <a:pt x="6" y="62"/>
                    <a:pt x="0" y="42"/>
                    <a:pt x="12" y="22"/>
                  </a:cubicBezTo>
                  <a:cubicBezTo>
                    <a:pt x="24" y="2"/>
                    <a:pt x="46" y="0"/>
                    <a:pt x="62" y="7"/>
                  </a:cubicBezTo>
                  <a:lnTo>
                    <a:pt x="20" y="71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9" name="ïṩľïďe">
              <a:extLst>
                <a:ext uri="{FF2B5EF4-FFF2-40B4-BE49-F238E27FC236}">
                  <a16:creationId xmlns:a16="http://schemas.microsoft.com/office/drawing/2014/main" id="{79303CD2-31B1-474D-AAAE-867C4D93F2A7}"/>
                </a:ext>
              </a:extLst>
            </p:cNvPr>
            <p:cNvSpPr/>
            <p:nvPr/>
          </p:nvSpPr>
          <p:spPr bwMode="auto">
            <a:xfrm>
              <a:off x="4564063" y="3367088"/>
              <a:ext cx="153988" cy="219075"/>
            </a:xfrm>
            <a:custGeom>
              <a:avLst/>
              <a:gdLst>
                <a:gd name="T0" fmla="*/ 10 w 97"/>
                <a:gd name="T1" fmla="*/ 138 h 138"/>
                <a:gd name="T2" fmla="*/ 97 w 97"/>
                <a:gd name="T3" fmla="*/ 8 h 138"/>
                <a:gd name="T4" fmla="*/ 87 w 97"/>
                <a:gd name="T5" fmla="*/ 0 h 138"/>
                <a:gd name="T6" fmla="*/ 0 w 97"/>
                <a:gd name="T7" fmla="*/ 130 h 138"/>
                <a:gd name="T8" fmla="*/ 10 w 97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38">
                  <a:moveTo>
                    <a:pt x="10" y="138"/>
                  </a:moveTo>
                  <a:lnTo>
                    <a:pt x="97" y="8"/>
                  </a:lnTo>
                  <a:lnTo>
                    <a:pt x="87" y="0"/>
                  </a:lnTo>
                  <a:lnTo>
                    <a:pt x="0" y="130"/>
                  </a:lnTo>
                  <a:lnTo>
                    <a:pt x="10" y="13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0" name="iṧḻiďe">
              <a:extLst>
                <a:ext uri="{FF2B5EF4-FFF2-40B4-BE49-F238E27FC236}">
                  <a16:creationId xmlns:a16="http://schemas.microsoft.com/office/drawing/2014/main" id="{0BF96DE0-E336-464A-BD47-3B3E18AC5C33}"/>
                </a:ext>
              </a:extLst>
            </p:cNvPr>
            <p:cNvSpPr/>
            <p:nvPr/>
          </p:nvSpPr>
          <p:spPr bwMode="auto">
            <a:xfrm>
              <a:off x="6521450" y="2736850"/>
              <a:ext cx="177800" cy="762000"/>
            </a:xfrm>
            <a:custGeom>
              <a:avLst/>
              <a:gdLst>
                <a:gd name="T0" fmla="*/ 112 w 112"/>
                <a:gd name="T1" fmla="*/ 0 h 480"/>
                <a:gd name="T2" fmla="*/ 88 w 112"/>
                <a:gd name="T3" fmla="*/ 235 h 480"/>
                <a:gd name="T4" fmla="*/ 95 w 112"/>
                <a:gd name="T5" fmla="*/ 480 h 480"/>
                <a:gd name="T6" fmla="*/ 58 w 112"/>
                <a:gd name="T7" fmla="*/ 480 h 480"/>
                <a:gd name="T8" fmla="*/ 6 w 112"/>
                <a:gd name="T9" fmla="*/ 237 h 480"/>
                <a:gd name="T10" fmla="*/ 0 w 112"/>
                <a:gd name="T11" fmla="*/ 0 h 480"/>
                <a:gd name="T12" fmla="*/ 112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112" y="0"/>
                  </a:moveTo>
                  <a:lnTo>
                    <a:pt x="88" y="235"/>
                  </a:lnTo>
                  <a:lnTo>
                    <a:pt x="95" y="480"/>
                  </a:lnTo>
                  <a:lnTo>
                    <a:pt x="58" y="480"/>
                  </a:lnTo>
                  <a:lnTo>
                    <a:pt x="6" y="237"/>
                  </a:lnTo>
                  <a:lnTo>
                    <a:pt x="0" y="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1" name="íSliḍé">
              <a:extLst>
                <a:ext uri="{FF2B5EF4-FFF2-40B4-BE49-F238E27FC236}">
                  <a16:creationId xmlns:a16="http://schemas.microsoft.com/office/drawing/2014/main" id="{2025F94A-81A3-4B03-AA40-7F94D6565487}"/>
                </a:ext>
              </a:extLst>
            </p:cNvPr>
            <p:cNvSpPr/>
            <p:nvPr/>
          </p:nvSpPr>
          <p:spPr bwMode="auto">
            <a:xfrm>
              <a:off x="6380163" y="2736850"/>
              <a:ext cx="304800" cy="762000"/>
            </a:xfrm>
            <a:custGeom>
              <a:avLst/>
              <a:gdLst>
                <a:gd name="T0" fmla="*/ 64 w 192"/>
                <a:gd name="T1" fmla="*/ 0 h 480"/>
                <a:gd name="T2" fmla="*/ 0 w 192"/>
                <a:gd name="T3" fmla="*/ 220 h 480"/>
                <a:gd name="T4" fmla="*/ 74 w 192"/>
                <a:gd name="T5" fmla="*/ 480 h 480"/>
                <a:gd name="T6" fmla="*/ 110 w 192"/>
                <a:gd name="T7" fmla="*/ 480 h 480"/>
                <a:gd name="T8" fmla="*/ 82 w 192"/>
                <a:gd name="T9" fmla="*/ 230 h 480"/>
                <a:gd name="T10" fmla="*/ 192 w 192"/>
                <a:gd name="T11" fmla="*/ 0 h 480"/>
                <a:gd name="T12" fmla="*/ 64 w 19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80">
                  <a:moveTo>
                    <a:pt x="64" y="0"/>
                  </a:moveTo>
                  <a:lnTo>
                    <a:pt x="0" y="220"/>
                  </a:lnTo>
                  <a:lnTo>
                    <a:pt x="74" y="480"/>
                  </a:lnTo>
                  <a:lnTo>
                    <a:pt x="110" y="480"/>
                  </a:lnTo>
                  <a:lnTo>
                    <a:pt x="82" y="230"/>
                  </a:lnTo>
                  <a:lnTo>
                    <a:pt x="192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2" name="ïsļíḓe">
              <a:extLst>
                <a:ext uri="{FF2B5EF4-FFF2-40B4-BE49-F238E27FC236}">
                  <a16:creationId xmlns:a16="http://schemas.microsoft.com/office/drawing/2014/main" id="{92A834E0-DC1D-4074-A349-9CC66F9FFB2B}"/>
                </a:ext>
              </a:extLst>
            </p:cNvPr>
            <p:cNvSpPr/>
            <p:nvPr/>
          </p:nvSpPr>
          <p:spPr bwMode="auto">
            <a:xfrm>
              <a:off x="6348413" y="3498850"/>
              <a:ext cx="217488" cy="66675"/>
            </a:xfrm>
            <a:custGeom>
              <a:avLst/>
              <a:gdLst>
                <a:gd name="T0" fmla="*/ 78 w 82"/>
                <a:gd name="T1" fmla="*/ 0 h 25"/>
                <a:gd name="T2" fmla="*/ 82 w 82"/>
                <a:gd name="T3" fmla="*/ 25 h 25"/>
                <a:gd name="T4" fmla="*/ 3 w 82"/>
                <a:gd name="T5" fmla="*/ 25 h 25"/>
                <a:gd name="T6" fmla="*/ 0 w 82"/>
                <a:gd name="T7" fmla="*/ 18 h 25"/>
                <a:gd name="T8" fmla="*/ 53 w 82"/>
                <a:gd name="T9" fmla="*/ 4 h 25"/>
                <a:gd name="T10" fmla="*/ 56 w 82"/>
                <a:gd name="T11" fmla="*/ 0 h 25"/>
                <a:gd name="T12" fmla="*/ 78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78" y="0"/>
                  </a:moveTo>
                  <a:cubicBezTo>
                    <a:pt x="82" y="25"/>
                    <a:pt x="82" y="25"/>
                    <a:pt x="8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3" y="4"/>
                    <a:pt x="53" y="4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78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3" name="íṧľîḑê">
              <a:extLst>
                <a:ext uri="{FF2B5EF4-FFF2-40B4-BE49-F238E27FC236}">
                  <a16:creationId xmlns:a16="http://schemas.microsoft.com/office/drawing/2014/main" id="{C2F7DC94-4B0E-4B3F-BC4F-B6D02D27B734}"/>
                </a:ext>
              </a:extLst>
            </p:cNvPr>
            <p:cNvSpPr/>
            <p:nvPr/>
          </p:nvSpPr>
          <p:spPr bwMode="auto">
            <a:xfrm>
              <a:off x="6462713" y="3498850"/>
              <a:ext cx="220663" cy="66675"/>
            </a:xfrm>
            <a:custGeom>
              <a:avLst/>
              <a:gdLst>
                <a:gd name="T0" fmla="*/ 79 w 83"/>
                <a:gd name="T1" fmla="*/ 0 h 25"/>
                <a:gd name="T2" fmla="*/ 83 w 83"/>
                <a:gd name="T3" fmla="*/ 25 h 25"/>
                <a:gd name="T4" fmla="*/ 4 w 83"/>
                <a:gd name="T5" fmla="*/ 25 h 25"/>
                <a:gd name="T6" fmla="*/ 0 w 83"/>
                <a:gd name="T7" fmla="*/ 18 h 25"/>
                <a:gd name="T8" fmla="*/ 54 w 83"/>
                <a:gd name="T9" fmla="*/ 4 h 25"/>
                <a:gd name="T10" fmla="*/ 57 w 83"/>
                <a:gd name="T11" fmla="*/ 0 h 25"/>
                <a:gd name="T12" fmla="*/ 79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79" y="0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4" y="4"/>
                    <a:pt x="54" y="4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4" name="îṩļîďé">
              <a:extLst>
                <a:ext uri="{FF2B5EF4-FFF2-40B4-BE49-F238E27FC236}">
                  <a16:creationId xmlns:a16="http://schemas.microsoft.com/office/drawing/2014/main" id="{725A7303-13D1-4BEB-ADCB-54F3A58AB583}"/>
                </a:ext>
              </a:extLst>
            </p:cNvPr>
            <p:cNvSpPr/>
            <p:nvPr/>
          </p:nvSpPr>
          <p:spPr bwMode="auto">
            <a:xfrm>
              <a:off x="6227763" y="2343150"/>
              <a:ext cx="447675" cy="249238"/>
            </a:xfrm>
            <a:custGeom>
              <a:avLst/>
              <a:gdLst>
                <a:gd name="T0" fmla="*/ 218 w 282"/>
                <a:gd name="T1" fmla="*/ 0 h 157"/>
                <a:gd name="T2" fmla="*/ 136 w 282"/>
                <a:gd name="T3" fmla="*/ 95 h 157"/>
                <a:gd name="T4" fmla="*/ 21 w 282"/>
                <a:gd name="T5" fmla="*/ 53 h 157"/>
                <a:gd name="T6" fmla="*/ 0 w 282"/>
                <a:gd name="T7" fmla="*/ 73 h 157"/>
                <a:gd name="T8" fmla="*/ 143 w 282"/>
                <a:gd name="T9" fmla="*/ 157 h 157"/>
                <a:gd name="T10" fmla="*/ 282 w 282"/>
                <a:gd name="T11" fmla="*/ 17 h 157"/>
                <a:gd name="T12" fmla="*/ 218 w 282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" h="157">
                  <a:moveTo>
                    <a:pt x="218" y="0"/>
                  </a:moveTo>
                  <a:lnTo>
                    <a:pt x="136" y="95"/>
                  </a:lnTo>
                  <a:lnTo>
                    <a:pt x="21" y="53"/>
                  </a:lnTo>
                  <a:lnTo>
                    <a:pt x="0" y="73"/>
                  </a:lnTo>
                  <a:lnTo>
                    <a:pt x="143" y="157"/>
                  </a:lnTo>
                  <a:lnTo>
                    <a:pt x="282" y="17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5" name="ïśľíďe">
              <a:extLst>
                <a:ext uri="{FF2B5EF4-FFF2-40B4-BE49-F238E27FC236}">
                  <a16:creationId xmlns:a16="http://schemas.microsoft.com/office/drawing/2014/main" id="{DC841D5A-7AAB-4D71-88AA-2183A79C60E0}"/>
                </a:ext>
              </a:extLst>
            </p:cNvPr>
            <p:cNvSpPr/>
            <p:nvPr/>
          </p:nvSpPr>
          <p:spPr bwMode="auto">
            <a:xfrm>
              <a:off x="6145213" y="2335213"/>
              <a:ext cx="115888" cy="123825"/>
            </a:xfrm>
            <a:custGeom>
              <a:avLst/>
              <a:gdLst>
                <a:gd name="T0" fmla="*/ 31 w 44"/>
                <a:gd name="T1" fmla="*/ 47 h 47"/>
                <a:gd name="T2" fmla="*/ 9 w 44"/>
                <a:gd name="T3" fmla="*/ 30 h 47"/>
                <a:gd name="T4" fmla="*/ 1 w 44"/>
                <a:gd name="T5" fmla="*/ 15 h 47"/>
                <a:gd name="T6" fmla="*/ 14 w 44"/>
                <a:gd name="T7" fmla="*/ 3 h 47"/>
                <a:gd name="T8" fmla="*/ 27 w 44"/>
                <a:gd name="T9" fmla="*/ 19 h 47"/>
                <a:gd name="T10" fmla="*/ 26 w 44"/>
                <a:gd name="T11" fmla="*/ 6 h 47"/>
                <a:gd name="T12" fmla="*/ 32 w 44"/>
                <a:gd name="T13" fmla="*/ 10 h 47"/>
                <a:gd name="T14" fmla="*/ 44 w 44"/>
                <a:gd name="T15" fmla="*/ 35 h 47"/>
                <a:gd name="T16" fmla="*/ 31 w 44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7">
                  <a:moveTo>
                    <a:pt x="31" y="47"/>
                  </a:moveTo>
                  <a:cubicBezTo>
                    <a:pt x="24" y="42"/>
                    <a:pt x="9" y="30"/>
                    <a:pt x="9" y="30"/>
                  </a:cubicBezTo>
                  <a:cubicBezTo>
                    <a:pt x="9" y="30"/>
                    <a:pt x="0" y="21"/>
                    <a:pt x="1" y="15"/>
                  </a:cubicBezTo>
                  <a:cubicBezTo>
                    <a:pt x="1" y="9"/>
                    <a:pt x="12" y="0"/>
                    <a:pt x="14" y="3"/>
                  </a:cubicBezTo>
                  <a:cubicBezTo>
                    <a:pt x="16" y="4"/>
                    <a:pt x="27" y="19"/>
                    <a:pt x="27" y="19"/>
                  </a:cubicBezTo>
                  <a:cubicBezTo>
                    <a:pt x="27" y="19"/>
                    <a:pt x="24" y="7"/>
                    <a:pt x="26" y="6"/>
                  </a:cubicBezTo>
                  <a:cubicBezTo>
                    <a:pt x="29" y="5"/>
                    <a:pt x="30" y="9"/>
                    <a:pt x="32" y="10"/>
                  </a:cubicBezTo>
                  <a:cubicBezTo>
                    <a:pt x="33" y="12"/>
                    <a:pt x="44" y="35"/>
                    <a:pt x="44" y="35"/>
                  </a:cubicBezTo>
                  <a:lnTo>
                    <a:pt x="31" y="47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6" name="ïšḷíḍé">
              <a:extLst>
                <a:ext uri="{FF2B5EF4-FFF2-40B4-BE49-F238E27FC236}">
                  <a16:creationId xmlns:a16="http://schemas.microsoft.com/office/drawing/2014/main" id="{B9465CE5-63B0-44B5-9B85-3C4278845855}"/>
                </a:ext>
              </a:extLst>
            </p:cNvPr>
            <p:cNvSpPr/>
            <p:nvPr/>
          </p:nvSpPr>
          <p:spPr bwMode="auto">
            <a:xfrm>
              <a:off x="6565900" y="2171700"/>
              <a:ext cx="106363" cy="142875"/>
            </a:xfrm>
            <a:custGeom>
              <a:avLst/>
              <a:gdLst>
                <a:gd name="T0" fmla="*/ 25 w 40"/>
                <a:gd name="T1" fmla="*/ 0 h 54"/>
                <a:gd name="T2" fmla="*/ 40 w 40"/>
                <a:gd name="T3" fmla="*/ 39 h 54"/>
                <a:gd name="T4" fmla="*/ 12 w 40"/>
                <a:gd name="T5" fmla="*/ 51 h 54"/>
                <a:gd name="T6" fmla="*/ 0 w 40"/>
                <a:gd name="T7" fmla="*/ 20 h 54"/>
                <a:gd name="T8" fmla="*/ 25 w 40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4">
                  <a:moveTo>
                    <a:pt x="25" y="0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37" y="44"/>
                    <a:pt x="31" y="54"/>
                    <a:pt x="12" y="51"/>
                  </a:cubicBezTo>
                  <a:cubicBezTo>
                    <a:pt x="11" y="48"/>
                    <a:pt x="0" y="20"/>
                    <a:pt x="0" y="2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7" name="í$1ïḑé">
              <a:extLst>
                <a:ext uri="{FF2B5EF4-FFF2-40B4-BE49-F238E27FC236}">
                  <a16:creationId xmlns:a16="http://schemas.microsoft.com/office/drawing/2014/main" id="{DD157050-D0E0-4C40-854F-2890506ED189}"/>
                </a:ext>
              </a:extLst>
            </p:cNvPr>
            <p:cNvSpPr/>
            <p:nvPr/>
          </p:nvSpPr>
          <p:spPr bwMode="auto">
            <a:xfrm>
              <a:off x="6486525" y="1993900"/>
              <a:ext cx="193675" cy="250825"/>
            </a:xfrm>
            <a:custGeom>
              <a:avLst/>
              <a:gdLst>
                <a:gd name="T0" fmla="*/ 32 w 73"/>
                <a:gd name="T1" fmla="*/ 93 h 95"/>
                <a:gd name="T2" fmla="*/ 32 w 73"/>
                <a:gd name="T3" fmla="*/ 93 h 95"/>
                <a:gd name="T4" fmla="*/ 68 w 73"/>
                <a:gd name="T5" fmla="*/ 64 h 95"/>
                <a:gd name="T6" fmla="*/ 71 w 73"/>
                <a:gd name="T7" fmla="*/ 39 h 95"/>
                <a:gd name="T8" fmla="*/ 41 w 73"/>
                <a:gd name="T9" fmla="*/ 2 h 95"/>
                <a:gd name="T10" fmla="*/ 41 w 73"/>
                <a:gd name="T11" fmla="*/ 2 h 95"/>
                <a:gd name="T12" fmla="*/ 5 w 73"/>
                <a:gd name="T13" fmla="*/ 32 h 95"/>
                <a:gd name="T14" fmla="*/ 2 w 73"/>
                <a:gd name="T15" fmla="*/ 57 h 95"/>
                <a:gd name="T16" fmla="*/ 32 w 73"/>
                <a:gd name="T17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95">
                  <a:moveTo>
                    <a:pt x="32" y="93"/>
                  </a:moveTo>
                  <a:cubicBezTo>
                    <a:pt x="32" y="93"/>
                    <a:pt x="32" y="93"/>
                    <a:pt x="32" y="93"/>
                  </a:cubicBezTo>
                  <a:cubicBezTo>
                    <a:pt x="50" y="95"/>
                    <a:pt x="67" y="82"/>
                    <a:pt x="68" y="64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3" y="20"/>
                    <a:pt x="60" y="4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23" y="0"/>
                    <a:pt x="7" y="13"/>
                    <a:pt x="5" y="32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0" y="75"/>
                    <a:pt x="14" y="91"/>
                    <a:pt x="32" y="9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8" name="iṡḷíḍe">
              <a:extLst>
                <a:ext uri="{FF2B5EF4-FFF2-40B4-BE49-F238E27FC236}">
                  <a16:creationId xmlns:a16="http://schemas.microsoft.com/office/drawing/2014/main" id="{AD2A1C9C-9659-43C6-AD81-C64714E75514}"/>
                </a:ext>
              </a:extLst>
            </p:cNvPr>
            <p:cNvSpPr/>
            <p:nvPr/>
          </p:nvSpPr>
          <p:spPr bwMode="auto">
            <a:xfrm>
              <a:off x="6459538" y="2252663"/>
              <a:ext cx="257175" cy="498475"/>
            </a:xfrm>
            <a:custGeom>
              <a:avLst/>
              <a:gdLst>
                <a:gd name="T0" fmla="*/ 156 w 162"/>
                <a:gd name="T1" fmla="*/ 0 h 314"/>
                <a:gd name="T2" fmla="*/ 40 w 162"/>
                <a:gd name="T3" fmla="*/ 59 h 314"/>
                <a:gd name="T4" fmla="*/ 0 w 162"/>
                <a:gd name="T5" fmla="*/ 314 h 314"/>
                <a:gd name="T6" fmla="*/ 162 w 162"/>
                <a:gd name="T7" fmla="*/ 314 h 314"/>
                <a:gd name="T8" fmla="*/ 142 w 162"/>
                <a:gd name="T9" fmla="*/ 199 h 314"/>
                <a:gd name="T10" fmla="*/ 156 w 162"/>
                <a:gd name="T1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314">
                  <a:moveTo>
                    <a:pt x="156" y="0"/>
                  </a:moveTo>
                  <a:lnTo>
                    <a:pt x="40" y="59"/>
                  </a:lnTo>
                  <a:lnTo>
                    <a:pt x="0" y="314"/>
                  </a:lnTo>
                  <a:lnTo>
                    <a:pt x="162" y="314"/>
                  </a:lnTo>
                  <a:lnTo>
                    <a:pt x="142" y="199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9" name="îṩliḍè">
              <a:extLst>
                <a:ext uri="{FF2B5EF4-FFF2-40B4-BE49-F238E27FC236}">
                  <a16:creationId xmlns:a16="http://schemas.microsoft.com/office/drawing/2014/main" id="{6120AEE9-96EC-4341-85F1-14CD980114AC}"/>
                </a:ext>
              </a:extLst>
            </p:cNvPr>
            <p:cNvSpPr/>
            <p:nvPr/>
          </p:nvSpPr>
          <p:spPr bwMode="auto">
            <a:xfrm>
              <a:off x="6619875" y="2284413"/>
              <a:ext cx="211138" cy="452438"/>
            </a:xfrm>
            <a:custGeom>
              <a:avLst/>
              <a:gdLst>
                <a:gd name="T0" fmla="*/ 6 w 133"/>
                <a:gd name="T1" fmla="*/ 55 h 285"/>
                <a:gd name="T2" fmla="*/ 73 w 133"/>
                <a:gd name="T3" fmla="*/ 162 h 285"/>
                <a:gd name="T4" fmla="*/ 0 w 133"/>
                <a:gd name="T5" fmla="*/ 259 h 285"/>
                <a:gd name="T6" fmla="*/ 11 w 133"/>
                <a:gd name="T7" fmla="*/ 285 h 285"/>
                <a:gd name="T8" fmla="*/ 133 w 133"/>
                <a:gd name="T9" fmla="*/ 175 h 285"/>
                <a:gd name="T10" fmla="*/ 41 w 133"/>
                <a:gd name="T11" fmla="*/ 0 h 285"/>
                <a:gd name="T12" fmla="*/ 6 w 133"/>
                <a:gd name="T13" fmla="*/ 5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285">
                  <a:moveTo>
                    <a:pt x="6" y="55"/>
                  </a:moveTo>
                  <a:lnTo>
                    <a:pt x="73" y="162"/>
                  </a:lnTo>
                  <a:lnTo>
                    <a:pt x="0" y="259"/>
                  </a:lnTo>
                  <a:lnTo>
                    <a:pt x="11" y="285"/>
                  </a:lnTo>
                  <a:lnTo>
                    <a:pt x="133" y="175"/>
                  </a:lnTo>
                  <a:lnTo>
                    <a:pt x="41" y="0"/>
                  </a:lnTo>
                  <a:lnTo>
                    <a:pt x="6" y="55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0" name="îṣlîḋe">
              <a:extLst>
                <a:ext uri="{FF2B5EF4-FFF2-40B4-BE49-F238E27FC236}">
                  <a16:creationId xmlns:a16="http://schemas.microsoft.com/office/drawing/2014/main" id="{0FADB29D-6ECC-4FE1-9257-AF0BEB40425C}"/>
                </a:ext>
              </a:extLst>
            </p:cNvPr>
            <p:cNvSpPr/>
            <p:nvPr/>
          </p:nvSpPr>
          <p:spPr bwMode="auto">
            <a:xfrm>
              <a:off x="6502400" y="2695575"/>
              <a:ext cx="134938" cy="100013"/>
            </a:xfrm>
            <a:custGeom>
              <a:avLst/>
              <a:gdLst>
                <a:gd name="T0" fmla="*/ 51 w 51"/>
                <a:gd name="T1" fmla="*/ 16 h 38"/>
                <a:gd name="T2" fmla="*/ 28 w 51"/>
                <a:gd name="T3" fmla="*/ 33 h 38"/>
                <a:gd name="T4" fmla="*/ 12 w 51"/>
                <a:gd name="T5" fmla="*/ 36 h 38"/>
                <a:gd name="T6" fmla="*/ 4 w 51"/>
                <a:gd name="T7" fmla="*/ 19 h 38"/>
                <a:gd name="T8" fmla="*/ 23 w 51"/>
                <a:gd name="T9" fmla="*/ 12 h 38"/>
                <a:gd name="T10" fmla="*/ 10 w 51"/>
                <a:gd name="T11" fmla="*/ 9 h 38"/>
                <a:gd name="T12" fmla="*/ 16 w 51"/>
                <a:gd name="T13" fmla="*/ 5 h 38"/>
                <a:gd name="T14" fmla="*/ 44 w 51"/>
                <a:gd name="T15" fmla="*/ 0 h 38"/>
                <a:gd name="T16" fmla="*/ 51 w 51"/>
                <a:gd name="T17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8">
                  <a:moveTo>
                    <a:pt x="51" y="16"/>
                  </a:moveTo>
                  <a:cubicBezTo>
                    <a:pt x="44" y="21"/>
                    <a:pt x="28" y="33"/>
                    <a:pt x="28" y="33"/>
                  </a:cubicBezTo>
                  <a:cubicBezTo>
                    <a:pt x="28" y="33"/>
                    <a:pt x="17" y="38"/>
                    <a:pt x="12" y="36"/>
                  </a:cubicBezTo>
                  <a:cubicBezTo>
                    <a:pt x="6" y="33"/>
                    <a:pt x="0" y="21"/>
                    <a:pt x="4" y="19"/>
                  </a:cubicBezTo>
                  <a:cubicBezTo>
                    <a:pt x="6" y="18"/>
                    <a:pt x="23" y="12"/>
                    <a:pt x="23" y="12"/>
                  </a:cubicBezTo>
                  <a:cubicBezTo>
                    <a:pt x="23" y="12"/>
                    <a:pt x="11" y="11"/>
                    <a:pt x="10" y="9"/>
                  </a:cubicBezTo>
                  <a:cubicBezTo>
                    <a:pt x="10" y="6"/>
                    <a:pt x="14" y="5"/>
                    <a:pt x="16" y="5"/>
                  </a:cubicBezTo>
                  <a:cubicBezTo>
                    <a:pt x="19" y="4"/>
                    <a:pt x="44" y="0"/>
                    <a:pt x="44" y="0"/>
                  </a:cubicBezTo>
                  <a:lnTo>
                    <a:pt x="51" y="16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1" name="iṩlíḑê">
              <a:extLst>
                <a:ext uri="{FF2B5EF4-FFF2-40B4-BE49-F238E27FC236}">
                  <a16:creationId xmlns:a16="http://schemas.microsoft.com/office/drawing/2014/main" id="{C6BDA9BF-E646-4E97-BA57-D31A662E89BC}"/>
                </a:ext>
              </a:extLst>
            </p:cNvPr>
            <p:cNvSpPr/>
            <p:nvPr/>
          </p:nvSpPr>
          <p:spPr bwMode="auto">
            <a:xfrm>
              <a:off x="6478588" y="1954213"/>
              <a:ext cx="254000" cy="227013"/>
            </a:xfrm>
            <a:custGeom>
              <a:avLst/>
              <a:gdLst>
                <a:gd name="T0" fmla="*/ 70 w 96"/>
                <a:gd name="T1" fmla="*/ 86 h 86"/>
                <a:gd name="T2" fmla="*/ 36 w 96"/>
                <a:gd name="T3" fmla="*/ 40 h 86"/>
                <a:gd name="T4" fmla="*/ 26 w 96"/>
                <a:gd name="T5" fmla="*/ 55 h 86"/>
                <a:gd name="T6" fmla="*/ 0 w 96"/>
                <a:gd name="T7" fmla="*/ 52 h 86"/>
                <a:gd name="T8" fmla="*/ 58 w 96"/>
                <a:gd name="T9" fmla="*/ 17 h 86"/>
                <a:gd name="T10" fmla="*/ 70 w 96"/>
                <a:gd name="T1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86">
                  <a:moveTo>
                    <a:pt x="70" y="86"/>
                  </a:moveTo>
                  <a:cubicBezTo>
                    <a:pt x="70" y="86"/>
                    <a:pt x="36" y="82"/>
                    <a:pt x="36" y="40"/>
                  </a:cubicBezTo>
                  <a:cubicBezTo>
                    <a:pt x="36" y="40"/>
                    <a:pt x="34" y="50"/>
                    <a:pt x="26" y="55"/>
                  </a:cubicBezTo>
                  <a:cubicBezTo>
                    <a:pt x="19" y="59"/>
                    <a:pt x="5" y="58"/>
                    <a:pt x="0" y="52"/>
                  </a:cubicBezTo>
                  <a:cubicBezTo>
                    <a:pt x="0" y="52"/>
                    <a:pt x="7" y="0"/>
                    <a:pt x="58" y="17"/>
                  </a:cubicBezTo>
                  <a:cubicBezTo>
                    <a:pt x="66" y="20"/>
                    <a:pt x="96" y="30"/>
                    <a:pt x="70" y="86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2" name="işľïdè">
              <a:extLst>
                <a:ext uri="{FF2B5EF4-FFF2-40B4-BE49-F238E27FC236}">
                  <a16:creationId xmlns:a16="http://schemas.microsoft.com/office/drawing/2014/main" id="{BF557A67-4957-4026-BF4C-4DC4656D56A4}"/>
                </a:ext>
              </a:extLst>
            </p:cNvPr>
            <p:cNvSpPr/>
            <p:nvPr/>
          </p:nvSpPr>
          <p:spPr bwMode="auto">
            <a:xfrm>
              <a:off x="6581775" y="2097088"/>
              <a:ext cx="61913" cy="60325"/>
            </a:xfrm>
            <a:custGeom>
              <a:avLst/>
              <a:gdLst>
                <a:gd name="T0" fmla="*/ 22 w 23"/>
                <a:gd name="T1" fmla="*/ 13 h 23"/>
                <a:gd name="T2" fmla="*/ 12 w 23"/>
                <a:gd name="T3" fmla="*/ 1 h 23"/>
                <a:gd name="T4" fmla="*/ 0 w 23"/>
                <a:gd name="T5" fmla="*/ 11 h 23"/>
                <a:gd name="T6" fmla="*/ 10 w 23"/>
                <a:gd name="T7" fmla="*/ 23 h 23"/>
                <a:gd name="T8" fmla="*/ 22 w 23"/>
                <a:gd name="T9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2" y="13"/>
                  </a:moveTo>
                  <a:cubicBezTo>
                    <a:pt x="23" y="7"/>
                    <a:pt x="18" y="2"/>
                    <a:pt x="12" y="1"/>
                  </a:cubicBezTo>
                  <a:cubicBezTo>
                    <a:pt x="7" y="0"/>
                    <a:pt x="1" y="5"/>
                    <a:pt x="0" y="11"/>
                  </a:cubicBezTo>
                  <a:cubicBezTo>
                    <a:pt x="0" y="16"/>
                    <a:pt x="4" y="22"/>
                    <a:pt x="10" y="23"/>
                  </a:cubicBezTo>
                  <a:cubicBezTo>
                    <a:pt x="16" y="23"/>
                    <a:pt x="21" y="19"/>
                    <a:pt x="22" y="1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3" name="îṧḻïḑé">
              <a:extLst>
                <a:ext uri="{FF2B5EF4-FFF2-40B4-BE49-F238E27FC236}">
                  <a16:creationId xmlns:a16="http://schemas.microsoft.com/office/drawing/2014/main" id="{41B93126-DA0A-4EA6-AD76-A503CEE96C15}"/>
                </a:ext>
              </a:extLst>
            </p:cNvPr>
            <p:cNvSpPr/>
            <p:nvPr/>
          </p:nvSpPr>
          <p:spPr bwMode="auto">
            <a:xfrm>
              <a:off x="6648450" y="2124075"/>
              <a:ext cx="206375" cy="187325"/>
            </a:xfrm>
            <a:custGeom>
              <a:avLst/>
              <a:gdLst>
                <a:gd name="T0" fmla="*/ 9 w 78"/>
                <a:gd name="T1" fmla="*/ 7 h 71"/>
                <a:gd name="T2" fmla="*/ 29 w 78"/>
                <a:gd name="T3" fmla="*/ 2 h 71"/>
                <a:gd name="T4" fmla="*/ 52 w 78"/>
                <a:gd name="T5" fmla="*/ 36 h 71"/>
                <a:gd name="T6" fmla="*/ 77 w 78"/>
                <a:gd name="T7" fmla="*/ 53 h 71"/>
                <a:gd name="T8" fmla="*/ 59 w 78"/>
                <a:gd name="T9" fmla="*/ 70 h 71"/>
                <a:gd name="T10" fmla="*/ 29 w 78"/>
                <a:gd name="T11" fmla="*/ 47 h 71"/>
                <a:gd name="T12" fmla="*/ 10 w 78"/>
                <a:gd name="T13" fmla="*/ 12 h 71"/>
                <a:gd name="T14" fmla="*/ 9 w 78"/>
                <a:gd name="T15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1">
                  <a:moveTo>
                    <a:pt x="9" y="7"/>
                  </a:moveTo>
                  <a:cubicBezTo>
                    <a:pt x="9" y="7"/>
                    <a:pt x="16" y="0"/>
                    <a:pt x="29" y="2"/>
                  </a:cubicBezTo>
                  <a:cubicBezTo>
                    <a:pt x="42" y="5"/>
                    <a:pt x="48" y="23"/>
                    <a:pt x="52" y="36"/>
                  </a:cubicBezTo>
                  <a:cubicBezTo>
                    <a:pt x="56" y="49"/>
                    <a:pt x="66" y="58"/>
                    <a:pt x="77" y="53"/>
                  </a:cubicBezTo>
                  <a:cubicBezTo>
                    <a:pt x="77" y="53"/>
                    <a:pt x="78" y="69"/>
                    <a:pt x="59" y="70"/>
                  </a:cubicBezTo>
                  <a:cubicBezTo>
                    <a:pt x="40" y="71"/>
                    <a:pt x="34" y="58"/>
                    <a:pt x="29" y="47"/>
                  </a:cubicBezTo>
                  <a:cubicBezTo>
                    <a:pt x="25" y="36"/>
                    <a:pt x="20" y="9"/>
                    <a:pt x="10" y="12"/>
                  </a:cubicBezTo>
                  <a:cubicBezTo>
                    <a:pt x="0" y="16"/>
                    <a:pt x="9" y="7"/>
                    <a:pt x="9" y="7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4" name="ïṣḻiḓè">
              <a:extLst>
                <a:ext uri="{FF2B5EF4-FFF2-40B4-BE49-F238E27FC236}">
                  <a16:creationId xmlns:a16="http://schemas.microsoft.com/office/drawing/2014/main" id="{4A1FE2CE-47B2-4ED2-9A69-99B59F5FC1EA}"/>
                </a:ext>
              </a:extLst>
            </p:cNvPr>
            <p:cNvSpPr/>
            <p:nvPr/>
          </p:nvSpPr>
          <p:spPr bwMode="auto">
            <a:xfrm>
              <a:off x="6521450" y="1935163"/>
              <a:ext cx="201613" cy="153988"/>
            </a:xfrm>
            <a:custGeom>
              <a:avLst/>
              <a:gdLst>
                <a:gd name="T0" fmla="*/ 68 w 76"/>
                <a:gd name="T1" fmla="*/ 58 h 58"/>
                <a:gd name="T2" fmla="*/ 51 w 76"/>
                <a:gd name="T3" fmla="*/ 11 h 58"/>
                <a:gd name="T4" fmla="*/ 0 w 76"/>
                <a:gd name="T5" fmla="*/ 23 h 58"/>
                <a:gd name="T6" fmla="*/ 68 w 76"/>
                <a:gd name="T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58">
                  <a:moveTo>
                    <a:pt x="68" y="58"/>
                  </a:moveTo>
                  <a:cubicBezTo>
                    <a:pt x="76" y="44"/>
                    <a:pt x="71" y="23"/>
                    <a:pt x="51" y="11"/>
                  </a:cubicBezTo>
                  <a:cubicBezTo>
                    <a:pt x="30" y="0"/>
                    <a:pt x="10" y="9"/>
                    <a:pt x="0" y="23"/>
                  </a:cubicBezTo>
                  <a:lnTo>
                    <a:pt x="68" y="5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5" name="ïṧľíďé">
              <a:extLst>
                <a:ext uri="{FF2B5EF4-FFF2-40B4-BE49-F238E27FC236}">
                  <a16:creationId xmlns:a16="http://schemas.microsoft.com/office/drawing/2014/main" id="{30A071C0-EFAB-4812-BDAA-B7E8854F72F4}"/>
                </a:ext>
              </a:extLst>
            </p:cNvPr>
            <p:cNvSpPr/>
            <p:nvPr/>
          </p:nvSpPr>
          <p:spPr bwMode="auto">
            <a:xfrm>
              <a:off x="6478588" y="1974850"/>
              <a:ext cx="230188" cy="133350"/>
            </a:xfrm>
            <a:custGeom>
              <a:avLst/>
              <a:gdLst>
                <a:gd name="T0" fmla="*/ 140 w 145"/>
                <a:gd name="T1" fmla="*/ 84 h 84"/>
                <a:gd name="T2" fmla="*/ 0 w 145"/>
                <a:gd name="T3" fmla="*/ 12 h 84"/>
                <a:gd name="T4" fmla="*/ 5 w 145"/>
                <a:gd name="T5" fmla="*/ 0 h 84"/>
                <a:gd name="T6" fmla="*/ 145 w 145"/>
                <a:gd name="T7" fmla="*/ 72 h 84"/>
                <a:gd name="T8" fmla="*/ 140 w 145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84">
                  <a:moveTo>
                    <a:pt x="140" y="84"/>
                  </a:moveTo>
                  <a:lnTo>
                    <a:pt x="0" y="12"/>
                  </a:lnTo>
                  <a:lnTo>
                    <a:pt x="5" y="0"/>
                  </a:lnTo>
                  <a:lnTo>
                    <a:pt x="145" y="72"/>
                  </a:lnTo>
                  <a:lnTo>
                    <a:pt x="140" y="84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6" name="íš1ïḓe">
              <a:extLst>
                <a:ext uri="{FF2B5EF4-FFF2-40B4-BE49-F238E27FC236}">
                  <a16:creationId xmlns:a16="http://schemas.microsoft.com/office/drawing/2014/main" id="{72405520-BCAC-4918-AD06-2418CF4A16D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220663"/>
            </a:xfrm>
            <a:custGeom>
              <a:avLst/>
              <a:gdLst>
                <a:gd name="T0" fmla="*/ 159 w 173"/>
                <a:gd name="T1" fmla="*/ 83 h 83"/>
                <a:gd name="T2" fmla="*/ 15 w 173"/>
                <a:gd name="T3" fmla="*/ 83 h 83"/>
                <a:gd name="T4" fmla="*/ 0 w 173"/>
                <a:gd name="T5" fmla="*/ 69 h 83"/>
                <a:gd name="T6" fmla="*/ 0 w 173"/>
                <a:gd name="T7" fmla="*/ 0 h 83"/>
                <a:gd name="T8" fmla="*/ 173 w 173"/>
                <a:gd name="T9" fmla="*/ 0 h 83"/>
                <a:gd name="T10" fmla="*/ 173 w 173"/>
                <a:gd name="T11" fmla="*/ 69 h 83"/>
                <a:gd name="T12" fmla="*/ 159 w 173"/>
                <a:gd name="T1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83">
                  <a:moveTo>
                    <a:pt x="159" y="83"/>
                  </a:moveTo>
                  <a:cubicBezTo>
                    <a:pt x="15" y="83"/>
                    <a:pt x="15" y="83"/>
                    <a:pt x="15" y="83"/>
                  </a:cubicBezTo>
                  <a:cubicBezTo>
                    <a:pt x="7" y="83"/>
                    <a:pt x="0" y="77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3" y="69"/>
                    <a:pt x="173" y="69"/>
                    <a:pt x="173" y="69"/>
                  </a:cubicBezTo>
                  <a:cubicBezTo>
                    <a:pt x="173" y="77"/>
                    <a:pt x="166" y="83"/>
                    <a:pt x="159" y="8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7" name="íṥḷïdè">
              <a:extLst>
                <a:ext uri="{FF2B5EF4-FFF2-40B4-BE49-F238E27FC236}">
                  <a16:creationId xmlns:a16="http://schemas.microsoft.com/office/drawing/2014/main" id="{93F28E53-17BE-472F-9089-7943C776E63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19050"/>
            </a:xfrm>
            <a:prstGeom prst="rect">
              <a:avLst/>
            </a:pr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8" name="ïşľiḍé">
              <a:extLst>
                <a:ext uri="{FF2B5EF4-FFF2-40B4-BE49-F238E27FC236}">
                  <a16:creationId xmlns:a16="http://schemas.microsoft.com/office/drawing/2014/main" id="{A7FE82EF-645A-42E2-BF97-B39C12AB04B3}"/>
                </a:ext>
              </a:extLst>
            </p:cNvPr>
            <p:cNvSpPr/>
            <p:nvPr/>
          </p:nvSpPr>
          <p:spPr bwMode="auto">
            <a:xfrm>
              <a:off x="7037388" y="3328988"/>
              <a:ext cx="61913" cy="42863"/>
            </a:xfrm>
            <a:custGeom>
              <a:avLst/>
              <a:gdLst>
                <a:gd name="T0" fmla="*/ 0 w 23"/>
                <a:gd name="T1" fmla="*/ 0 h 16"/>
                <a:gd name="T2" fmla="*/ 23 w 23"/>
                <a:gd name="T3" fmla="*/ 0 h 16"/>
                <a:gd name="T4" fmla="*/ 22 w 23"/>
                <a:gd name="T5" fmla="*/ 14 h 16"/>
                <a:gd name="T6" fmla="*/ 19 w 23"/>
                <a:gd name="T7" fmla="*/ 16 h 16"/>
                <a:gd name="T8" fmla="*/ 4 w 23"/>
                <a:gd name="T9" fmla="*/ 16 h 16"/>
                <a:gd name="T10" fmla="*/ 1 w 23"/>
                <a:gd name="T11" fmla="*/ 14 h 16"/>
                <a:gd name="T12" fmla="*/ 0 w 2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1" y="16"/>
                    <a:pt x="19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5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9" name="îš1îḓé">
              <a:extLst>
                <a:ext uri="{FF2B5EF4-FFF2-40B4-BE49-F238E27FC236}">
                  <a16:creationId xmlns:a16="http://schemas.microsoft.com/office/drawing/2014/main" id="{AB8E1BAA-BB47-4068-B5EC-4239C6A55EE9}"/>
                </a:ext>
              </a:extLst>
            </p:cNvPr>
            <p:cNvSpPr/>
            <p:nvPr/>
          </p:nvSpPr>
          <p:spPr bwMode="auto">
            <a:xfrm>
              <a:off x="6831013" y="3248025"/>
              <a:ext cx="476250" cy="96838"/>
            </a:xfrm>
            <a:custGeom>
              <a:avLst/>
              <a:gdLst>
                <a:gd name="T0" fmla="*/ 9 w 180"/>
                <a:gd name="T1" fmla="*/ 0 h 37"/>
                <a:gd name="T2" fmla="*/ 170 w 180"/>
                <a:gd name="T3" fmla="*/ 0 h 37"/>
                <a:gd name="T4" fmla="*/ 180 w 180"/>
                <a:gd name="T5" fmla="*/ 9 h 37"/>
                <a:gd name="T6" fmla="*/ 180 w 180"/>
                <a:gd name="T7" fmla="*/ 37 h 37"/>
                <a:gd name="T8" fmla="*/ 0 w 180"/>
                <a:gd name="T9" fmla="*/ 37 h 37"/>
                <a:gd name="T10" fmla="*/ 0 w 180"/>
                <a:gd name="T11" fmla="*/ 9 h 37"/>
                <a:gd name="T12" fmla="*/ 9 w 18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37">
                  <a:moveTo>
                    <a:pt x="9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5" y="0"/>
                    <a:pt x="180" y="4"/>
                    <a:pt x="180" y="9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0" name="işḷïḓé">
              <a:extLst>
                <a:ext uri="{FF2B5EF4-FFF2-40B4-BE49-F238E27FC236}">
                  <a16:creationId xmlns:a16="http://schemas.microsoft.com/office/drawing/2014/main" id="{57C71467-BE38-481A-AE6F-5858A07F033D}"/>
                </a:ext>
              </a:extLst>
            </p:cNvPr>
            <p:cNvSpPr/>
            <p:nvPr/>
          </p:nvSpPr>
          <p:spPr bwMode="auto">
            <a:xfrm>
              <a:off x="685958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1" name="íṧ1îḍe">
              <a:extLst>
                <a:ext uri="{FF2B5EF4-FFF2-40B4-BE49-F238E27FC236}">
                  <a16:creationId xmlns:a16="http://schemas.microsoft.com/office/drawing/2014/main" id="{27A29A62-FEBF-4BC8-9789-F8105268CF10}"/>
                </a:ext>
              </a:extLst>
            </p:cNvPr>
            <p:cNvSpPr/>
            <p:nvPr/>
          </p:nvSpPr>
          <p:spPr bwMode="auto">
            <a:xfrm>
              <a:off x="6897688" y="3382963"/>
              <a:ext cx="15875" cy="168275"/>
            </a:xfrm>
            <a:custGeom>
              <a:avLst/>
              <a:gdLst>
                <a:gd name="T0" fmla="*/ 3 w 6"/>
                <a:gd name="T1" fmla="*/ 64 h 64"/>
                <a:gd name="T2" fmla="*/ 3 w 6"/>
                <a:gd name="T3" fmla="*/ 64 h 64"/>
                <a:gd name="T4" fmla="*/ 0 w 6"/>
                <a:gd name="T5" fmla="*/ 60 h 64"/>
                <a:gd name="T6" fmla="*/ 0 w 6"/>
                <a:gd name="T7" fmla="*/ 4 h 64"/>
                <a:gd name="T8" fmla="*/ 3 w 6"/>
                <a:gd name="T9" fmla="*/ 0 h 64"/>
                <a:gd name="T10" fmla="*/ 3 w 6"/>
                <a:gd name="T11" fmla="*/ 0 h 64"/>
                <a:gd name="T12" fmla="*/ 6 w 6"/>
                <a:gd name="T13" fmla="*/ 4 h 64"/>
                <a:gd name="T14" fmla="*/ 6 w 6"/>
                <a:gd name="T15" fmla="*/ 60 h 64"/>
                <a:gd name="T16" fmla="*/ 3 w 6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2" name="íŝ1îḋe">
              <a:extLst>
                <a:ext uri="{FF2B5EF4-FFF2-40B4-BE49-F238E27FC236}">
                  <a16:creationId xmlns:a16="http://schemas.microsoft.com/office/drawing/2014/main" id="{7392A10B-F0C1-4DE6-88E2-EC82F4E7DEEA}"/>
                </a:ext>
              </a:extLst>
            </p:cNvPr>
            <p:cNvSpPr/>
            <p:nvPr/>
          </p:nvSpPr>
          <p:spPr bwMode="auto">
            <a:xfrm>
              <a:off x="6931025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3" name="îşľîḍê">
              <a:extLst>
                <a:ext uri="{FF2B5EF4-FFF2-40B4-BE49-F238E27FC236}">
                  <a16:creationId xmlns:a16="http://schemas.microsoft.com/office/drawing/2014/main" id="{8D0EAE11-E86F-419B-943D-42B728820DAA}"/>
                </a:ext>
              </a:extLst>
            </p:cNvPr>
            <p:cNvSpPr/>
            <p:nvPr/>
          </p:nvSpPr>
          <p:spPr bwMode="auto">
            <a:xfrm>
              <a:off x="696912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4" name="iṧľïḓe">
              <a:extLst>
                <a:ext uri="{FF2B5EF4-FFF2-40B4-BE49-F238E27FC236}">
                  <a16:creationId xmlns:a16="http://schemas.microsoft.com/office/drawing/2014/main" id="{D388FFC9-A0E7-4166-A762-78D24B7C25FC}"/>
                </a:ext>
              </a:extLst>
            </p:cNvPr>
            <p:cNvSpPr/>
            <p:nvPr/>
          </p:nvSpPr>
          <p:spPr bwMode="auto">
            <a:xfrm>
              <a:off x="700563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5" name="îŝ1íḓê">
              <a:extLst>
                <a:ext uri="{FF2B5EF4-FFF2-40B4-BE49-F238E27FC236}">
                  <a16:creationId xmlns:a16="http://schemas.microsoft.com/office/drawing/2014/main" id="{1A6E156D-AB9D-4109-A419-3259B14BFBC7}"/>
                </a:ext>
              </a:extLst>
            </p:cNvPr>
            <p:cNvSpPr/>
            <p:nvPr/>
          </p:nvSpPr>
          <p:spPr bwMode="auto">
            <a:xfrm>
              <a:off x="704056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6" name="íŝḷiḑè">
              <a:extLst>
                <a:ext uri="{FF2B5EF4-FFF2-40B4-BE49-F238E27FC236}">
                  <a16:creationId xmlns:a16="http://schemas.microsoft.com/office/drawing/2014/main" id="{664628F5-42E7-489A-993B-FF22FA872E8E}"/>
                </a:ext>
              </a:extLst>
            </p:cNvPr>
            <p:cNvSpPr/>
            <p:nvPr/>
          </p:nvSpPr>
          <p:spPr bwMode="auto">
            <a:xfrm>
              <a:off x="707707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7" name="í$ľiḓé">
              <a:extLst>
                <a:ext uri="{FF2B5EF4-FFF2-40B4-BE49-F238E27FC236}">
                  <a16:creationId xmlns:a16="http://schemas.microsoft.com/office/drawing/2014/main" id="{6370D9E6-3389-4458-97EA-4930985AE6CC}"/>
                </a:ext>
              </a:extLst>
            </p:cNvPr>
            <p:cNvSpPr/>
            <p:nvPr/>
          </p:nvSpPr>
          <p:spPr bwMode="auto">
            <a:xfrm>
              <a:off x="711517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8" name="îšļiďé">
              <a:extLst>
                <a:ext uri="{FF2B5EF4-FFF2-40B4-BE49-F238E27FC236}">
                  <a16:creationId xmlns:a16="http://schemas.microsoft.com/office/drawing/2014/main" id="{B441541B-B4FE-4C0C-8286-BEE9332F549E}"/>
                </a:ext>
              </a:extLst>
            </p:cNvPr>
            <p:cNvSpPr/>
            <p:nvPr/>
          </p:nvSpPr>
          <p:spPr bwMode="auto">
            <a:xfrm>
              <a:off x="714851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9" name="iŝļïḓê">
              <a:extLst>
                <a:ext uri="{FF2B5EF4-FFF2-40B4-BE49-F238E27FC236}">
                  <a16:creationId xmlns:a16="http://schemas.microsoft.com/office/drawing/2014/main" id="{AF89367F-F860-4225-AD1F-9B82C7E7328C}"/>
                </a:ext>
              </a:extLst>
            </p:cNvPr>
            <p:cNvSpPr/>
            <p:nvPr/>
          </p:nvSpPr>
          <p:spPr bwMode="auto">
            <a:xfrm>
              <a:off x="7186613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0" name="íṩ1idê">
              <a:extLst>
                <a:ext uri="{FF2B5EF4-FFF2-40B4-BE49-F238E27FC236}">
                  <a16:creationId xmlns:a16="http://schemas.microsoft.com/office/drawing/2014/main" id="{D83E3489-93D8-4D98-A29E-621956C06F82}"/>
                </a:ext>
              </a:extLst>
            </p:cNvPr>
            <p:cNvSpPr/>
            <p:nvPr/>
          </p:nvSpPr>
          <p:spPr bwMode="auto">
            <a:xfrm>
              <a:off x="722312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1" name="iṧ1iḋé">
              <a:extLst>
                <a:ext uri="{FF2B5EF4-FFF2-40B4-BE49-F238E27FC236}">
                  <a16:creationId xmlns:a16="http://schemas.microsoft.com/office/drawing/2014/main" id="{328FD554-591A-45F0-B615-0E516D03899C}"/>
                </a:ext>
              </a:extLst>
            </p:cNvPr>
            <p:cNvSpPr/>
            <p:nvPr/>
          </p:nvSpPr>
          <p:spPr bwMode="auto">
            <a:xfrm>
              <a:off x="7258050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2" name="iṣľiḋe">
              <a:extLst>
                <a:ext uri="{FF2B5EF4-FFF2-40B4-BE49-F238E27FC236}">
                  <a16:creationId xmlns:a16="http://schemas.microsoft.com/office/drawing/2014/main" id="{E943221A-9FD7-4D9E-A7C0-1BC4D44F3C90}"/>
                </a:ext>
              </a:extLst>
            </p:cNvPr>
            <p:cNvSpPr/>
            <p:nvPr/>
          </p:nvSpPr>
          <p:spPr bwMode="auto">
            <a:xfrm>
              <a:off x="7178675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6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3" name="íš1îḋê">
              <a:extLst>
                <a:ext uri="{FF2B5EF4-FFF2-40B4-BE49-F238E27FC236}">
                  <a16:creationId xmlns:a16="http://schemas.microsoft.com/office/drawing/2014/main" id="{E60267AA-CDCB-410E-8163-946F66857D8B}"/>
                </a:ext>
              </a:extLst>
            </p:cNvPr>
            <p:cNvSpPr/>
            <p:nvPr/>
          </p:nvSpPr>
          <p:spPr bwMode="auto">
            <a:xfrm>
              <a:off x="6875463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7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4" name="íṣḷíḍê">
              <a:extLst>
                <a:ext uri="{FF2B5EF4-FFF2-40B4-BE49-F238E27FC236}">
                  <a16:creationId xmlns:a16="http://schemas.microsoft.com/office/drawing/2014/main" id="{CDE3BA28-ED32-4C2B-ACB5-A0DFF341A4F9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74613"/>
            </a:xfrm>
            <a:custGeom>
              <a:avLst/>
              <a:gdLst>
                <a:gd name="T0" fmla="*/ 65 w 65"/>
                <a:gd name="T1" fmla="*/ 28 h 28"/>
                <a:gd name="T2" fmla="*/ 57 w 65"/>
                <a:gd name="T3" fmla="*/ 28 h 28"/>
                <a:gd name="T4" fmla="*/ 57 w 65"/>
                <a:gd name="T5" fmla="*/ 11 h 28"/>
                <a:gd name="T6" fmla="*/ 54 w 65"/>
                <a:gd name="T7" fmla="*/ 8 h 28"/>
                <a:gd name="T8" fmla="*/ 11 w 65"/>
                <a:gd name="T9" fmla="*/ 8 h 28"/>
                <a:gd name="T10" fmla="*/ 8 w 65"/>
                <a:gd name="T11" fmla="*/ 11 h 28"/>
                <a:gd name="T12" fmla="*/ 8 w 65"/>
                <a:gd name="T13" fmla="*/ 28 h 28"/>
                <a:gd name="T14" fmla="*/ 0 w 65"/>
                <a:gd name="T15" fmla="*/ 28 h 28"/>
                <a:gd name="T16" fmla="*/ 0 w 65"/>
                <a:gd name="T17" fmla="*/ 11 h 28"/>
                <a:gd name="T18" fmla="*/ 11 w 65"/>
                <a:gd name="T19" fmla="*/ 0 h 28"/>
                <a:gd name="T20" fmla="*/ 54 w 65"/>
                <a:gd name="T21" fmla="*/ 0 h 28"/>
                <a:gd name="T22" fmla="*/ 65 w 65"/>
                <a:gd name="T23" fmla="*/ 11 h 28"/>
                <a:gd name="T24" fmla="*/ 65 w 65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28">
                  <a:moveTo>
                    <a:pt x="65" y="28"/>
                  </a:moveTo>
                  <a:cubicBezTo>
                    <a:pt x="57" y="28"/>
                    <a:pt x="57" y="28"/>
                    <a:pt x="57" y="28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7" y="9"/>
                    <a:pt x="56" y="8"/>
                    <a:pt x="54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8" y="9"/>
                    <a:pt x="8" y="11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0" y="0"/>
                    <a:pt x="65" y="5"/>
                    <a:pt x="65" y="11"/>
                  </a:cubicBezTo>
                  <a:lnTo>
                    <a:pt x="65" y="28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5" name="íṥḻïḓe">
              <a:extLst>
                <a:ext uri="{FF2B5EF4-FFF2-40B4-BE49-F238E27FC236}">
                  <a16:creationId xmlns:a16="http://schemas.microsoft.com/office/drawing/2014/main" id="{9B74D01E-B4FE-4B85-94DF-178387239A09}"/>
                </a:ext>
              </a:extLst>
            </p:cNvPr>
            <p:cNvSpPr/>
            <p:nvPr/>
          </p:nvSpPr>
          <p:spPr bwMode="auto">
            <a:xfrm>
              <a:off x="7132638" y="3236913"/>
              <a:ext cx="22225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6" name="íś1îdê">
              <a:extLst>
                <a:ext uri="{FF2B5EF4-FFF2-40B4-BE49-F238E27FC236}">
                  <a16:creationId xmlns:a16="http://schemas.microsoft.com/office/drawing/2014/main" id="{E280A17F-987F-41AB-8341-0EC7E2A181D0}"/>
                </a:ext>
              </a:extLst>
            </p:cNvPr>
            <p:cNvSpPr/>
            <p:nvPr/>
          </p:nvSpPr>
          <p:spPr bwMode="auto">
            <a:xfrm>
              <a:off x="6981825" y="3236913"/>
              <a:ext cx="20638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7" name="îṩļïḓè">
              <a:extLst>
                <a:ext uri="{FF2B5EF4-FFF2-40B4-BE49-F238E27FC236}">
                  <a16:creationId xmlns:a16="http://schemas.microsoft.com/office/drawing/2014/main" id="{720816F4-642D-469E-822C-9D565F498CDE}"/>
                </a:ext>
              </a:extLst>
            </p:cNvPr>
            <p:cNvSpPr/>
            <p:nvPr/>
          </p:nvSpPr>
          <p:spPr bwMode="auto">
            <a:xfrm>
              <a:off x="6899275" y="3324225"/>
              <a:ext cx="34925" cy="55563"/>
            </a:xfrm>
            <a:custGeom>
              <a:avLst/>
              <a:gdLst>
                <a:gd name="T0" fmla="*/ 4 w 13"/>
                <a:gd name="T1" fmla="*/ 0 h 21"/>
                <a:gd name="T2" fmla="*/ 8 w 13"/>
                <a:gd name="T3" fmla="*/ 0 h 21"/>
                <a:gd name="T4" fmla="*/ 13 w 13"/>
                <a:gd name="T5" fmla="*/ 5 h 21"/>
                <a:gd name="T6" fmla="*/ 13 w 13"/>
                <a:gd name="T7" fmla="*/ 17 h 21"/>
                <a:gd name="T8" fmla="*/ 8 w 13"/>
                <a:gd name="T9" fmla="*/ 21 h 21"/>
                <a:gd name="T10" fmla="*/ 4 w 13"/>
                <a:gd name="T11" fmla="*/ 21 h 21"/>
                <a:gd name="T12" fmla="*/ 0 w 13"/>
                <a:gd name="T13" fmla="*/ 17 h 21"/>
                <a:gd name="T14" fmla="*/ 0 w 13"/>
                <a:gd name="T15" fmla="*/ 5 h 21"/>
                <a:gd name="T16" fmla="*/ 4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5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9"/>
                    <a:pt x="11" y="21"/>
                    <a:pt x="8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2" y="21"/>
                    <a:pt x="0" y="19"/>
                    <a:pt x="0" y="1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8" name="íšļíḑê">
              <a:extLst>
                <a:ext uri="{FF2B5EF4-FFF2-40B4-BE49-F238E27FC236}">
                  <a16:creationId xmlns:a16="http://schemas.microsoft.com/office/drawing/2014/main" id="{F033DDB0-1E10-4486-92E2-514D3D4D2408}"/>
                </a:ext>
              </a:extLst>
            </p:cNvPr>
            <p:cNvSpPr/>
            <p:nvPr/>
          </p:nvSpPr>
          <p:spPr bwMode="auto">
            <a:xfrm>
              <a:off x="6899275" y="3300413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4 h 17"/>
                <a:gd name="T16" fmla="*/ 10 w 13"/>
                <a:gd name="T17" fmla="*/ 14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9" name="ïṣ1iḑè">
              <a:extLst>
                <a:ext uri="{FF2B5EF4-FFF2-40B4-BE49-F238E27FC236}">
                  <a16:creationId xmlns:a16="http://schemas.microsoft.com/office/drawing/2014/main" id="{DAB54A6D-7432-46BC-B02F-13823F86C2C1}"/>
                </a:ext>
              </a:extLst>
            </p:cNvPr>
            <p:cNvSpPr/>
            <p:nvPr/>
          </p:nvSpPr>
          <p:spPr bwMode="auto">
            <a:xfrm>
              <a:off x="6899275" y="3295650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5 h 17"/>
                <a:gd name="T16" fmla="*/ 10 w 13"/>
                <a:gd name="T17" fmla="*/ 15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5"/>
                  </a:moveTo>
                  <a:cubicBezTo>
                    <a:pt x="10" y="15"/>
                    <a:pt x="10" y="15"/>
                    <a:pt x="10" y="1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5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0" name="iŝľiḓé">
              <a:extLst>
                <a:ext uri="{FF2B5EF4-FFF2-40B4-BE49-F238E27FC236}">
                  <a16:creationId xmlns:a16="http://schemas.microsoft.com/office/drawing/2014/main" id="{E8D75979-D35B-4074-BB03-C17CC14AAE1E}"/>
                </a:ext>
              </a:extLst>
            </p:cNvPr>
            <p:cNvSpPr/>
            <p:nvPr/>
          </p:nvSpPr>
          <p:spPr bwMode="auto">
            <a:xfrm>
              <a:off x="6899275" y="3319463"/>
              <a:ext cx="34925" cy="52388"/>
            </a:xfrm>
            <a:custGeom>
              <a:avLst/>
              <a:gdLst>
                <a:gd name="T0" fmla="*/ 4 w 13"/>
                <a:gd name="T1" fmla="*/ 0 h 20"/>
                <a:gd name="T2" fmla="*/ 8 w 13"/>
                <a:gd name="T3" fmla="*/ 0 h 20"/>
                <a:gd name="T4" fmla="*/ 13 w 13"/>
                <a:gd name="T5" fmla="*/ 4 h 20"/>
                <a:gd name="T6" fmla="*/ 13 w 13"/>
                <a:gd name="T7" fmla="*/ 16 h 20"/>
                <a:gd name="T8" fmla="*/ 8 w 13"/>
                <a:gd name="T9" fmla="*/ 20 h 20"/>
                <a:gd name="T10" fmla="*/ 4 w 13"/>
                <a:gd name="T11" fmla="*/ 20 h 20"/>
                <a:gd name="T12" fmla="*/ 0 w 13"/>
                <a:gd name="T13" fmla="*/ 16 h 20"/>
                <a:gd name="T14" fmla="*/ 0 w 13"/>
                <a:gd name="T15" fmla="*/ 4 h 20"/>
                <a:gd name="T16" fmla="*/ 4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8"/>
                    <a:pt x="11" y="20"/>
                    <a:pt x="8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1" name="îṡḻiďê">
              <a:extLst>
                <a:ext uri="{FF2B5EF4-FFF2-40B4-BE49-F238E27FC236}">
                  <a16:creationId xmlns:a16="http://schemas.microsoft.com/office/drawing/2014/main" id="{1A2D7D05-59A5-4954-A4AF-C96CB5E70C13}"/>
                </a:ext>
              </a:extLst>
            </p:cNvPr>
            <p:cNvSpPr/>
            <p:nvPr/>
          </p:nvSpPr>
          <p:spPr bwMode="auto">
            <a:xfrm>
              <a:off x="6910388" y="3344863"/>
              <a:ext cx="23813" cy="26988"/>
            </a:xfrm>
            <a:custGeom>
              <a:avLst/>
              <a:gdLst>
                <a:gd name="T0" fmla="*/ 7 w 9"/>
                <a:gd name="T1" fmla="*/ 8 h 10"/>
                <a:gd name="T2" fmla="*/ 8 w 9"/>
                <a:gd name="T3" fmla="*/ 0 h 10"/>
                <a:gd name="T4" fmla="*/ 9 w 9"/>
                <a:gd name="T5" fmla="*/ 0 h 10"/>
                <a:gd name="T6" fmla="*/ 9 w 9"/>
                <a:gd name="T7" fmla="*/ 6 h 10"/>
                <a:gd name="T8" fmla="*/ 4 w 9"/>
                <a:gd name="T9" fmla="*/ 10 h 10"/>
                <a:gd name="T10" fmla="*/ 0 w 9"/>
                <a:gd name="T11" fmla="*/ 10 h 10"/>
                <a:gd name="T12" fmla="*/ 7 w 9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8"/>
                  </a:moveTo>
                  <a:cubicBezTo>
                    <a:pt x="8" y="7"/>
                    <a:pt x="8" y="5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9"/>
                    <a:pt x="7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6" y="9"/>
                    <a:pt x="7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2" name="iŝḻidê">
              <a:extLst>
                <a:ext uri="{FF2B5EF4-FFF2-40B4-BE49-F238E27FC236}">
                  <a16:creationId xmlns:a16="http://schemas.microsoft.com/office/drawing/2014/main" id="{121FA008-05B4-4883-85D3-F85FEBAC1552}"/>
                </a:ext>
              </a:extLst>
            </p:cNvPr>
            <p:cNvSpPr/>
            <p:nvPr/>
          </p:nvSpPr>
          <p:spPr bwMode="auto">
            <a:xfrm>
              <a:off x="6899275" y="3344863"/>
              <a:ext cx="34925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3" name="íṩḷídè">
              <a:extLst>
                <a:ext uri="{FF2B5EF4-FFF2-40B4-BE49-F238E27FC236}">
                  <a16:creationId xmlns:a16="http://schemas.microsoft.com/office/drawing/2014/main" id="{340738F9-833B-4526-B916-2A5821E3D385}"/>
                </a:ext>
              </a:extLst>
            </p:cNvPr>
            <p:cNvSpPr/>
            <p:nvPr/>
          </p:nvSpPr>
          <p:spPr bwMode="auto">
            <a:xfrm>
              <a:off x="7202488" y="3324225"/>
              <a:ext cx="33338" cy="55563"/>
            </a:xfrm>
            <a:custGeom>
              <a:avLst/>
              <a:gdLst>
                <a:gd name="T0" fmla="*/ 9 w 13"/>
                <a:gd name="T1" fmla="*/ 0 h 21"/>
                <a:gd name="T2" fmla="*/ 5 w 13"/>
                <a:gd name="T3" fmla="*/ 0 h 21"/>
                <a:gd name="T4" fmla="*/ 0 w 13"/>
                <a:gd name="T5" fmla="*/ 5 h 21"/>
                <a:gd name="T6" fmla="*/ 0 w 13"/>
                <a:gd name="T7" fmla="*/ 17 h 21"/>
                <a:gd name="T8" fmla="*/ 5 w 13"/>
                <a:gd name="T9" fmla="*/ 21 h 21"/>
                <a:gd name="T10" fmla="*/ 9 w 13"/>
                <a:gd name="T11" fmla="*/ 21 h 21"/>
                <a:gd name="T12" fmla="*/ 13 w 13"/>
                <a:gd name="T13" fmla="*/ 17 h 21"/>
                <a:gd name="T14" fmla="*/ 13 w 13"/>
                <a:gd name="T15" fmla="*/ 5 h 21"/>
                <a:gd name="T16" fmla="*/ 9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2" y="21"/>
                    <a:pt x="5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1" y="21"/>
                    <a:pt x="13" y="19"/>
                    <a:pt x="13" y="1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4" name="íş1ïďe">
              <a:extLst>
                <a:ext uri="{FF2B5EF4-FFF2-40B4-BE49-F238E27FC236}">
                  <a16:creationId xmlns:a16="http://schemas.microsoft.com/office/drawing/2014/main" id="{65C8DD7D-0FCF-44E5-97FB-944BE9CC4D7A}"/>
                </a:ext>
              </a:extLst>
            </p:cNvPr>
            <p:cNvSpPr/>
            <p:nvPr/>
          </p:nvSpPr>
          <p:spPr bwMode="auto">
            <a:xfrm>
              <a:off x="7202488" y="3300413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4 h 17"/>
                <a:gd name="T24" fmla="*/ 11 w 13"/>
                <a:gd name="T25" fmla="*/ 14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5" name="i$ļîḑè">
              <a:extLst>
                <a:ext uri="{FF2B5EF4-FFF2-40B4-BE49-F238E27FC236}">
                  <a16:creationId xmlns:a16="http://schemas.microsoft.com/office/drawing/2014/main" id="{CFC7D27B-E1EA-4A83-9035-4A2182A2E1CE}"/>
                </a:ext>
              </a:extLst>
            </p:cNvPr>
            <p:cNvSpPr/>
            <p:nvPr/>
          </p:nvSpPr>
          <p:spPr bwMode="auto">
            <a:xfrm>
              <a:off x="7202488" y="3295650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5 h 17"/>
                <a:gd name="T24" fmla="*/ 11 w 13"/>
                <a:gd name="T25" fmla="*/ 15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6" name="íṣļïḋè">
              <a:extLst>
                <a:ext uri="{FF2B5EF4-FFF2-40B4-BE49-F238E27FC236}">
                  <a16:creationId xmlns:a16="http://schemas.microsoft.com/office/drawing/2014/main" id="{149EE908-9823-4F11-9937-47CA3410A891}"/>
                </a:ext>
              </a:extLst>
            </p:cNvPr>
            <p:cNvSpPr/>
            <p:nvPr/>
          </p:nvSpPr>
          <p:spPr bwMode="auto">
            <a:xfrm>
              <a:off x="7202488" y="3319463"/>
              <a:ext cx="33338" cy="52388"/>
            </a:xfrm>
            <a:custGeom>
              <a:avLst/>
              <a:gdLst>
                <a:gd name="T0" fmla="*/ 9 w 13"/>
                <a:gd name="T1" fmla="*/ 0 h 20"/>
                <a:gd name="T2" fmla="*/ 5 w 13"/>
                <a:gd name="T3" fmla="*/ 0 h 20"/>
                <a:gd name="T4" fmla="*/ 0 w 13"/>
                <a:gd name="T5" fmla="*/ 4 h 20"/>
                <a:gd name="T6" fmla="*/ 0 w 13"/>
                <a:gd name="T7" fmla="*/ 16 h 20"/>
                <a:gd name="T8" fmla="*/ 5 w 13"/>
                <a:gd name="T9" fmla="*/ 20 h 20"/>
                <a:gd name="T10" fmla="*/ 9 w 13"/>
                <a:gd name="T11" fmla="*/ 20 h 20"/>
                <a:gd name="T12" fmla="*/ 13 w 13"/>
                <a:gd name="T13" fmla="*/ 16 h 20"/>
                <a:gd name="T14" fmla="*/ 13 w 13"/>
                <a:gd name="T15" fmla="*/ 4 h 20"/>
                <a:gd name="T16" fmla="*/ 9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2" y="20"/>
                    <a:pt x="5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1" y="20"/>
                    <a:pt x="13" y="18"/>
                    <a:pt x="13" y="16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7" name="í$1îḋê">
              <a:extLst>
                <a:ext uri="{FF2B5EF4-FFF2-40B4-BE49-F238E27FC236}">
                  <a16:creationId xmlns:a16="http://schemas.microsoft.com/office/drawing/2014/main" id="{3A80CC29-C674-4C91-8A86-FACB21134338}"/>
                </a:ext>
              </a:extLst>
            </p:cNvPr>
            <p:cNvSpPr/>
            <p:nvPr/>
          </p:nvSpPr>
          <p:spPr bwMode="auto">
            <a:xfrm>
              <a:off x="7037388" y="3316288"/>
              <a:ext cx="61913" cy="44450"/>
            </a:xfrm>
            <a:custGeom>
              <a:avLst/>
              <a:gdLst>
                <a:gd name="T0" fmla="*/ 0 w 23"/>
                <a:gd name="T1" fmla="*/ 0 h 17"/>
                <a:gd name="T2" fmla="*/ 23 w 23"/>
                <a:gd name="T3" fmla="*/ 0 h 17"/>
                <a:gd name="T4" fmla="*/ 22 w 23"/>
                <a:gd name="T5" fmla="*/ 14 h 17"/>
                <a:gd name="T6" fmla="*/ 19 w 23"/>
                <a:gd name="T7" fmla="*/ 17 h 17"/>
                <a:gd name="T8" fmla="*/ 4 w 23"/>
                <a:gd name="T9" fmla="*/ 17 h 17"/>
                <a:gd name="T10" fmla="*/ 1 w 23"/>
                <a:gd name="T11" fmla="*/ 14 h 17"/>
                <a:gd name="T12" fmla="*/ 0 w 23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7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6"/>
                    <a:pt x="21" y="17"/>
                    <a:pt x="19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2" y="16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8" name="iṧļíḓe">
              <a:extLst>
                <a:ext uri="{FF2B5EF4-FFF2-40B4-BE49-F238E27FC236}">
                  <a16:creationId xmlns:a16="http://schemas.microsoft.com/office/drawing/2014/main" id="{7E295338-1861-4B85-BE4C-20E3EA99B75C}"/>
                </a:ext>
              </a:extLst>
            </p:cNvPr>
            <p:cNvSpPr/>
            <p:nvPr/>
          </p:nvSpPr>
          <p:spPr bwMode="auto">
            <a:xfrm>
              <a:off x="7056438" y="3314700"/>
              <a:ext cx="23813" cy="36513"/>
            </a:xfrm>
            <a:custGeom>
              <a:avLst/>
              <a:gdLst>
                <a:gd name="T0" fmla="*/ 9 w 9"/>
                <a:gd name="T1" fmla="*/ 5 h 14"/>
                <a:gd name="T2" fmla="*/ 4 w 9"/>
                <a:gd name="T3" fmla="*/ 1 h 14"/>
                <a:gd name="T4" fmla="*/ 0 w 9"/>
                <a:gd name="T5" fmla="*/ 4 h 14"/>
                <a:gd name="T6" fmla="*/ 3 w 9"/>
                <a:gd name="T7" fmla="*/ 9 h 14"/>
                <a:gd name="T8" fmla="*/ 2 w 9"/>
                <a:gd name="T9" fmla="*/ 13 h 14"/>
                <a:gd name="T10" fmla="*/ 3 w 9"/>
                <a:gd name="T11" fmla="*/ 14 h 14"/>
                <a:gd name="T12" fmla="*/ 7 w 9"/>
                <a:gd name="T13" fmla="*/ 14 h 14"/>
                <a:gd name="T14" fmla="*/ 7 w 9"/>
                <a:gd name="T15" fmla="*/ 13 h 14"/>
                <a:gd name="T16" fmla="*/ 6 w 9"/>
                <a:gd name="T17" fmla="*/ 9 h 14"/>
                <a:gd name="T18" fmla="*/ 9 w 9"/>
                <a:gd name="T1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4">
                  <a:moveTo>
                    <a:pt x="9" y="5"/>
                  </a:moveTo>
                  <a:cubicBezTo>
                    <a:pt x="9" y="2"/>
                    <a:pt x="7" y="0"/>
                    <a:pt x="4" y="1"/>
                  </a:cubicBezTo>
                  <a:cubicBezTo>
                    <a:pt x="2" y="1"/>
                    <a:pt x="1" y="2"/>
                    <a:pt x="0" y="4"/>
                  </a:cubicBezTo>
                  <a:cubicBezTo>
                    <a:pt x="0" y="6"/>
                    <a:pt x="1" y="8"/>
                    <a:pt x="3" y="9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4"/>
                    <a:pt x="3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3"/>
                    <a:pt x="7" y="13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8"/>
                    <a:pt x="9" y="7"/>
                    <a:pt x="9" y="5"/>
                  </a:cubicBezTo>
                  <a:close/>
                </a:path>
              </a:pathLst>
            </a:custGeom>
            <a:solidFill>
              <a:srgbClr val="193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9" name="îṥļïḑê">
              <a:extLst>
                <a:ext uri="{FF2B5EF4-FFF2-40B4-BE49-F238E27FC236}">
                  <a16:creationId xmlns:a16="http://schemas.microsoft.com/office/drawing/2014/main" id="{13832323-EC9B-4A06-80C2-B5F867299CBF}"/>
                </a:ext>
              </a:extLst>
            </p:cNvPr>
            <p:cNvSpPr/>
            <p:nvPr/>
          </p:nvSpPr>
          <p:spPr bwMode="auto">
            <a:xfrm>
              <a:off x="7178675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0" name="îṧľïdé">
              <a:extLst>
                <a:ext uri="{FF2B5EF4-FFF2-40B4-BE49-F238E27FC236}">
                  <a16:creationId xmlns:a16="http://schemas.microsoft.com/office/drawing/2014/main" id="{F880DF02-8966-4DD5-A126-1E143EE5454F}"/>
                </a:ext>
              </a:extLst>
            </p:cNvPr>
            <p:cNvSpPr/>
            <p:nvPr/>
          </p:nvSpPr>
          <p:spPr bwMode="auto">
            <a:xfrm>
              <a:off x="6875463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1" name="íṡ1íḓè">
              <a:extLst>
                <a:ext uri="{FF2B5EF4-FFF2-40B4-BE49-F238E27FC236}">
                  <a16:creationId xmlns:a16="http://schemas.microsoft.com/office/drawing/2014/main" id="{902F0C2E-DC16-4F25-A78E-E63C482C03F0}"/>
                </a:ext>
              </a:extLst>
            </p:cNvPr>
            <p:cNvSpPr/>
            <p:nvPr/>
          </p:nvSpPr>
          <p:spPr bwMode="auto">
            <a:xfrm>
              <a:off x="6854825" y="3248025"/>
              <a:ext cx="452438" cy="96838"/>
            </a:xfrm>
            <a:custGeom>
              <a:avLst/>
              <a:gdLst>
                <a:gd name="T0" fmla="*/ 161 w 171"/>
                <a:gd name="T1" fmla="*/ 0 h 37"/>
                <a:gd name="T2" fmla="*/ 0 w 171"/>
                <a:gd name="T3" fmla="*/ 0 h 37"/>
                <a:gd name="T4" fmla="*/ 160 w 171"/>
                <a:gd name="T5" fmla="*/ 4 h 37"/>
                <a:gd name="T6" fmla="*/ 165 w 171"/>
                <a:gd name="T7" fmla="*/ 9 h 37"/>
                <a:gd name="T8" fmla="*/ 165 w 171"/>
                <a:gd name="T9" fmla="*/ 37 h 37"/>
                <a:gd name="T10" fmla="*/ 171 w 171"/>
                <a:gd name="T11" fmla="*/ 37 h 37"/>
                <a:gd name="T12" fmla="*/ 171 w 171"/>
                <a:gd name="T13" fmla="*/ 9 h 37"/>
                <a:gd name="T14" fmla="*/ 161 w 171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37">
                  <a:moveTo>
                    <a:pt x="16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3" y="4"/>
                    <a:pt x="165" y="6"/>
                    <a:pt x="165" y="9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71" y="9"/>
                    <a:pt x="171" y="9"/>
                    <a:pt x="171" y="9"/>
                  </a:cubicBezTo>
                  <a:cubicBezTo>
                    <a:pt x="171" y="4"/>
                    <a:pt x="166" y="0"/>
                    <a:pt x="161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2" name="iślídê">
              <a:extLst>
                <a:ext uri="{FF2B5EF4-FFF2-40B4-BE49-F238E27FC236}">
                  <a16:creationId xmlns:a16="http://schemas.microsoft.com/office/drawing/2014/main" id="{2BD5387E-F147-4319-B830-E83AF8E1F299}"/>
                </a:ext>
              </a:extLst>
            </p:cNvPr>
            <p:cNvSpPr/>
            <p:nvPr/>
          </p:nvSpPr>
          <p:spPr bwMode="auto">
            <a:xfrm>
              <a:off x="6910388" y="3319463"/>
              <a:ext cx="23813" cy="25400"/>
            </a:xfrm>
            <a:custGeom>
              <a:avLst/>
              <a:gdLst>
                <a:gd name="T0" fmla="*/ 7 w 9"/>
                <a:gd name="T1" fmla="*/ 2 h 10"/>
                <a:gd name="T2" fmla="*/ 8 w 9"/>
                <a:gd name="T3" fmla="*/ 10 h 10"/>
                <a:gd name="T4" fmla="*/ 9 w 9"/>
                <a:gd name="T5" fmla="*/ 10 h 10"/>
                <a:gd name="T6" fmla="*/ 9 w 9"/>
                <a:gd name="T7" fmla="*/ 4 h 10"/>
                <a:gd name="T8" fmla="*/ 4 w 9"/>
                <a:gd name="T9" fmla="*/ 0 h 10"/>
                <a:gd name="T10" fmla="*/ 0 w 9"/>
                <a:gd name="T11" fmla="*/ 0 h 10"/>
                <a:gd name="T12" fmla="*/ 7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2"/>
                  </a:moveTo>
                  <a:cubicBezTo>
                    <a:pt x="8" y="3"/>
                    <a:pt x="8" y="5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1"/>
                    <a:pt x="7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1"/>
                    <a:pt x="7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3" name="íšḷíďe">
              <a:extLst>
                <a:ext uri="{FF2B5EF4-FFF2-40B4-BE49-F238E27FC236}">
                  <a16:creationId xmlns:a16="http://schemas.microsoft.com/office/drawing/2014/main" id="{2D5816A2-6B92-4781-AA47-3400DC18D885}"/>
                </a:ext>
              </a:extLst>
            </p:cNvPr>
            <p:cNvSpPr/>
            <p:nvPr/>
          </p:nvSpPr>
          <p:spPr bwMode="auto">
            <a:xfrm>
              <a:off x="7215188" y="3344863"/>
              <a:ext cx="20638" cy="26988"/>
            </a:xfrm>
            <a:custGeom>
              <a:avLst/>
              <a:gdLst>
                <a:gd name="T0" fmla="*/ 6 w 8"/>
                <a:gd name="T1" fmla="*/ 8 h 10"/>
                <a:gd name="T2" fmla="*/ 7 w 8"/>
                <a:gd name="T3" fmla="*/ 0 h 10"/>
                <a:gd name="T4" fmla="*/ 8 w 8"/>
                <a:gd name="T5" fmla="*/ 0 h 10"/>
                <a:gd name="T6" fmla="*/ 8 w 8"/>
                <a:gd name="T7" fmla="*/ 6 h 10"/>
                <a:gd name="T8" fmla="*/ 4 w 8"/>
                <a:gd name="T9" fmla="*/ 10 h 10"/>
                <a:gd name="T10" fmla="*/ 0 w 8"/>
                <a:gd name="T11" fmla="*/ 10 h 10"/>
                <a:gd name="T12" fmla="*/ 6 w 8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8"/>
                  </a:moveTo>
                  <a:cubicBezTo>
                    <a:pt x="7" y="7"/>
                    <a:pt x="7" y="5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9"/>
                    <a:pt x="6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5" y="9"/>
                    <a:pt x="6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4" name="íṧľíde">
              <a:extLst>
                <a:ext uri="{FF2B5EF4-FFF2-40B4-BE49-F238E27FC236}">
                  <a16:creationId xmlns:a16="http://schemas.microsoft.com/office/drawing/2014/main" id="{49A4A060-62AA-47A0-B672-F5C03DAD1E0E}"/>
                </a:ext>
              </a:extLst>
            </p:cNvPr>
            <p:cNvSpPr/>
            <p:nvPr/>
          </p:nvSpPr>
          <p:spPr bwMode="auto">
            <a:xfrm>
              <a:off x="7202488" y="3344863"/>
              <a:ext cx="33338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5" name="îṩ1ïḍè">
              <a:extLst>
                <a:ext uri="{FF2B5EF4-FFF2-40B4-BE49-F238E27FC236}">
                  <a16:creationId xmlns:a16="http://schemas.microsoft.com/office/drawing/2014/main" id="{B6BB2011-CE29-4CAF-BF6F-4D1579862D4A}"/>
                </a:ext>
              </a:extLst>
            </p:cNvPr>
            <p:cNvSpPr/>
            <p:nvPr/>
          </p:nvSpPr>
          <p:spPr bwMode="auto">
            <a:xfrm>
              <a:off x="7215188" y="3319463"/>
              <a:ext cx="20638" cy="25400"/>
            </a:xfrm>
            <a:custGeom>
              <a:avLst/>
              <a:gdLst>
                <a:gd name="T0" fmla="*/ 6 w 8"/>
                <a:gd name="T1" fmla="*/ 2 h 10"/>
                <a:gd name="T2" fmla="*/ 7 w 8"/>
                <a:gd name="T3" fmla="*/ 10 h 10"/>
                <a:gd name="T4" fmla="*/ 8 w 8"/>
                <a:gd name="T5" fmla="*/ 10 h 10"/>
                <a:gd name="T6" fmla="*/ 8 w 8"/>
                <a:gd name="T7" fmla="*/ 4 h 10"/>
                <a:gd name="T8" fmla="*/ 4 w 8"/>
                <a:gd name="T9" fmla="*/ 0 h 10"/>
                <a:gd name="T10" fmla="*/ 0 w 8"/>
                <a:gd name="T11" fmla="*/ 0 h 10"/>
                <a:gd name="T12" fmla="*/ 6 w 8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2"/>
                  </a:moveTo>
                  <a:cubicBezTo>
                    <a:pt x="7" y="3"/>
                    <a:pt x="7" y="5"/>
                    <a:pt x="7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6" name="ïṥ1íḋê">
              <a:extLst>
                <a:ext uri="{FF2B5EF4-FFF2-40B4-BE49-F238E27FC236}">
                  <a16:creationId xmlns:a16="http://schemas.microsoft.com/office/drawing/2014/main" id="{50B9730D-A355-4FBF-8AFD-4AAA92E99C6D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34925"/>
            </a:xfrm>
            <a:custGeom>
              <a:avLst/>
              <a:gdLst>
                <a:gd name="T0" fmla="*/ 54 w 65"/>
                <a:gd name="T1" fmla="*/ 0 h 13"/>
                <a:gd name="T2" fmla="*/ 11 w 65"/>
                <a:gd name="T3" fmla="*/ 0 h 13"/>
                <a:gd name="T4" fmla="*/ 0 w 65"/>
                <a:gd name="T5" fmla="*/ 11 h 13"/>
                <a:gd name="T6" fmla="*/ 0 w 65"/>
                <a:gd name="T7" fmla="*/ 13 h 13"/>
                <a:gd name="T8" fmla="*/ 10 w 65"/>
                <a:gd name="T9" fmla="*/ 3 h 13"/>
                <a:gd name="T10" fmla="*/ 55 w 65"/>
                <a:gd name="T11" fmla="*/ 3 h 13"/>
                <a:gd name="T12" fmla="*/ 65 w 65"/>
                <a:gd name="T13" fmla="*/ 13 h 13"/>
                <a:gd name="T14" fmla="*/ 65 w 65"/>
                <a:gd name="T15" fmla="*/ 11 h 13"/>
                <a:gd name="T16" fmla="*/ 54 w 65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3">
                  <a:moveTo>
                    <a:pt x="5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"/>
                    <a:pt x="5" y="3"/>
                    <a:pt x="10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61" y="3"/>
                    <a:pt x="65" y="8"/>
                    <a:pt x="65" y="13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5"/>
                    <a:pt x="60" y="0"/>
                    <a:pt x="54" y="0"/>
                  </a:cubicBez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7" name="îṣ1idé">
              <a:extLst>
                <a:ext uri="{FF2B5EF4-FFF2-40B4-BE49-F238E27FC236}">
                  <a16:creationId xmlns:a16="http://schemas.microsoft.com/office/drawing/2014/main" id="{492C446C-C357-44B6-924A-4C4C134F6FD1}"/>
                </a:ext>
              </a:extLst>
            </p:cNvPr>
            <p:cNvSpPr/>
            <p:nvPr/>
          </p:nvSpPr>
          <p:spPr bwMode="auto">
            <a:xfrm>
              <a:off x="6251575" y="1531938"/>
              <a:ext cx="25400" cy="12065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8" name="iśľïḑé">
              <a:extLst>
                <a:ext uri="{FF2B5EF4-FFF2-40B4-BE49-F238E27FC236}">
                  <a16:creationId xmlns:a16="http://schemas.microsoft.com/office/drawing/2014/main" id="{8C98EEBC-0B81-4A7B-988C-0D726DCCEFAA}"/>
                </a:ext>
              </a:extLst>
            </p:cNvPr>
            <p:cNvSpPr/>
            <p:nvPr/>
          </p:nvSpPr>
          <p:spPr bwMode="auto">
            <a:xfrm>
              <a:off x="5978525" y="1222375"/>
              <a:ext cx="2343150" cy="247650"/>
            </a:xfrm>
            <a:custGeom>
              <a:avLst/>
              <a:gdLst>
                <a:gd name="T0" fmla="*/ 1476 w 1476"/>
                <a:gd name="T1" fmla="*/ 156 h 156"/>
                <a:gd name="T2" fmla="*/ 0 w 1476"/>
                <a:gd name="T3" fmla="*/ 156 h 156"/>
                <a:gd name="T4" fmla="*/ 202 w 1476"/>
                <a:gd name="T5" fmla="*/ 0 h 156"/>
                <a:gd name="T6" fmla="*/ 1476 w 1476"/>
                <a:gd name="T7" fmla="*/ 0 h 156"/>
                <a:gd name="T8" fmla="*/ 1476 w 1476"/>
                <a:gd name="T9" fmla="*/ 156 h 156"/>
                <a:gd name="T10" fmla="*/ 50 w 1476"/>
                <a:gd name="T11" fmla="*/ 140 h 156"/>
                <a:gd name="T12" fmla="*/ 1460 w 1476"/>
                <a:gd name="T13" fmla="*/ 140 h 156"/>
                <a:gd name="T14" fmla="*/ 1460 w 1476"/>
                <a:gd name="T15" fmla="*/ 16 h 156"/>
                <a:gd name="T16" fmla="*/ 208 w 1476"/>
                <a:gd name="T17" fmla="*/ 16 h 156"/>
                <a:gd name="T18" fmla="*/ 50 w 1476"/>
                <a:gd name="T19" fmla="*/ 14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56">
                  <a:moveTo>
                    <a:pt x="1476" y="156"/>
                  </a:moveTo>
                  <a:lnTo>
                    <a:pt x="0" y="156"/>
                  </a:lnTo>
                  <a:lnTo>
                    <a:pt x="202" y="0"/>
                  </a:lnTo>
                  <a:lnTo>
                    <a:pt x="1476" y="0"/>
                  </a:lnTo>
                  <a:lnTo>
                    <a:pt x="1476" y="156"/>
                  </a:lnTo>
                  <a:close/>
                  <a:moveTo>
                    <a:pt x="50" y="140"/>
                  </a:moveTo>
                  <a:lnTo>
                    <a:pt x="1460" y="140"/>
                  </a:lnTo>
                  <a:lnTo>
                    <a:pt x="1460" y="16"/>
                  </a:lnTo>
                  <a:lnTo>
                    <a:pt x="208" y="16"/>
                  </a:lnTo>
                  <a:lnTo>
                    <a:pt x="50" y="14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9" name="iśḻíḍè">
              <a:extLst>
                <a:ext uri="{FF2B5EF4-FFF2-40B4-BE49-F238E27FC236}">
                  <a16:creationId xmlns:a16="http://schemas.microsoft.com/office/drawing/2014/main" id="{F68F5C6A-DA1B-4F68-B2DA-6648FE0C58EA}"/>
                </a:ext>
              </a:extLst>
            </p:cNvPr>
            <p:cNvSpPr/>
            <p:nvPr/>
          </p:nvSpPr>
          <p:spPr bwMode="auto">
            <a:xfrm>
              <a:off x="7535863" y="40497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1 h 150"/>
                <a:gd name="T12" fmla="*/ 297 w 315"/>
                <a:gd name="T13" fmla="*/ 131 h 150"/>
                <a:gd name="T14" fmla="*/ 297 w 315"/>
                <a:gd name="T15" fmla="*/ 16 h 150"/>
                <a:gd name="T16" fmla="*/ 17 w 315"/>
                <a:gd name="T17" fmla="*/ 16 h 150"/>
                <a:gd name="T18" fmla="*/ 17 w 315"/>
                <a:gd name="T19" fmla="*/ 1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1"/>
                  </a:moveTo>
                  <a:lnTo>
                    <a:pt x="297" y="131"/>
                  </a:lnTo>
                  <a:lnTo>
                    <a:pt x="297" y="16"/>
                  </a:lnTo>
                  <a:lnTo>
                    <a:pt x="17" y="16"/>
                  </a:lnTo>
                  <a:lnTo>
                    <a:pt x="17" y="131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0" name="išľïḓe">
              <a:extLst>
                <a:ext uri="{FF2B5EF4-FFF2-40B4-BE49-F238E27FC236}">
                  <a16:creationId xmlns:a16="http://schemas.microsoft.com/office/drawing/2014/main" id="{9C5264C4-1F6F-475F-8D5A-683715EB72CB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6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1" name="íṩḻîḍé">
              <a:extLst>
                <a:ext uri="{FF2B5EF4-FFF2-40B4-BE49-F238E27FC236}">
                  <a16:creationId xmlns:a16="http://schemas.microsoft.com/office/drawing/2014/main" id="{98DD7F63-21FD-404E-A7E1-631F274446F5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6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2" name="îşļïḑè">
              <a:extLst>
                <a:ext uri="{FF2B5EF4-FFF2-40B4-BE49-F238E27FC236}">
                  <a16:creationId xmlns:a16="http://schemas.microsoft.com/office/drawing/2014/main" id="{37F21F30-6CA2-4D8B-8DB3-6C90B484A75F}"/>
                </a:ext>
              </a:extLst>
            </p:cNvPr>
            <p:cNvSpPr/>
            <p:nvPr/>
          </p:nvSpPr>
          <p:spPr bwMode="auto">
            <a:xfrm>
              <a:off x="7535863" y="383698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4 h 150"/>
                <a:gd name="T12" fmla="*/ 297 w 315"/>
                <a:gd name="T13" fmla="*/ 134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4"/>
                  </a:moveTo>
                  <a:lnTo>
                    <a:pt x="297" y="134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3" name="ï$ḷïḍé">
              <a:extLst>
                <a:ext uri="{FF2B5EF4-FFF2-40B4-BE49-F238E27FC236}">
                  <a16:creationId xmlns:a16="http://schemas.microsoft.com/office/drawing/2014/main" id="{D2B49452-9FD8-4A09-B463-DC5AD1E422A3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4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4" name="îšḻíḑe">
              <a:extLst>
                <a:ext uri="{FF2B5EF4-FFF2-40B4-BE49-F238E27FC236}">
                  <a16:creationId xmlns:a16="http://schemas.microsoft.com/office/drawing/2014/main" id="{B3995B82-8FE2-4BE4-9BC7-51D6DFF6442C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4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5" name="îṥ1ïḋè">
              <a:extLst>
                <a:ext uri="{FF2B5EF4-FFF2-40B4-BE49-F238E27FC236}">
                  <a16:creationId xmlns:a16="http://schemas.microsoft.com/office/drawing/2014/main" id="{266DA65E-52F9-49AD-904A-7E500198A787}"/>
                </a:ext>
              </a:extLst>
            </p:cNvPr>
            <p:cNvSpPr/>
            <p:nvPr/>
          </p:nvSpPr>
          <p:spPr bwMode="auto">
            <a:xfrm>
              <a:off x="7535863" y="36258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6" name="îṧḻïďé">
              <a:extLst>
                <a:ext uri="{FF2B5EF4-FFF2-40B4-BE49-F238E27FC236}">
                  <a16:creationId xmlns:a16="http://schemas.microsoft.com/office/drawing/2014/main" id="{57EC744B-5EB6-45B0-8D2B-47A7D70E144F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7" name="îṡḻïḋé">
              <a:extLst>
                <a:ext uri="{FF2B5EF4-FFF2-40B4-BE49-F238E27FC236}">
                  <a16:creationId xmlns:a16="http://schemas.microsoft.com/office/drawing/2014/main" id="{EFB7552C-D207-4087-ABFB-9C8D09F38881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8" name="i$ḷîḍe">
              <a:extLst>
                <a:ext uri="{FF2B5EF4-FFF2-40B4-BE49-F238E27FC236}">
                  <a16:creationId xmlns:a16="http://schemas.microsoft.com/office/drawing/2014/main" id="{4CA6561D-7E59-43B6-9EAC-9D88AF653998}"/>
                </a:ext>
              </a:extLst>
            </p:cNvPr>
            <p:cNvSpPr/>
            <p:nvPr/>
          </p:nvSpPr>
          <p:spPr bwMode="auto">
            <a:xfrm>
              <a:off x="7535863" y="34163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9" name="íśļîḍê">
              <a:extLst>
                <a:ext uri="{FF2B5EF4-FFF2-40B4-BE49-F238E27FC236}">
                  <a16:creationId xmlns:a16="http://schemas.microsoft.com/office/drawing/2014/main" id="{C62F5C54-3C24-4ED9-8ED3-3CB49062CAFF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0" name="íšḷïdê">
              <a:extLst>
                <a:ext uri="{FF2B5EF4-FFF2-40B4-BE49-F238E27FC236}">
                  <a16:creationId xmlns:a16="http://schemas.microsoft.com/office/drawing/2014/main" id="{299E842A-4867-4A07-9605-7F141F09817B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1" name="íŝḷíḍê">
              <a:extLst>
                <a:ext uri="{FF2B5EF4-FFF2-40B4-BE49-F238E27FC236}">
                  <a16:creationId xmlns:a16="http://schemas.microsoft.com/office/drawing/2014/main" id="{E9E7BDDB-7B15-450F-B3CC-3BED0E9DC7F4}"/>
                </a:ext>
              </a:extLst>
            </p:cNvPr>
            <p:cNvSpPr/>
            <p:nvPr/>
          </p:nvSpPr>
          <p:spPr bwMode="auto">
            <a:xfrm>
              <a:off x="7535863" y="320516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2" name="íSliḋe">
              <a:extLst>
                <a:ext uri="{FF2B5EF4-FFF2-40B4-BE49-F238E27FC236}">
                  <a16:creationId xmlns:a16="http://schemas.microsoft.com/office/drawing/2014/main" id="{56E76DB4-1B6B-49EF-930F-6A3635FFDE83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3" name="ïṣļíḍè">
              <a:extLst>
                <a:ext uri="{FF2B5EF4-FFF2-40B4-BE49-F238E27FC236}">
                  <a16:creationId xmlns:a16="http://schemas.microsoft.com/office/drawing/2014/main" id="{1FAF872C-7CDF-4A6E-BCC6-CCA52E804F25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4" name="íş1ïḍê">
              <a:extLst>
                <a:ext uri="{FF2B5EF4-FFF2-40B4-BE49-F238E27FC236}">
                  <a16:creationId xmlns:a16="http://schemas.microsoft.com/office/drawing/2014/main" id="{538BBDBD-E780-44ED-8CD3-B249AF1F55E5}"/>
                </a:ext>
              </a:extLst>
            </p:cNvPr>
            <p:cNvSpPr/>
            <p:nvPr/>
          </p:nvSpPr>
          <p:spPr bwMode="auto">
            <a:xfrm>
              <a:off x="7535863" y="299402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5" name="ïšľïḑe">
              <a:extLst>
                <a:ext uri="{FF2B5EF4-FFF2-40B4-BE49-F238E27FC236}">
                  <a16:creationId xmlns:a16="http://schemas.microsoft.com/office/drawing/2014/main" id="{B51D1FE4-E848-47C0-B8F2-FA1536343551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6" name="îṧliḑé">
              <a:extLst>
                <a:ext uri="{FF2B5EF4-FFF2-40B4-BE49-F238E27FC236}">
                  <a16:creationId xmlns:a16="http://schemas.microsoft.com/office/drawing/2014/main" id="{6442ED25-6220-4F47-8BC1-91B7360C6D37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7" name="ïṧḻiḋè">
              <a:extLst>
                <a:ext uri="{FF2B5EF4-FFF2-40B4-BE49-F238E27FC236}">
                  <a16:creationId xmlns:a16="http://schemas.microsoft.com/office/drawing/2014/main" id="{6FD82E2E-3802-4A79-A973-A139F68F39D2}"/>
                </a:ext>
              </a:extLst>
            </p:cNvPr>
            <p:cNvSpPr/>
            <p:nvPr/>
          </p:nvSpPr>
          <p:spPr bwMode="auto">
            <a:xfrm>
              <a:off x="7535863" y="278447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8" name="ïśḻíḓê">
              <a:extLst>
                <a:ext uri="{FF2B5EF4-FFF2-40B4-BE49-F238E27FC236}">
                  <a16:creationId xmlns:a16="http://schemas.microsoft.com/office/drawing/2014/main" id="{7486AEDB-72F0-4ABC-A63F-8719B28C071A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9" name="íşľíḑe">
              <a:extLst>
                <a:ext uri="{FF2B5EF4-FFF2-40B4-BE49-F238E27FC236}">
                  <a16:creationId xmlns:a16="http://schemas.microsoft.com/office/drawing/2014/main" id="{9757F853-4BC5-43D1-8685-E8ACD40409B7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0" name="îṩľïḍè">
              <a:extLst>
                <a:ext uri="{FF2B5EF4-FFF2-40B4-BE49-F238E27FC236}">
                  <a16:creationId xmlns:a16="http://schemas.microsoft.com/office/drawing/2014/main" id="{FFC79EC3-62C3-44CB-9120-4A0FC38B0B69}"/>
                </a:ext>
              </a:extLst>
            </p:cNvPr>
            <p:cNvSpPr/>
            <p:nvPr/>
          </p:nvSpPr>
          <p:spPr bwMode="auto">
            <a:xfrm>
              <a:off x="7535863" y="257333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1" name="íṡļiḑè">
              <a:extLst>
                <a:ext uri="{FF2B5EF4-FFF2-40B4-BE49-F238E27FC236}">
                  <a16:creationId xmlns:a16="http://schemas.microsoft.com/office/drawing/2014/main" id="{E7B67540-80E8-4FBD-8D62-CB766D04D0E1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2" name="ïŝ1iḍé">
              <a:extLst>
                <a:ext uri="{FF2B5EF4-FFF2-40B4-BE49-F238E27FC236}">
                  <a16:creationId xmlns:a16="http://schemas.microsoft.com/office/drawing/2014/main" id="{48E1B3F8-7596-43C1-9F00-A5AB21481678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3" name="î$ḷïde">
              <a:extLst>
                <a:ext uri="{FF2B5EF4-FFF2-40B4-BE49-F238E27FC236}">
                  <a16:creationId xmlns:a16="http://schemas.microsoft.com/office/drawing/2014/main" id="{01B36387-0A18-4E19-8033-6F4948FAE008}"/>
                </a:ext>
              </a:extLst>
            </p:cNvPr>
            <p:cNvSpPr/>
            <p:nvPr/>
          </p:nvSpPr>
          <p:spPr bwMode="auto">
            <a:xfrm>
              <a:off x="7535863" y="23622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4" name="ïṡ1îḓé">
              <a:extLst>
                <a:ext uri="{FF2B5EF4-FFF2-40B4-BE49-F238E27FC236}">
                  <a16:creationId xmlns:a16="http://schemas.microsoft.com/office/drawing/2014/main" id="{EA56C0F1-696C-498E-9146-EBDEB0B6AC52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5 h 149"/>
                <a:gd name="T4" fmla="*/ 7 w 305"/>
                <a:gd name="T5" fmla="*/ 0 h 149"/>
                <a:gd name="T6" fmla="*/ 305 w 305"/>
                <a:gd name="T7" fmla="*/ 132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2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5" name="îśliḍe">
              <a:extLst>
                <a:ext uri="{FF2B5EF4-FFF2-40B4-BE49-F238E27FC236}">
                  <a16:creationId xmlns:a16="http://schemas.microsoft.com/office/drawing/2014/main" id="{3800661C-E486-4CB9-8C40-FC2C39520C6C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2 h 149"/>
                <a:gd name="T4" fmla="*/ 298 w 305"/>
                <a:gd name="T5" fmla="*/ 0 h 149"/>
                <a:gd name="T6" fmla="*/ 305 w 305"/>
                <a:gd name="T7" fmla="*/ 15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2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6" name="iSľíḓê">
              <a:extLst>
                <a:ext uri="{FF2B5EF4-FFF2-40B4-BE49-F238E27FC236}">
                  <a16:creationId xmlns:a16="http://schemas.microsoft.com/office/drawing/2014/main" id="{1CCE88FE-A292-4667-8DCD-DA2F8E7570B1}"/>
                </a:ext>
              </a:extLst>
            </p:cNvPr>
            <p:cNvSpPr/>
            <p:nvPr/>
          </p:nvSpPr>
          <p:spPr bwMode="auto">
            <a:xfrm>
              <a:off x="7535863" y="21526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7" name="ïṣḷîḓe">
              <a:extLst>
                <a:ext uri="{FF2B5EF4-FFF2-40B4-BE49-F238E27FC236}">
                  <a16:creationId xmlns:a16="http://schemas.microsoft.com/office/drawing/2014/main" id="{99182EA6-2640-425E-9C65-43A3E3C4099C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7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8" name="î$ļïďè">
              <a:extLst>
                <a:ext uri="{FF2B5EF4-FFF2-40B4-BE49-F238E27FC236}">
                  <a16:creationId xmlns:a16="http://schemas.microsoft.com/office/drawing/2014/main" id="{7B666BF0-ECB2-4423-A42C-A8E01155E537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7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9" name="íšliḓe">
              <a:extLst>
                <a:ext uri="{FF2B5EF4-FFF2-40B4-BE49-F238E27FC236}">
                  <a16:creationId xmlns:a16="http://schemas.microsoft.com/office/drawing/2014/main" id="{E3F2A0E8-ECAC-496B-9B21-B0FA66903A26}"/>
                </a:ext>
              </a:extLst>
            </p:cNvPr>
            <p:cNvSpPr/>
            <p:nvPr/>
          </p:nvSpPr>
          <p:spPr bwMode="auto">
            <a:xfrm>
              <a:off x="7535863" y="19415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0" name="íṧḷïḑe">
              <a:extLst>
                <a:ext uri="{FF2B5EF4-FFF2-40B4-BE49-F238E27FC236}">
                  <a16:creationId xmlns:a16="http://schemas.microsoft.com/office/drawing/2014/main" id="{D4D85031-F789-448A-96C3-37F2DADE6F79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6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1" name="iṧľiďè">
              <a:extLst>
                <a:ext uri="{FF2B5EF4-FFF2-40B4-BE49-F238E27FC236}">
                  <a16:creationId xmlns:a16="http://schemas.microsoft.com/office/drawing/2014/main" id="{9ECE2F13-8387-46F7-B6A0-6CDD3C11F412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6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2" name="íSļïďé">
              <a:extLst>
                <a:ext uri="{FF2B5EF4-FFF2-40B4-BE49-F238E27FC236}">
                  <a16:creationId xmlns:a16="http://schemas.microsoft.com/office/drawing/2014/main" id="{86E6E65E-D7C7-49D3-A1B6-CA356AD74424}"/>
                </a:ext>
              </a:extLst>
            </p:cNvPr>
            <p:cNvSpPr/>
            <p:nvPr/>
          </p:nvSpPr>
          <p:spPr bwMode="auto">
            <a:xfrm>
              <a:off x="7416800" y="1470025"/>
              <a:ext cx="736600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3" name="íṩļiďè">
              <a:extLst>
                <a:ext uri="{FF2B5EF4-FFF2-40B4-BE49-F238E27FC236}">
                  <a16:creationId xmlns:a16="http://schemas.microsoft.com/office/drawing/2014/main" id="{0CCC46F6-AD95-4E4C-8383-98FAD6E08E0A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4" name="iṧľïḑé">
              <a:extLst>
                <a:ext uri="{FF2B5EF4-FFF2-40B4-BE49-F238E27FC236}">
                  <a16:creationId xmlns:a16="http://schemas.microsoft.com/office/drawing/2014/main" id="{6A02C9ED-48D6-4CDE-B67D-371904FDDE21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custGeom>
              <a:avLst/>
              <a:gdLst>
                <a:gd name="T0" fmla="*/ 0 w 464"/>
                <a:gd name="T1" fmla="*/ 80 h 80"/>
                <a:gd name="T2" fmla="*/ 464 w 464"/>
                <a:gd name="T3" fmla="*/ 0 h 80"/>
                <a:gd name="T4" fmla="*/ 0 w 464"/>
                <a:gd name="T5" fmla="*/ 0 h 80"/>
                <a:gd name="T6" fmla="*/ 0 w 464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4" h="80">
                  <a:moveTo>
                    <a:pt x="0" y="80"/>
                  </a:moveTo>
                  <a:lnTo>
                    <a:pt x="464" y="0"/>
                  </a:lnTo>
                  <a:lnTo>
                    <a:pt x="0" y="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5" name="ïşlídê">
              <a:extLst>
                <a:ext uri="{FF2B5EF4-FFF2-40B4-BE49-F238E27FC236}">
                  <a16:creationId xmlns:a16="http://schemas.microsoft.com/office/drawing/2014/main" id="{F223A903-AD1D-4405-9AA9-54C2A84C2C47}"/>
                </a:ext>
              </a:extLst>
            </p:cNvPr>
            <p:cNvSpPr/>
            <p:nvPr/>
          </p:nvSpPr>
          <p:spPr bwMode="auto">
            <a:xfrm>
              <a:off x="7802563" y="1504950"/>
              <a:ext cx="350838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6" name="iš1îḋê">
              <a:extLst>
                <a:ext uri="{FF2B5EF4-FFF2-40B4-BE49-F238E27FC236}">
                  <a16:creationId xmlns:a16="http://schemas.microsoft.com/office/drawing/2014/main" id="{C67F7C49-AAE2-4D38-8908-9416B4F48ADB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7" name="îṥliḑê">
              <a:extLst>
                <a:ext uri="{FF2B5EF4-FFF2-40B4-BE49-F238E27FC236}">
                  <a16:creationId xmlns:a16="http://schemas.microsoft.com/office/drawing/2014/main" id="{3D8591D9-1C15-4B8E-90F5-655535FCF398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custGeom>
              <a:avLst/>
              <a:gdLst>
                <a:gd name="T0" fmla="*/ 215 w 215"/>
                <a:gd name="T1" fmla="*/ 45 h 203"/>
                <a:gd name="T2" fmla="*/ 57 w 215"/>
                <a:gd name="T3" fmla="*/ 203 h 203"/>
                <a:gd name="T4" fmla="*/ 0 w 215"/>
                <a:gd name="T5" fmla="*/ 203 h 203"/>
                <a:gd name="T6" fmla="*/ 204 w 215"/>
                <a:gd name="T7" fmla="*/ 0 h 203"/>
                <a:gd name="T8" fmla="*/ 215 w 215"/>
                <a:gd name="T9" fmla="*/ 0 h 203"/>
                <a:gd name="T10" fmla="*/ 215 w 215"/>
                <a:gd name="T11" fmla="*/ 4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03">
                  <a:moveTo>
                    <a:pt x="215" y="45"/>
                  </a:moveTo>
                  <a:lnTo>
                    <a:pt x="57" y="203"/>
                  </a:lnTo>
                  <a:lnTo>
                    <a:pt x="0" y="203"/>
                  </a:lnTo>
                  <a:lnTo>
                    <a:pt x="204" y="0"/>
                  </a:lnTo>
                  <a:lnTo>
                    <a:pt x="215" y="0"/>
                  </a:lnTo>
                  <a:lnTo>
                    <a:pt x="215" y="45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8" name="ïṣḻïďè">
              <a:extLst>
                <a:ext uri="{FF2B5EF4-FFF2-40B4-BE49-F238E27FC236}">
                  <a16:creationId xmlns:a16="http://schemas.microsoft.com/office/drawing/2014/main" id="{19027FB9-E9B7-4EDE-80FB-E51355BFBD96}"/>
                </a:ext>
              </a:extLst>
            </p:cNvPr>
            <p:cNvSpPr/>
            <p:nvPr/>
          </p:nvSpPr>
          <p:spPr bwMode="auto">
            <a:xfrm>
              <a:off x="7461250" y="1504950"/>
              <a:ext cx="300038" cy="298450"/>
            </a:xfrm>
            <a:custGeom>
              <a:avLst/>
              <a:gdLst>
                <a:gd name="T0" fmla="*/ 189 w 189"/>
                <a:gd name="T1" fmla="*/ 0 h 188"/>
                <a:gd name="T2" fmla="*/ 0 w 189"/>
                <a:gd name="T3" fmla="*/ 188 h 188"/>
                <a:gd name="T4" fmla="*/ 0 w 189"/>
                <a:gd name="T5" fmla="*/ 180 h 188"/>
                <a:gd name="T6" fmla="*/ 182 w 189"/>
                <a:gd name="T7" fmla="*/ 0 h 188"/>
                <a:gd name="T8" fmla="*/ 189 w 189"/>
                <a:gd name="T9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88">
                  <a:moveTo>
                    <a:pt x="189" y="0"/>
                  </a:moveTo>
                  <a:lnTo>
                    <a:pt x="0" y="188"/>
                  </a:lnTo>
                  <a:lnTo>
                    <a:pt x="0" y="180"/>
                  </a:lnTo>
                  <a:lnTo>
                    <a:pt x="182" y="0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9" name="í$ḷiďê">
              <a:extLst>
                <a:ext uri="{FF2B5EF4-FFF2-40B4-BE49-F238E27FC236}">
                  <a16:creationId xmlns:a16="http://schemas.microsoft.com/office/drawing/2014/main" id="{FCAD9548-8055-452A-A3E8-A66D3B4B7D96}"/>
                </a:ext>
              </a:extLst>
            </p:cNvPr>
            <p:cNvSpPr/>
            <p:nvPr/>
          </p:nvSpPr>
          <p:spPr bwMode="auto">
            <a:xfrm>
              <a:off x="8015288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0" name="ïṡlïḋê">
              <a:extLst>
                <a:ext uri="{FF2B5EF4-FFF2-40B4-BE49-F238E27FC236}">
                  <a16:creationId xmlns:a16="http://schemas.microsoft.com/office/drawing/2014/main" id="{9C5ACEBF-17D3-401B-9D1E-0D40901CD8E0}"/>
                </a:ext>
              </a:extLst>
            </p:cNvPr>
            <p:cNvSpPr/>
            <p:nvPr/>
          </p:nvSpPr>
          <p:spPr bwMode="auto">
            <a:xfrm>
              <a:off x="7726363" y="1223963"/>
              <a:ext cx="304800" cy="244475"/>
            </a:xfrm>
            <a:custGeom>
              <a:avLst/>
              <a:gdLst>
                <a:gd name="T0" fmla="*/ 12 w 192"/>
                <a:gd name="T1" fmla="*/ 154 h 154"/>
                <a:gd name="T2" fmla="*/ 0 w 192"/>
                <a:gd name="T3" fmla="*/ 140 h 154"/>
                <a:gd name="T4" fmla="*/ 182 w 192"/>
                <a:gd name="T5" fmla="*/ 0 h 154"/>
                <a:gd name="T6" fmla="*/ 192 w 192"/>
                <a:gd name="T7" fmla="*/ 14 h 154"/>
                <a:gd name="T8" fmla="*/ 12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2" y="154"/>
                  </a:moveTo>
                  <a:lnTo>
                    <a:pt x="0" y="140"/>
                  </a:lnTo>
                  <a:lnTo>
                    <a:pt x="182" y="0"/>
                  </a:lnTo>
                  <a:lnTo>
                    <a:pt x="192" y="14"/>
                  </a:lnTo>
                  <a:lnTo>
                    <a:pt x="12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1" name="iSḻîḓe">
              <a:extLst>
                <a:ext uri="{FF2B5EF4-FFF2-40B4-BE49-F238E27FC236}">
                  <a16:creationId xmlns:a16="http://schemas.microsoft.com/office/drawing/2014/main" id="{BA238390-AC66-4808-8775-A85D8B31B45D}"/>
                </a:ext>
              </a:extLst>
            </p:cNvPr>
            <p:cNvSpPr/>
            <p:nvPr/>
          </p:nvSpPr>
          <p:spPr bwMode="auto">
            <a:xfrm>
              <a:off x="7440613" y="1223963"/>
              <a:ext cx="304800" cy="244475"/>
            </a:xfrm>
            <a:custGeom>
              <a:avLst/>
              <a:gdLst>
                <a:gd name="T0" fmla="*/ 180 w 192"/>
                <a:gd name="T1" fmla="*/ 154 h 154"/>
                <a:gd name="T2" fmla="*/ 0 w 192"/>
                <a:gd name="T3" fmla="*/ 14 h 154"/>
                <a:gd name="T4" fmla="*/ 11 w 192"/>
                <a:gd name="T5" fmla="*/ 0 h 154"/>
                <a:gd name="T6" fmla="*/ 192 w 192"/>
                <a:gd name="T7" fmla="*/ 140 h 154"/>
                <a:gd name="T8" fmla="*/ 18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0" y="154"/>
                  </a:moveTo>
                  <a:lnTo>
                    <a:pt x="0" y="14"/>
                  </a:lnTo>
                  <a:lnTo>
                    <a:pt x="11" y="0"/>
                  </a:lnTo>
                  <a:lnTo>
                    <a:pt x="192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2" name="îšlîḍè">
              <a:extLst>
                <a:ext uri="{FF2B5EF4-FFF2-40B4-BE49-F238E27FC236}">
                  <a16:creationId xmlns:a16="http://schemas.microsoft.com/office/drawing/2014/main" id="{4AAD4801-3A27-4D27-BD5A-16B7034C9950}"/>
                </a:ext>
              </a:extLst>
            </p:cNvPr>
            <p:cNvSpPr/>
            <p:nvPr/>
          </p:nvSpPr>
          <p:spPr bwMode="auto">
            <a:xfrm>
              <a:off x="7154863" y="1223963"/>
              <a:ext cx="303213" cy="244475"/>
            </a:xfrm>
            <a:custGeom>
              <a:avLst/>
              <a:gdLst>
                <a:gd name="T0" fmla="*/ 11 w 191"/>
                <a:gd name="T1" fmla="*/ 154 h 154"/>
                <a:gd name="T2" fmla="*/ 0 w 191"/>
                <a:gd name="T3" fmla="*/ 140 h 154"/>
                <a:gd name="T4" fmla="*/ 180 w 191"/>
                <a:gd name="T5" fmla="*/ 0 h 154"/>
                <a:gd name="T6" fmla="*/ 191 w 191"/>
                <a:gd name="T7" fmla="*/ 14 h 154"/>
                <a:gd name="T8" fmla="*/ 11 w 191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54">
                  <a:moveTo>
                    <a:pt x="11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1" y="14"/>
                  </a:lnTo>
                  <a:lnTo>
                    <a:pt x="1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3" name="iSlîdê">
              <a:extLst>
                <a:ext uri="{FF2B5EF4-FFF2-40B4-BE49-F238E27FC236}">
                  <a16:creationId xmlns:a16="http://schemas.microsoft.com/office/drawing/2014/main" id="{29A9EAC8-02FA-4E62-A5D7-61B4F8CB55F3}"/>
                </a:ext>
              </a:extLst>
            </p:cNvPr>
            <p:cNvSpPr/>
            <p:nvPr/>
          </p:nvSpPr>
          <p:spPr bwMode="auto">
            <a:xfrm>
              <a:off x="6867525" y="1223963"/>
              <a:ext cx="304800" cy="244475"/>
            </a:xfrm>
            <a:custGeom>
              <a:avLst/>
              <a:gdLst>
                <a:gd name="T0" fmla="*/ 181 w 192"/>
                <a:gd name="T1" fmla="*/ 154 h 154"/>
                <a:gd name="T2" fmla="*/ 0 w 192"/>
                <a:gd name="T3" fmla="*/ 14 h 154"/>
                <a:gd name="T4" fmla="*/ 12 w 192"/>
                <a:gd name="T5" fmla="*/ 0 h 154"/>
                <a:gd name="T6" fmla="*/ 192 w 192"/>
                <a:gd name="T7" fmla="*/ 140 h 154"/>
                <a:gd name="T8" fmla="*/ 181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1" y="154"/>
                  </a:moveTo>
                  <a:lnTo>
                    <a:pt x="0" y="14"/>
                  </a:lnTo>
                  <a:lnTo>
                    <a:pt x="12" y="0"/>
                  </a:lnTo>
                  <a:lnTo>
                    <a:pt x="192" y="140"/>
                  </a:lnTo>
                  <a:lnTo>
                    <a:pt x="18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4" name="îS1iďê">
              <a:extLst>
                <a:ext uri="{FF2B5EF4-FFF2-40B4-BE49-F238E27FC236}">
                  <a16:creationId xmlns:a16="http://schemas.microsoft.com/office/drawing/2014/main" id="{B15A3770-A938-4A39-9353-CE01AA92E8F9}"/>
                </a:ext>
              </a:extLst>
            </p:cNvPr>
            <p:cNvSpPr/>
            <p:nvPr/>
          </p:nvSpPr>
          <p:spPr bwMode="auto">
            <a:xfrm>
              <a:off x="6581775" y="1223963"/>
              <a:ext cx="304800" cy="244475"/>
            </a:xfrm>
            <a:custGeom>
              <a:avLst/>
              <a:gdLst>
                <a:gd name="T0" fmla="*/ 10 w 192"/>
                <a:gd name="T1" fmla="*/ 154 h 154"/>
                <a:gd name="T2" fmla="*/ 0 w 192"/>
                <a:gd name="T3" fmla="*/ 140 h 154"/>
                <a:gd name="T4" fmla="*/ 180 w 192"/>
                <a:gd name="T5" fmla="*/ 0 h 154"/>
                <a:gd name="T6" fmla="*/ 192 w 192"/>
                <a:gd name="T7" fmla="*/ 14 h 154"/>
                <a:gd name="T8" fmla="*/ 1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2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5" name="işḻiḓê">
              <a:extLst>
                <a:ext uri="{FF2B5EF4-FFF2-40B4-BE49-F238E27FC236}">
                  <a16:creationId xmlns:a16="http://schemas.microsoft.com/office/drawing/2014/main" id="{F94B8D54-485A-4755-822C-067814DE4292}"/>
                </a:ext>
              </a:extLst>
            </p:cNvPr>
            <p:cNvSpPr/>
            <p:nvPr/>
          </p:nvSpPr>
          <p:spPr bwMode="auto">
            <a:xfrm>
              <a:off x="6296025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6" name="îšlíďè">
              <a:extLst>
                <a:ext uri="{FF2B5EF4-FFF2-40B4-BE49-F238E27FC236}">
                  <a16:creationId xmlns:a16="http://schemas.microsoft.com/office/drawing/2014/main" id="{1BED34F9-5A55-471F-8038-4F5ABE8A2E5F}"/>
                </a:ext>
              </a:extLst>
            </p:cNvPr>
            <p:cNvSpPr/>
            <p:nvPr/>
          </p:nvSpPr>
          <p:spPr bwMode="auto">
            <a:xfrm>
              <a:off x="6010275" y="1223963"/>
              <a:ext cx="301625" cy="244475"/>
            </a:xfrm>
            <a:custGeom>
              <a:avLst/>
              <a:gdLst>
                <a:gd name="T0" fmla="*/ 10 w 190"/>
                <a:gd name="T1" fmla="*/ 154 h 154"/>
                <a:gd name="T2" fmla="*/ 0 w 190"/>
                <a:gd name="T3" fmla="*/ 140 h 154"/>
                <a:gd name="T4" fmla="*/ 180 w 190"/>
                <a:gd name="T5" fmla="*/ 0 h 154"/>
                <a:gd name="T6" fmla="*/ 190 w 190"/>
                <a:gd name="T7" fmla="*/ 14 h 154"/>
                <a:gd name="T8" fmla="*/ 1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0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7" name="ï$ḻïḋê">
              <a:extLst>
                <a:ext uri="{FF2B5EF4-FFF2-40B4-BE49-F238E27FC236}">
                  <a16:creationId xmlns:a16="http://schemas.microsoft.com/office/drawing/2014/main" id="{792A4470-E248-4BE8-A9B0-0695C2C9C257}"/>
                </a:ext>
              </a:extLst>
            </p:cNvPr>
            <p:cNvSpPr/>
            <p:nvPr/>
          </p:nvSpPr>
          <p:spPr bwMode="auto">
            <a:xfrm>
              <a:off x="6070600" y="1470025"/>
              <a:ext cx="388938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8" name="iŝḷíďê">
              <a:extLst>
                <a:ext uri="{FF2B5EF4-FFF2-40B4-BE49-F238E27FC236}">
                  <a16:creationId xmlns:a16="http://schemas.microsoft.com/office/drawing/2014/main" id="{04F9C25A-8846-4FA3-ACDE-39E2A2A9A89B}"/>
                </a:ext>
              </a:extLst>
            </p:cNvPr>
            <p:cNvSpPr/>
            <p:nvPr/>
          </p:nvSpPr>
          <p:spPr bwMode="auto">
            <a:xfrm>
              <a:off x="6116638" y="1504950"/>
              <a:ext cx="295275" cy="52388"/>
            </a:xfrm>
            <a:custGeom>
              <a:avLst/>
              <a:gdLst>
                <a:gd name="T0" fmla="*/ 0 w 112"/>
                <a:gd name="T1" fmla="*/ 0 h 20"/>
                <a:gd name="T2" fmla="*/ 112 w 112"/>
                <a:gd name="T3" fmla="*/ 0 h 20"/>
                <a:gd name="T4" fmla="*/ 112 w 112"/>
                <a:gd name="T5" fmla="*/ 0 h 20"/>
                <a:gd name="T6" fmla="*/ 92 w 112"/>
                <a:gd name="T7" fmla="*/ 20 h 20"/>
                <a:gd name="T8" fmla="*/ 21 w 112"/>
                <a:gd name="T9" fmla="*/ 20 h 20"/>
                <a:gd name="T10" fmla="*/ 0 w 112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0">
                  <a:moveTo>
                    <a:pt x="0" y="0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11"/>
                    <a:pt x="103" y="20"/>
                    <a:pt x="92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0" y="20"/>
                    <a:pt x="0" y="11"/>
                    <a:pt x="0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9" name="í$ľíḋè">
              <a:extLst>
                <a:ext uri="{FF2B5EF4-FFF2-40B4-BE49-F238E27FC236}">
                  <a16:creationId xmlns:a16="http://schemas.microsoft.com/office/drawing/2014/main" id="{AA77412B-1DA0-44FF-9820-592048331877}"/>
                </a:ext>
              </a:extLst>
            </p:cNvPr>
            <p:cNvSpPr/>
            <p:nvPr/>
          </p:nvSpPr>
          <p:spPr bwMode="auto">
            <a:xfrm>
              <a:off x="6227763" y="1643063"/>
              <a:ext cx="73025" cy="71438"/>
            </a:xfrm>
            <a:prstGeom prst="ellipse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0" name="ïslïḑé">
              <a:extLst>
                <a:ext uri="{FF2B5EF4-FFF2-40B4-BE49-F238E27FC236}">
                  <a16:creationId xmlns:a16="http://schemas.microsoft.com/office/drawing/2014/main" id="{ED160E21-E440-4A54-A6BF-E5B5642AD9B6}"/>
                </a:ext>
              </a:extLst>
            </p:cNvPr>
            <p:cNvSpPr/>
            <p:nvPr/>
          </p:nvSpPr>
          <p:spPr bwMode="auto">
            <a:xfrm>
              <a:off x="6208713" y="1698625"/>
              <a:ext cx="127000" cy="200025"/>
            </a:xfrm>
            <a:custGeom>
              <a:avLst/>
              <a:gdLst>
                <a:gd name="T0" fmla="*/ 22 w 48"/>
                <a:gd name="T1" fmla="*/ 0 h 76"/>
                <a:gd name="T2" fmla="*/ 21 w 48"/>
                <a:gd name="T3" fmla="*/ 0 h 76"/>
                <a:gd name="T4" fmla="*/ 19 w 48"/>
                <a:gd name="T5" fmla="*/ 1 h 76"/>
                <a:gd name="T6" fmla="*/ 17 w 48"/>
                <a:gd name="T7" fmla="*/ 5 h 76"/>
                <a:gd name="T8" fmla="*/ 16 w 48"/>
                <a:gd name="T9" fmla="*/ 12 h 76"/>
                <a:gd name="T10" fmla="*/ 16 w 48"/>
                <a:gd name="T11" fmla="*/ 20 h 76"/>
                <a:gd name="T12" fmla="*/ 16 w 48"/>
                <a:gd name="T13" fmla="*/ 21 h 76"/>
                <a:gd name="T14" fmla="*/ 16 w 48"/>
                <a:gd name="T15" fmla="*/ 21 h 76"/>
                <a:gd name="T16" fmla="*/ 17 w 48"/>
                <a:gd name="T17" fmla="*/ 22 h 76"/>
                <a:gd name="T18" fmla="*/ 17 w 48"/>
                <a:gd name="T19" fmla="*/ 22 h 76"/>
                <a:gd name="T20" fmla="*/ 17 w 48"/>
                <a:gd name="T21" fmla="*/ 23 h 76"/>
                <a:gd name="T22" fmla="*/ 17 w 48"/>
                <a:gd name="T23" fmla="*/ 23 h 76"/>
                <a:gd name="T24" fmla="*/ 20 w 48"/>
                <a:gd name="T25" fmla="*/ 26 h 76"/>
                <a:gd name="T26" fmla="*/ 22 w 48"/>
                <a:gd name="T27" fmla="*/ 28 h 76"/>
                <a:gd name="T28" fmla="*/ 26 w 48"/>
                <a:gd name="T29" fmla="*/ 30 h 76"/>
                <a:gd name="T30" fmla="*/ 34 w 48"/>
                <a:gd name="T31" fmla="*/ 36 h 76"/>
                <a:gd name="T32" fmla="*/ 38 w 48"/>
                <a:gd name="T33" fmla="*/ 44 h 76"/>
                <a:gd name="T34" fmla="*/ 39 w 48"/>
                <a:gd name="T35" fmla="*/ 49 h 76"/>
                <a:gd name="T36" fmla="*/ 39 w 48"/>
                <a:gd name="T37" fmla="*/ 52 h 76"/>
                <a:gd name="T38" fmla="*/ 39 w 48"/>
                <a:gd name="T39" fmla="*/ 54 h 76"/>
                <a:gd name="T40" fmla="*/ 35 w 48"/>
                <a:gd name="T41" fmla="*/ 64 h 76"/>
                <a:gd name="T42" fmla="*/ 27 w 48"/>
                <a:gd name="T43" fmla="*/ 69 h 76"/>
                <a:gd name="T44" fmla="*/ 18 w 48"/>
                <a:gd name="T45" fmla="*/ 70 h 76"/>
                <a:gd name="T46" fmla="*/ 10 w 48"/>
                <a:gd name="T47" fmla="*/ 66 h 76"/>
                <a:gd name="T48" fmla="*/ 4 w 48"/>
                <a:gd name="T49" fmla="*/ 54 h 76"/>
                <a:gd name="T50" fmla="*/ 3 w 48"/>
                <a:gd name="T51" fmla="*/ 50 h 76"/>
                <a:gd name="T52" fmla="*/ 2 w 48"/>
                <a:gd name="T53" fmla="*/ 49 h 76"/>
                <a:gd name="T54" fmla="*/ 2 w 48"/>
                <a:gd name="T55" fmla="*/ 49 h 76"/>
                <a:gd name="T56" fmla="*/ 0 w 48"/>
                <a:gd name="T57" fmla="*/ 50 h 76"/>
                <a:gd name="T58" fmla="*/ 1 w 48"/>
                <a:gd name="T59" fmla="*/ 54 h 76"/>
                <a:gd name="T60" fmla="*/ 7 w 48"/>
                <a:gd name="T61" fmla="*/ 69 h 76"/>
                <a:gd name="T62" fmla="*/ 16 w 48"/>
                <a:gd name="T63" fmla="*/ 75 h 76"/>
                <a:gd name="T64" fmla="*/ 29 w 48"/>
                <a:gd name="T65" fmla="*/ 75 h 76"/>
                <a:gd name="T66" fmla="*/ 40 w 48"/>
                <a:gd name="T67" fmla="*/ 69 h 76"/>
                <a:gd name="T68" fmla="*/ 47 w 48"/>
                <a:gd name="T69" fmla="*/ 56 h 76"/>
                <a:gd name="T70" fmla="*/ 48 w 48"/>
                <a:gd name="T71" fmla="*/ 52 h 76"/>
                <a:gd name="T72" fmla="*/ 48 w 48"/>
                <a:gd name="T73" fmla="*/ 49 h 76"/>
                <a:gd name="T74" fmla="*/ 48 w 48"/>
                <a:gd name="T75" fmla="*/ 42 h 76"/>
                <a:gd name="T76" fmla="*/ 42 w 48"/>
                <a:gd name="T77" fmla="*/ 29 h 76"/>
                <a:gd name="T78" fmla="*/ 32 w 48"/>
                <a:gd name="T79" fmla="*/ 21 h 76"/>
                <a:gd name="T80" fmla="*/ 27 w 48"/>
                <a:gd name="T81" fmla="*/ 19 h 76"/>
                <a:gd name="T82" fmla="*/ 26 w 48"/>
                <a:gd name="T83" fmla="*/ 18 h 76"/>
                <a:gd name="T84" fmla="*/ 26 w 48"/>
                <a:gd name="T85" fmla="*/ 18 h 76"/>
                <a:gd name="T86" fmla="*/ 26 w 48"/>
                <a:gd name="T87" fmla="*/ 18 h 76"/>
                <a:gd name="T88" fmla="*/ 27 w 48"/>
                <a:gd name="T89" fmla="*/ 18 h 76"/>
                <a:gd name="T90" fmla="*/ 27 w 48"/>
                <a:gd name="T91" fmla="*/ 19 h 76"/>
                <a:gd name="T92" fmla="*/ 27 w 48"/>
                <a:gd name="T93" fmla="*/ 19 h 76"/>
                <a:gd name="T94" fmla="*/ 27 w 48"/>
                <a:gd name="T95" fmla="*/ 19 h 76"/>
                <a:gd name="T96" fmla="*/ 27 w 48"/>
                <a:gd name="T97" fmla="*/ 19 h 76"/>
                <a:gd name="T98" fmla="*/ 27 w 48"/>
                <a:gd name="T99" fmla="*/ 19 h 76"/>
                <a:gd name="T100" fmla="*/ 27 w 48"/>
                <a:gd name="T101" fmla="*/ 21 h 76"/>
                <a:gd name="T102" fmla="*/ 27 w 48"/>
                <a:gd name="T103" fmla="*/ 21 h 76"/>
                <a:gd name="T104" fmla="*/ 27 w 48"/>
                <a:gd name="T105" fmla="*/ 20 h 76"/>
                <a:gd name="T106" fmla="*/ 27 w 48"/>
                <a:gd name="T107" fmla="*/ 12 h 76"/>
                <a:gd name="T108" fmla="*/ 27 w 48"/>
                <a:gd name="T109" fmla="*/ 5 h 76"/>
                <a:gd name="T110" fmla="*/ 24 w 48"/>
                <a:gd name="T111" fmla="*/ 1 h 76"/>
                <a:gd name="T112" fmla="*/ 22 w 48"/>
                <a:gd name="T113" fmla="*/ 0 h 76"/>
                <a:gd name="T114" fmla="*/ 22 w 48"/>
                <a:gd name="T11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" h="76">
                  <a:moveTo>
                    <a:pt x="22" y="0"/>
                  </a:moveTo>
                  <a:cubicBezTo>
                    <a:pt x="22" y="0"/>
                    <a:pt x="21" y="0"/>
                    <a:pt x="21" y="0"/>
                  </a:cubicBezTo>
                  <a:cubicBezTo>
                    <a:pt x="21" y="0"/>
                    <a:pt x="20" y="1"/>
                    <a:pt x="19" y="1"/>
                  </a:cubicBezTo>
                  <a:cubicBezTo>
                    <a:pt x="18" y="2"/>
                    <a:pt x="17" y="3"/>
                    <a:pt x="17" y="5"/>
                  </a:cubicBezTo>
                  <a:cubicBezTo>
                    <a:pt x="16" y="7"/>
                    <a:pt x="16" y="9"/>
                    <a:pt x="16" y="12"/>
                  </a:cubicBezTo>
                  <a:cubicBezTo>
                    <a:pt x="16" y="14"/>
                    <a:pt x="16" y="17"/>
                    <a:pt x="16" y="20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7" y="24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4"/>
                    <a:pt x="19" y="26"/>
                    <a:pt x="20" y="26"/>
                  </a:cubicBezTo>
                  <a:cubicBezTo>
                    <a:pt x="21" y="27"/>
                    <a:pt x="21" y="27"/>
                    <a:pt x="22" y="28"/>
                  </a:cubicBezTo>
                  <a:cubicBezTo>
                    <a:pt x="24" y="29"/>
                    <a:pt x="25" y="29"/>
                    <a:pt x="26" y="30"/>
                  </a:cubicBezTo>
                  <a:cubicBezTo>
                    <a:pt x="29" y="32"/>
                    <a:pt x="32" y="34"/>
                    <a:pt x="34" y="36"/>
                  </a:cubicBezTo>
                  <a:cubicBezTo>
                    <a:pt x="36" y="38"/>
                    <a:pt x="38" y="41"/>
                    <a:pt x="38" y="44"/>
                  </a:cubicBezTo>
                  <a:cubicBezTo>
                    <a:pt x="39" y="46"/>
                    <a:pt x="39" y="48"/>
                    <a:pt x="39" y="49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8" y="58"/>
                    <a:pt x="37" y="61"/>
                    <a:pt x="35" y="64"/>
                  </a:cubicBezTo>
                  <a:cubicBezTo>
                    <a:pt x="33" y="66"/>
                    <a:pt x="30" y="68"/>
                    <a:pt x="27" y="69"/>
                  </a:cubicBezTo>
                  <a:cubicBezTo>
                    <a:pt x="24" y="70"/>
                    <a:pt x="20" y="70"/>
                    <a:pt x="18" y="70"/>
                  </a:cubicBezTo>
                  <a:cubicBezTo>
                    <a:pt x="15" y="69"/>
                    <a:pt x="12" y="68"/>
                    <a:pt x="10" y="66"/>
                  </a:cubicBezTo>
                  <a:cubicBezTo>
                    <a:pt x="6" y="62"/>
                    <a:pt x="4" y="57"/>
                    <a:pt x="4" y="54"/>
                  </a:cubicBezTo>
                  <a:cubicBezTo>
                    <a:pt x="3" y="52"/>
                    <a:pt x="3" y="51"/>
                    <a:pt x="3" y="50"/>
                  </a:cubicBezTo>
                  <a:cubicBezTo>
                    <a:pt x="3" y="49"/>
                    <a:pt x="2" y="49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1" y="49"/>
                    <a:pt x="0" y="49"/>
                    <a:pt x="0" y="50"/>
                  </a:cubicBezTo>
                  <a:cubicBezTo>
                    <a:pt x="0" y="51"/>
                    <a:pt x="0" y="53"/>
                    <a:pt x="1" y="54"/>
                  </a:cubicBezTo>
                  <a:cubicBezTo>
                    <a:pt x="1" y="58"/>
                    <a:pt x="2" y="64"/>
                    <a:pt x="7" y="69"/>
                  </a:cubicBezTo>
                  <a:cubicBezTo>
                    <a:pt x="9" y="71"/>
                    <a:pt x="12" y="74"/>
                    <a:pt x="16" y="75"/>
                  </a:cubicBezTo>
                  <a:cubicBezTo>
                    <a:pt x="20" y="76"/>
                    <a:pt x="24" y="76"/>
                    <a:pt x="29" y="75"/>
                  </a:cubicBezTo>
                  <a:cubicBezTo>
                    <a:pt x="33" y="74"/>
                    <a:pt x="37" y="72"/>
                    <a:pt x="40" y="69"/>
                  </a:cubicBezTo>
                  <a:cubicBezTo>
                    <a:pt x="44" y="65"/>
                    <a:pt x="46" y="61"/>
                    <a:pt x="47" y="56"/>
                  </a:cubicBezTo>
                  <a:cubicBezTo>
                    <a:pt x="47" y="55"/>
                    <a:pt x="48" y="54"/>
                    <a:pt x="48" y="52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47"/>
                    <a:pt x="48" y="45"/>
                    <a:pt x="48" y="42"/>
                  </a:cubicBezTo>
                  <a:cubicBezTo>
                    <a:pt x="47" y="37"/>
                    <a:pt x="44" y="33"/>
                    <a:pt x="42" y="29"/>
                  </a:cubicBezTo>
                  <a:cubicBezTo>
                    <a:pt x="39" y="26"/>
                    <a:pt x="35" y="23"/>
                    <a:pt x="32" y="21"/>
                  </a:cubicBezTo>
                  <a:cubicBezTo>
                    <a:pt x="30" y="20"/>
                    <a:pt x="29" y="19"/>
                    <a:pt x="27" y="19"/>
                  </a:cubicBezTo>
                  <a:cubicBezTo>
                    <a:pt x="27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7" y="18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20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7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7"/>
                    <a:pt x="27" y="14"/>
                    <a:pt x="27" y="12"/>
                  </a:cubicBezTo>
                  <a:cubicBezTo>
                    <a:pt x="27" y="9"/>
                    <a:pt x="27" y="7"/>
                    <a:pt x="27" y="5"/>
                  </a:cubicBezTo>
                  <a:cubicBezTo>
                    <a:pt x="27" y="3"/>
                    <a:pt x="25" y="2"/>
                    <a:pt x="24" y="1"/>
                  </a:cubicBezTo>
                  <a:cubicBezTo>
                    <a:pt x="23" y="1"/>
                    <a:pt x="23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1" name="iś1ídé">
              <a:extLst>
                <a:ext uri="{FF2B5EF4-FFF2-40B4-BE49-F238E27FC236}">
                  <a16:creationId xmlns:a16="http://schemas.microsoft.com/office/drawing/2014/main" id="{4A597953-C84B-4507-B0C0-361C5DE48008}"/>
                </a:ext>
              </a:extLst>
            </p:cNvPr>
            <p:cNvSpPr/>
            <p:nvPr/>
          </p:nvSpPr>
          <p:spPr bwMode="auto">
            <a:xfrm>
              <a:off x="7458075" y="4287838"/>
              <a:ext cx="695325" cy="1354138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2" name="íš1ïḑê">
              <a:extLst>
                <a:ext uri="{FF2B5EF4-FFF2-40B4-BE49-F238E27FC236}">
                  <a16:creationId xmlns:a16="http://schemas.microsoft.com/office/drawing/2014/main" id="{B6FF5E89-72B4-4B42-9522-76C9DB07F1BF}"/>
                </a:ext>
              </a:extLst>
            </p:cNvPr>
            <p:cNvSpPr/>
            <p:nvPr/>
          </p:nvSpPr>
          <p:spPr bwMode="auto">
            <a:xfrm>
              <a:off x="4614863" y="5381625"/>
              <a:ext cx="314325" cy="34925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3" name="ïṧḷiďe">
              <a:extLst>
                <a:ext uri="{FF2B5EF4-FFF2-40B4-BE49-F238E27FC236}">
                  <a16:creationId xmlns:a16="http://schemas.microsoft.com/office/drawing/2014/main" id="{92B67F61-34FB-42CD-B971-77DF883D7DB7}"/>
                </a:ext>
              </a:extLst>
            </p:cNvPr>
            <p:cNvSpPr/>
            <p:nvPr/>
          </p:nvSpPr>
          <p:spPr bwMode="auto">
            <a:xfrm>
              <a:off x="4548188" y="5000625"/>
              <a:ext cx="153988" cy="641350"/>
            </a:xfrm>
            <a:custGeom>
              <a:avLst/>
              <a:gdLst>
                <a:gd name="T0" fmla="*/ 68 w 97"/>
                <a:gd name="T1" fmla="*/ 0 h 404"/>
                <a:gd name="T2" fmla="*/ 0 w 97"/>
                <a:gd name="T3" fmla="*/ 404 h 404"/>
                <a:gd name="T4" fmla="*/ 28 w 97"/>
                <a:gd name="T5" fmla="*/ 404 h 404"/>
                <a:gd name="T6" fmla="*/ 97 w 97"/>
                <a:gd name="T7" fmla="*/ 2 h 404"/>
                <a:gd name="T8" fmla="*/ 68 w 97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04">
                  <a:moveTo>
                    <a:pt x="68" y="0"/>
                  </a:moveTo>
                  <a:lnTo>
                    <a:pt x="0" y="404"/>
                  </a:lnTo>
                  <a:lnTo>
                    <a:pt x="28" y="404"/>
                  </a:lnTo>
                  <a:lnTo>
                    <a:pt x="97" y="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4" name="iŝḻiḓé">
              <a:extLst>
                <a:ext uri="{FF2B5EF4-FFF2-40B4-BE49-F238E27FC236}">
                  <a16:creationId xmlns:a16="http://schemas.microsoft.com/office/drawing/2014/main" id="{361DD9D3-F4CF-4AC0-B934-977A85EF49C5}"/>
                </a:ext>
              </a:extLst>
            </p:cNvPr>
            <p:cNvSpPr/>
            <p:nvPr/>
          </p:nvSpPr>
          <p:spPr bwMode="auto">
            <a:xfrm>
              <a:off x="4838700" y="5000625"/>
              <a:ext cx="157163" cy="641350"/>
            </a:xfrm>
            <a:custGeom>
              <a:avLst/>
              <a:gdLst>
                <a:gd name="T0" fmla="*/ 29 w 99"/>
                <a:gd name="T1" fmla="*/ 0 h 404"/>
                <a:gd name="T2" fmla="*/ 99 w 99"/>
                <a:gd name="T3" fmla="*/ 404 h 404"/>
                <a:gd name="T4" fmla="*/ 70 w 99"/>
                <a:gd name="T5" fmla="*/ 404 h 404"/>
                <a:gd name="T6" fmla="*/ 0 w 99"/>
                <a:gd name="T7" fmla="*/ 2 h 404"/>
                <a:gd name="T8" fmla="*/ 29 w 99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404">
                  <a:moveTo>
                    <a:pt x="29" y="0"/>
                  </a:moveTo>
                  <a:lnTo>
                    <a:pt x="99" y="404"/>
                  </a:lnTo>
                  <a:lnTo>
                    <a:pt x="70" y="404"/>
                  </a:lnTo>
                  <a:lnTo>
                    <a:pt x="0" y="2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5" name="îṡļïḍê">
              <a:extLst>
                <a:ext uri="{FF2B5EF4-FFF2-40B4-BE49-F238E27FC236}">
                  <a16:creationId xmlns:a16="http://schemas.microsoft.com/office/drawing/2014/main" id="{B8DA3D4E-F10A-437E-92E9-5A83751B6A1E}"/>
                </a:ext>
              </a:extLst>
            </p:cNvPr>
            <p:cNvSpPr/>
            <p:nvPr/>
          </p:nvSpPr>
          <p:spPr bwMode="auto">
            <a:xfrm>
              <a:off x="4719638" y="5372100"/>
              <a:ext cx="103188" cy="55563"/>
            </a:xfrm>
            <a:custGeom>
              <a:avLst/>
              <a:gdLst>
                <a:gd name="T0" fmla="*/ 0 w 39"/>
                <a:gd name="T1" fmla="*/ 0 h 21"/>
                <a:gd name="T2" fmla="*/ 39 w 39"/>
                <a:gd name="T3" fmla="*/ 0 h 21"/>
                <a:gd name="T4" fmla="*/ 39 w 39"/>
                <a:gd name="T5" fmla="*/ 7 h 21"/>
                <a:gd name="T6" fmla="*/ 25 w 39"/>
                <a:gd name="T7" fmla="*/ 21 h 21"/>
                <a:gd name="T8" fmla="*/ 14 w 39"/>
                <a:gd name="T9" fmla="*/ 21 h 21"/>
                <a:gd name="T10" fmla="*/ 0 w 39"/>
                <a:gd name="T11" fmla="*/ 7 h 21"/>
                <a:gd name="T12" fmla="*/ 0 w 3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21">
                  <a:moveTo>
                    <a:pt x="0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15"/>
                    <a:pt x="33" y="21"/>
                    <a:pt x="25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6" y="21"/>
                    <a:pt x="0" y="15"/>
                    <a:pt x="0" y="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6" name="íSļiḑê">
              <a:extLst>
                <a:ext uri="{FF2B5EF4-FFF2-40B4-BE49-F238E27FC236}">
                  <a16:creationId xmlns:a16="http://schemas.microsoft.com/office/drawing/2014/main" id="{8948C0E0-89E2-42F4-826C-69DD00AD99AF}"/>
                </a:ext>
              </a:extLst>
            </p:cNvPr>
            <p:cNvSpPr/>
            <p:nvPr/>
          </p:nvSpPr>
          <p:spPr bwMode="auto">
            <a:xfrm>
              <a:off x="4757738" y="5384800"/>
              <a:ext cx="28575" cy="28575"/>
            </a:xfrm>
            <a:prstGeom prst="ellipse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7" name="ïṧļide">
              <a:extLst>
                <a:ext uri="{FF2B5EF4-FFF2-40B4-BE49-F238E27FC236}">
                  <a16:creationId xmlns:a16="http://schemas.microsoft.com/office/drawing/2014/main" id="{DC15C3C1-5695-4953-B0F3-DB431B259CDC}"/>
                </a:ext>
              </a:extLst>
            </p:cNvPr>
            <p:cNvSpPr/>
            <p:nvPr/>
          </p:nvSpPr>
          <p:spPr bwMode="auto">
            <a:xfrm>
              <a:off x="4595813" y="4968875"/>
              <a:ext cx="357188" cy="50800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8" name="ïṣļîḍè">
              <a:extLst>
                <a:ext uri="{FF2B5EF4-FFF2-40B4-BE49-F238E27FC236}">
                  <a16:creationId xmlns:a16="http://schemas.microsoft.com/office/drawing/2014/main" id="{CAD21CFD-1018-430C-9675-281342B77707}"/>
                </a:ext>
              </a:extLst>
            </p:cNvPr>
            <p:cNvSpPr/>
            <p:nvPr/>
          </p:nvSpPr>
          <p:spPr bwMode="auto">
            <a:xfrm>
              <a:off x="4841875" y="5019675"/>
              <a:ext cx="50800" cy="20638"/>
            </a:xfrm>
            <a:custGeom>
              <a:avLst/>
              <a:gdLst>
                <a:gd name="T0" fmla="*/ 0 w 32"/>
                <a:gd name="T1" fmla="*/ 0 h 13"/>
                <a:gd name="T2" fmla="*/ 28 w 32"/>
                <a:gd name="T3" fmla="*/ 0 h 13"/>
                <a:gd name="T4" fmla="*/ 32 w 32"/>
                <a:gd name="T5" fmla="*/ 13 h 13"/>
                <a:gd name="T6" fmla="*/ 3 w 32"/>
                <a:gd name="T7" fmla="*/ 13 h 13"/>
                <a:gd name="T8" fmla="*/ 0 w 3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3">
                  <a:moveTo>
                    <a:pt x="0" y="0"/>
                  </a:moveTo>
                  <a:lnTo>
                    <a:pt x="28" y="0"/>
                  </a:lnTo>
                  <a:lnTo>
                    <a:pt x="32" y="13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9" name="îŝliḓê">
              <a:extLst>
                <a:ext uri="{FF2B5EF4-FFF2-40B4-BE49-F238E27FC236}">
                  <a16:creationId xmlns:a16="http://schemas.microsoft.com/office/drawing/2014/main" id="{378C5809-CFB6-4AA7-A5E0-4EC9979A5DC7}"/>
                </a:ext>
              </a:extLst>
            </p:cNvPr>
            <p:cNvSpPr/>
            <p:nvPr/>
          </p:nvSpPr>
          <p:spPr bwMode="auto">
            <a:xfrm>
              <a:off x="4651375" y="5019675"/>
              <a:ext cx="47625" cy="20638"/>
            </a:xfrm>
            <a:custGeom>
              <a:avLst/>
              <a:gdLst>
                <a:gd name="T0" fmla="*/ 30 w 30"/>
                <a:gd name="T1" fmla="*/ 0 h 13"/>
                <a:gd name="T2" fmla="*/ 2 w 30"/>
                <a:gd name="T3" fmla="*/ 0 h 13"/>
                <a:gd name="T4" fmla="*/ 0 w 30"/>
                <a:gd name="T5" fmla="*/ 13 h 13"/>
                <a:gd name="T6" fmla="*/ 28 w 30"/>
                <a:gd name="T7" fmla="*/ 13 h 13"/>
                <a:gd name="T8" fmla="*/ 30 w 3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lnTo>
                    <a:pt x="2" y="0"/>
                  </a:lnTo>
                  <a:lnTo>
                    <a:pt x="0" y="13"/>
                  </a:lnTo>
                  <a:lnTo>
                    <a:pt x="28" y="13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0" name="ïSļîḑé">
              <a:extLst>
                <a:ext uri="{FF2B5EF4-FFF2-40B4-BE49-F238E27FC236}">
                  <a16:creationId xmlns:a16="http://schemas.microsoft.com/office/drawing/2014/main" id="{648CF7C2-3E8A-4DC1-8CCD-EC2B2AE9B1BB}"/>
                </a:ext>
              </a:extLst>
            </p:cNvPr>
            <p:cNvSpPr/>
            <p:nvPr/>
          </p:nvSpPr>
          <p:spPr bwMode="auto">
            <a:xfrm>
              <a:off x="4595813" y="4995863"/>
              <a:ext cx="357188" cy="23813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806" name="Group 805">
            <a:extLst>
              <a:ext uri="{FF2B5EF4-FFF2-40B4-BE49-F238E27FC236}">
                <a16:creationId xmlns:a16="http://schemas.microsoft.com/office/drawing/2014/main" id="{15E97AD9-3F8F-442B-8580-F6DE936498A0}"/>
              </a:ext>
            </a:extLst>
          </p:cNvPr>
          <p:cNvGrpSpPr/>
          <p:nvPr/>
        </p:nvGrpSpPr>
        <p:grpSpPr>
          <a:xfrm>
            <a:off x="3286262" y="1514147"/>
            <a:ext cx="0" cy="0"/>
            <a:chOff x="2907165" y="1161722"/>
            <a:chExt cx="1024614" cy="1024610"/>
          </a:xfrm>
        </p:grpSpPr>
        <p:sp>
          <p:nvSpPr>
            <p:cNvPr id="39" name="îšľîḍè">
              <a:extLst>
                <a:ext uri="{FF2B5EF4-FFF2-40B4-BE49-F238E27FC236}">
                  <a16:creationId xmlns:a16="http://schemas.microsoft.com/office/drawing/2014/main" id="{EE46BFD3-3656-45E3-A35D-DAC1BD0B5B7E}"/>
                </a:ext>
              </a:extLst>
            </p:cNvPr>
            <p:cNvSpPr/>
            <p:nvPr/>
          </p:nvSpPr>
          <p:spPr>
            <a:xfrm>
              <a:off x="2907165" y="1161722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 dirty="0"/>
            </a:p>
          </p:txBody>
        </p:sp>
        <p:sp>
          <p:nvSpPr>
            <p:cNvPr id="722" name="iconfont-11244-5317052">
              <a:extLst>
                <a:ext uri="{FF2B5EF4-FFF2-40B4-BE49-F238E27FC236}">
                  <a16:creationId xmlns:a16="http://schemas.microsoft.com/office/drawing/2014/main" id="{1079FECC-3F1D-4B46-AF4D-AA514CEEA5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5776" y="1432988"/>
              <a:ext cx="609685" cy="398769"/>
            </a:xfrm>
            <a:custGeom>
              <a:avLst/>
              <a:gdLst>
                <a:gd name="T0" fmla="*/ 4499 w 12887"/>
                <a:gd name="T1" fmla="*/ 7938 h 8428"/>
                <a:gd name="T2" fmla="*/ 3677 w 12887"/>
                <a:gd name="T3" fmla="*/ 6020 h 8428"/>
                <a:gd name="T4" fmla="*/ 3676 w 12887"/>
                <a:gd name="T5" fmla="*/ 6018 h 8428"/>
                <a:gd name="T6" fmla="*/ 2579 w 12887"/>
                <a:gd name="T7" fmla="*/ 3458 h 8428"/>
                <a:gd name="T8" fmla="*/ 1990 w 12887"/>
                <a:gd name="T9" fmla="*/ 3458 h 8428"/>
                <a:gd name="T10" fmla="*/ 893 w 12887"/>
                <a:gd name="T11" fmla="*/ 6018 h 8428"/>
                <a:gd name="T12" fmla="*/ 892 w 12887"/>
                <a:gd name="T13" fmla="*/ 6020 h 8428"/>
                <a:gd name="T14" fmla="*/ 70 w 12887"/>
                <a:gd name="T15" fmla="*/ 7938 h 8428"/>
                <a:gd name="T16" fmla="*/ 238 w 12887"/>
                <a:gd name="T17" fmla="*/ 8358 h 8428"/>
                <a:gd name="T18" fmla="*/ 659 w 12887"/>
                <a:gd name="T19" fmla="*/ 8190 h 8428"/>
                <a:gd name="T20" fmla="*/ 1399 w 12887"/>
                <a:gd name="T21" fmla="*/ 6464 h 8428"/>
                <a:gd name="T22" fmla="*/ 3171 w 12887"/>
                <a:gd name="T23" fmla="*/ 6464 h 8428"/>
                <a:gd name="T24" fmla="*/ 3911 w 12887"/>
                <a:gd name="T25" fmla="*/ 8190 h 8428"/>
                <a:gd name="T26" fmla="*/ 4331 w 12887"/>
                <a:gd name="T27" fmla="*/ 8358 h 8428"/>
                <a:gd name="T28" fmla="*/ 4499 w 12887"/>
                <a:gd name="T29" fmla="*/ 7937 h 8428"/>
                <a:gd name="T30" fmla="*/ 4499 w 12887"/>
                <a:gd name="T31" fmla="*/ 7938 h 8428"/>
                <a:gd name="T32" fmla="*/ 1672 w 12887"/>
                <a:gd name="T33" fmla="*/ 5824 h 8428"/>
                <a:gd name="T34" fmla="*/ 2284 w 12887"/>
                <a:gd name="T35" fmla="*/ 4396 h 8428"/>
                <a:gd name="T36" fmla="*/ 2896 w 12887"/>
                <a:gd name="T37" fmla="*/ 5824 h 8428"/>
                <a:gd name="T38" fmla="*/ 1672 w 12887"/>
                <a:gd name="T39" fmla="*/ 5824 h 8428"/>
                <a:gd name="T40" fmla="*/ 12820 w 12887"/>
                <a:gd name="T41" fmla="*/ 7941 h 8428"/>
                <a:gd name="T42" fmla="*/ 11487 w 12887"/>
                <a:gd name="T43" fmla="*/ 4741 h 8428"/>
                <a:gd name="T44" fmla="*/ 11486 w 12887"/>
                <a:gd name="T45" fmla="*/ 4739 h 8428"/>
                <a:gd name="T46" fmla="*/ 9620 w 12887"/>
                <a:gd name="T47" fmla="*/ 261 h 8428"/>
                <a:gd name="T48" fmla="*/ 9029 w 12887"/>
                <a:gd name="T49" fmla="*/ 261 h 8428"/>
                <a:gd name="T50" fmla="*/ 7163 w 12887"/>
                <a:gd name="T51" fmla="*/ 4739 h 8428"/>
                <a:gd name="T52" fmla="*/ 7162 w 12887"/>
                <a:gd name="T53" fmla="*/ 4741 h 8428"/>
                <a:gd name="T54" fmla="*/ 5829 w 12887"/>
                <a:gd name="T55" fmla="*/ 7941 h 8428"/>
                <a:gd name="T56" fmla="*/ 6001 w 12887"/>
                <a:gd name="T57" fmla="*/ 8360 h 8428"/>
                <a:gd name="T58" fmla="*/ 6419 w 12887"/>
                <a:gd name="T59" fmla="*/ 8188 h 8428"/>
                <a:gd name="T60" fmla="*/ 7671 w 12887"/>
                <a:gd name="T61" fmla="*/ 5185 h 8428"/>
                <a:gd name="T62" fmla="*/ 10977 w 12887"/>
                <a:gd name="T63" fmla="*/ 5185 h 8428"/>
                <a:gd name="T64" fmla="*/ 12229 w 12887"/>
                <a:gd name="T65" fmla="*/ 8188 h 8428"/>
                <a:gd name="T66" fmla="*/ 12647 w 12887"/>
                <a:gd name="T67" fmla="*/ 8360 h 8428"/>
                <a:gd name="T68" fmla="*/ 12819 w 12887"/>
                <a:gd name="T69" fmla="*/ 7941 h 8428"/>
                <a:gd name="T70" fmla="*/ 12820 w 12887"/>
                <a:gd name="T71" fmla="*/ 7941 h 8428"/>
                <a:gd name="T72" fmla="*/ 7937 w 12887"/>
                <a:gd name="T73" fmla="*/ 4544 h 8428"/>
                <a:gd name="T74" fmla="*/ 9324 w 12887"/>
                <a:gd name="T75" fmla="*/ 1216 h 8428"/>
                <a:gd name="T76" fmla="*/ 10711 w 12887"/>
                <a:gd name="T77" fmla="*/ 4544 h 8428"/>
                <a:gd name="T78" fmla="*/ 7938 w 12887"/>
                <a:gd name="T79" fmla="*/ 4544 h 8428"/>
                <a:gd name="T80" fmla="*/ 7937 w 12887"/>
                <a:gd name="T81" fmla="*/ 4544 h 8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887" h="8428">
                  <a:moveTo>
                    <a:pt x="4499" y="7938"/>
                  </a:moveTo>
                  <a:lnTo>
                    <a:pt x="3677" y="6020"/>
                  </a:lnTo>
                  <a:lnTo>
                    <a:pt x="3676" y="6018"/>
                  </a:lnTo>
                  <a:lnTo>
                    <a:pt x="2579" y="3458"/>
                  </a:lnTo>
                  <a:cubicBezTo>
                    <a:pt x="2468" y="3198"/>
                    <a:pt x="2100" y="3198"/>
                    <a:pt x="1990" y="3458"/>
                  </a:cubicBezTo>
                  <a:lnTo>
                    <a:pt x="893" y="6018"/>
                  </a:lnTo>
                  <a:lnTo>
                    <a:pt x="892" y="6020"/>
                  </a:lnTo>
                  <a:lnTo>
                    <a:pt x="70" y="7938"/>
                  </a:lnTo>
                  <a:cubicBezTo>
                    <a:pt x="0" y="8101"/>
                    <a:pt x="76" y="8289"/>
                    <a:pt x="238" y="8358"/>
                  </a:cubicBezTo>
                  <a:cubicBezTo>
                    <a:pt x="401" y="8428"/>
                    <a:pt x="589" y="8353"/>
                    <a:pt x="659" y="8190"/>
                  </a:cubicBezTo>
                  <a:lnTo>
                    <a:pt x="1399" y="6464"/>
                  </a:lnTo>
                  <a:lnTo>
                    <a:pt x="3171" y="6464"/>
                  </a:lnTo>
                  <a:lnTo>
                    <a:pt x="3911" y="8190"/>
                  </a:lnTo>
                  <a:cubicBezTo>
                    <a:pt x="3980" y="8353"/>
                    <a:pt x="4169" y="8428"/>
                    <a:pt x="4331" y="8358"/>
                  </a:cubicBezTo>
                  <a:cubicBezTo>
                    <a:pt x="4493" y="8288"/>
                    <a:pt x="4569" y="8100"/>
                    <a:pt x="4499" y="7937"/>
                  </a:cubicBezTo>
                  <a:lnTo>
                    <a:pt x="4499" y="7938"/>
                  </a:lnTo>
                  <a:close/>
                  <a:moveTo>
                    <a:pt x="1672" y="5824"/>
                  </a:moveTo>
                  <a:lnTo>
                    <a:pt x="2284" y="4396"/>
                  </a:lnTo>
                  <a:lnTo>
                    <a:pt x="2896" y="5824"/>
                  </a:lnTo>
                  <a:lnTo>
                    <a:pt x="1672" y="5824"/>
                  </a:lnTo>
                  <a:close/>
                  <a:moveTo>
                    <a:pt x="12820" y="7941"/>
                  </a:moveTo>
                  <a:lnTo>
                    <a:pt x="11487" y="4741"/>
                  </a:lnTo>
                  <a:lnTo>
                    <a:pt x="11486" y="4739"/>
                  </a:lnTo>
                  <a:lnTo>
                    <a:pt x="9620" y="261"/>
                  </a:lnTo>
                  <a:cubicBezTo>
                    <a:pt x="9509" y="0"/>
                    <a:pt x="9139" y="0"/>
                    <a:pt x="9029" y="261"/>
                  </a:cubicBezTo>
                  <a:lnTo>
                    <a:pt x="7163" y="4739"/>
                  </a:lnTo>
                  <a:lnTo>
                    <a:pt x="7162" y="4741"/>
                  </a:lnTo>
                  <a:lnTo>
                    <a:pt x="5829" y="7941"/>
                  </a:lnTo>
                  <a:cubicBezTo>
                    <a:pt x="5761" y="8104"/>
                    <a:pt x="5838" y="8292"/>
                    <a:pt x="6001" y="8360"/>
                  </a:cubicBezTo>
                  <a:cubicBezTo>
                    <a:pt x="6164" y="8428"/>
                    <a:pt x="6351" y="8351"/>
                    <a:pt x="6419" y="8188"/>
                  </a:cubicBezTo>
                  <a:lnTo>
                    <a:pt x="7671" y="5185"/>
                  </a:lnTo>
                  <a:lnTo>
                    <a:pt x="10977" y="5185"/>
                  </a:lnTo>
                  <a:lnTo>
                    <a:pt x="12229" y="8188"/>
                  </a:lnTo>
                  <a:cubicBezTo>
                    <a:pt x="12297" y="8351"/>
                    <a:pt x="12484" y="8428"/>
                    <a:pt x="12647" y="8360"/>
                  </a:cubicBezTo>
                  <a:cubicBezTo>
                    <a:pt x="12810" y="8292"/>
                    <a:pt x="12887" y="8104"/>
                    <a:pt x="12819" y="7941"/>
                  </a:cubicBezTo>
                  <a:lnTo>
                    <a:pt x="12820" y="7941"/>
                  </a:lnTo>
                  <a:close/>
                  <a:moveTo>
                    <a:pt x="7937" y="4544"/>
                  </a:moveTo>
                  <a:lnTo>
                    <a:pt x="9324" y="1216"/>
                  </a:lnTo>
                  <a:lnTo>
                    <a:pt x="10711" y="4544"/>
                  </a:lnTo>
                  <a:lnTo>
                    <a:pt x="7938" y="4544"/>
                  </a:lnTo>
                  <a:lnTo>
                    <a:pt x="7937" y="45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sp>
        <p:nvSpPr>
          <p:cNvPr id="783" name="Rectangle 782">
            <a:extLst>
              <a:ext uri="{FF2B5EF4-FFF2-40B4-BE49-F238E27FC236}">
                <a16:creationId xmlns:a16="http://schemas.microsoft.com/office/drawing/2014/main" id="{57205567-91C2-4488-AA9D-490515A3BE95}"/>
              </a:ext>
            </a:extLst>
          </p:cNvPr>
          <p:cNvSpPr/>
          <p:nvPr/>
        </p:nvSpPr>
        <p:spPr>
          <a:xfrm>
            <a:off x="5597427" y="3136114"/>
            <a:ext cx="55151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We’re Team Delta! We love NLP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sooooo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much </a:t>
            </a:r>
            <a:r>
              <a:rPr lang="zh-TW" altLang="zh-TW" sz="16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❤😂</a:t>
            </a:r>
            <a:r>
              <a:rPr lang="zh-TW" altLang="zh-TW" sz="1600" dirty="0">
                <a:solidFill>
                  <a:schemeClr val="accent5"/>
                </a:solidFill>
              </a:rPr>
              <a:t> </a:t>
            </a:r>
            <a:r>
              <a:rPr lang="en-US" altLang="zh-TW" dirty="0">
                <a:solidFill>
                  <a:schemeClr val="accent5"/>
                </a:solidFill>
              </a:rPr>
              <a:t>#NLPTHEBEST</a:t>
            </a:r>
            <a:endParaRPr lang="en-US" altLang="zh-TW" sz="1600" dirty="0">
              <a:solidFill>
                <a:schemeClr val="accent5"/>
              </a:solidFill>
              <a:latin typeface="Tw Cen MT" panose="020B0602020104020603" pitchFamily="34" charset="0"/>
            </a:endParaRPr>
          </a:p>
        </p:txBody>
      </p:sp>
      <p:grpSp>
        <p:nvGrpSpPr>
          <p:cNvPr id="793" name="îSľíḍé">
            <a:extLst>
              <a:ext uri="{FF2B5EF4-FFF2-40B4-BE49-F238E27FC236}">
                <a16:creationId xmlns:a16="http://schemas.microsoft.com/office/drawing/2014/main" id="{8BBE2A94-E5C8-49BD-8E16-433DD93064C0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794" name="ïṧlîḓe">
              <a:extLst>
                <a:ext uri="{FF2B5EF4-FFF2-40B4-BE49-F238E27FC236}">
                  <a16:creationId xmlns:a16="http://schemas.microsoft.com/office/drawing/2014/main" id="{912768B2-683F-4FCE-9E49-8863B46565A1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795" name="iṡliḓè">
              <a:extLst>
                <a:ext uri="{FF2B5EF4-FFF2-40B4-BE49-F238E27FC236}">
                  <a16:creationId xmlns:a16="http://schemas.microsoft.com/office/drawing/2014/main" id="{99C8D79C-C8A6-40B5-8906-BE9BFAA7EAB0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796" name="íšḻíḋè">
                <a:extLst>
                  <a:ext uri="{FF2B5EF4-FFF2-40B4-BE49-F238E27FC236}">
                    <a16:creationId xmlns:a16="http://schemas.microsoft.com/office/drawing/2014/main" id="{826319EE-14CC-4072-B52E-2116A3E71BFA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797" name="îS1iḓé">
                <a:extLst>
                  <a:ext uri="{FF2B5EF4-FFF2-40B4-BE49-F238E27FC236}">
                    <a16:creationId xmlns:a16="http://schemas.microsoft.com/office/drawing/2014/main" id="{E7B29E2B-D721-4A2D-A00E-1F9CE428BF86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817" name="Rectangle 816">
            <a:extLst>
              <a:ext uri="{FF2B5EF4-FFF2-40B4-BE49-F238E27FC236}">
                <a16:creationId xmlns:a16="http://schemas.microsoft.com/office/drawing/2014/main" id="{446B869F-E4BE-430F-AFA1-6C44DA91F067}"/>
              </a:ext>
            </a:extLst>
          </p:cNvPr>
          <p:cNvSpPr/>
          <p:nvPr/>
        </p:nvSpPr>
        <p:spPr>
          <a:xfrm>
            <a:off x="682627" y="35286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ahnschrift SemiCondensed" panose="020B0502040204020203" pitchFamily="34" charset="0"/>
              </a:rPr>
              <a:t>Pre-Processing</a:t>
            </a:r>
          </a:p>
        </p:txBody>
      </p:sp>
      <p:sp>
        <p:nvSpPr>
          <p:cNvPr id="819" name="Rectangle 818">
            <a:extLst>
              <a:ext uri="{FF2B5EF4-FFF2-40B4-BE49-F238E27FC236}">
                <a16:creationId xmlns:a16="http://schemas.microsoft.com/office/drawing/2014/main" id="{8704C69A-A599-463C-A98F-37C2670146EC}"/>
              </a:ext>
            </a:extLst>
          </p:cNvPr>
          <p:cNvSpPr/>
          <p:nvPr/>
        </p:nvSpPr>
        <p:spPr>
          <a:xfrm>
            <a:off x="682627" y="-619109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Bahnschrift SemiCondensed" panose="020B0502040204020203" pitchFamily="34" charset="0"/>
              </a:rPr>
              <a:t>Emojis</a:t>
            </a:r>
          </a:p>
        </p:txBody>
      </p:sp>
      <p:sp>
        <p:nvSpPr>
          <p:cNvPr id="821" name="iṧlïďe">
            <a:extLst>
              <a:ext uri="{FF2B5EF4-FFF2-40B4-BE49-F238E27FC236}">
                <a16:creationId xmlns:a16="http://schemas.microsoft.com/office/drawing/2014/main" id="{FE511153-5142-40FD-884E-8B8A754FBDB1}"/>
              </a:ext>
            </a:extLst>
          </p:cNvPr>
          <p:cNvSpPr txBox="1"/>
          <p:nvPr/>
        </p:nvSpPr>
        <p:spPr bwMode="auto">
          <a:xfrm>
            <a:off x="5388578" y="7040244"/>
            <a:ext cx="2715364" cy="4418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600" b="1" dirty="0"/>
              <a:t>Step 1.  Lower case</a:t>
            </a:r>
          </a:p>
        </p:txBody>
      </p:sp>
      <p:sp>
        <p:nvSpPr>
          <p:cNvPr id="822" name="Rectangle 821">
            <a:extLst>
              <a:ext uri="{FF2B5EF4-FFF2-40B4-BE49-F238E27FC236}">
                <a16:creationId xmlns:a16="http://schemas.microsoft.com/office/drawing/2014/main" id="{CA020486-A329-466B-A444-5C5B4CC03BC5}"/>
              </a:ext>
            </a:extLst>
          </p:cNvPr>
          <p:cNvSpPr/>
          <p:nvPr/>
        </p:nvSpPr>
        <p:spPr>
          <a:xfrm>
            <a:off x="5388578" y="8048869"/>
            <a:ext cx="6008457" cy="323165"/>
          </a:xfrm>
          <a:prstGeom prst="rect">
            <a:avLst/>
          </a:prstGeom>
        </p:spPr>
        <p:txBody>
          <a:bodyPr wrap="square" lIns="0" tIns="0" rIns="91440" bIns="45720">
            <a:spAutoFit/>
          </a:bodyPr>
          <a:lstStyle/>
          <a:p>
            <a:pPr algn="ctr"/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w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’re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t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am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d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lta!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w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 love </a:t>
            </a:r>
            <a:r>
              <a:rPr lang="en-US" altLang="zh-TW" dirty="0" err="1">
                <a:solidFill>
                  <a:schemeClr val="accent3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sooooo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much ❤</a:t>
            </a:r>
            <a:r>
              <a:rPr lang="zh-TW" altLang="en-US" dirty="0">
                <a:solidFill>
                  <a:schemeClr val="accent5"/>
                </a:solidFill>
                <a:latin typeface="Tw Cen MT" panose="020B0602020104020603" pitchFamily="34" charset="0"/>
              </a:rPr>
              <a:t>😂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#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nlpthebest</a:t>
            </a:r>
            <a:endParaRPr lang="en-US" altLang="zh-TW" sz="1600" dirty="0">
              <a:solidFill>
                <a:schemeClr val="accent3"/>
              </a:solidFill>
              <a:latin typeface="Tw Cen MT" panose="020B06020201040206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7507162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Rectangle 337">
            <a:extLst>
              <a:ext uri="{FF2B5EF4-FFF2-40B4-BE49-F238E27FC236}">
                <a16:creationId xmlns:a16="http://schemas.microsoft.com/office/drawing/2014/main" id="{18C67DAA-FFCE-48F8-A25B-C28EE96861D6}"/>
              </a:ext>
            </a:extLst>
          </p:cNvPr>
          <p:cNvSpPr/>
          <p:nvPr/>
        </p:nvSpPr>
        <p:spPr>
          <a:xfrm>
            <a:off x="5122698" y="7122737"/>
            <a:ext cx="587132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[“we”, ”are”, “team”, “delta”, “!”, “we”, “love”, “</a:t>
            </a:r>
            <a:r>
              <a:rPr lang="en-US" altLang="zh-TW" dirty="0" err="1">
                <a:solidFill>
                  <a:schemeClr val="bg1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”, “so”, </a:t>
            </a:r>
          </a:p>
          <a:p>
            <a:pPr algn="ctr"/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“much”, “❤”, “</a:t>
            </a:r>
            <a:r>
              <a:rPr lang="zh-TW" altLang="en-US" dirty="0">
                <a:solidFill>
                  <a:schemeClr val="bg1"/>
                </a:solidFill>
                <a:latin typeface="Tw Cen MT" panose="020B0602020104020603" pitchFamily="34" charset="0"/>
              </a:rPr>
              <a:t>😂”</a:t>
            </a:r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, “#</a:t>
            </a:r>
            <a:r>
              <a:rPr lang="en-US" altLang="zh-TW" dirty="0" err="1">
                <a:solidFill>
                  <a:schemeClr val="bg1"/>
                </a:solidFill>
                <a:latin typeface="Tw Cen MT" panose="020B0602020104020603" pitchFamily="34" charset="0"/>
              </a:rPr>
              <a:t>nlpthebest</a:t>
            </a:r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”]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B5C2C9-7B3E-47B0-801C-C00DD7FEF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7" name="ïšlï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hidden="1" title="iSlide™ 版权声明  COPYRIGHT NOTICE">
            <a:extLst>
              <a:ext uri="{FF2B5EF4-FFF2-40B4-BE49-F238E27FC236}">
                <a16:creationId xmlns:a16="http://schemas.microsoft.com/office/drawing/2014/main" id="{B330D365-5F4F-40C8-8925-C17F9275C003}"/>
              </a:ext>
            </a:extLst>
          </p:cNvPr>
          <p:cNvGrpSpPr>
            <a:grpSpLocks noChangeAspect="1"/>
          </p:cNvGrpSpPr>
          <p:nvPr/>
        </p:nvGrpSpPr>
        <p:grpSpPr>
          <a:xfrm>
            <a:off x="390007" y="2653887"/>
            <a:ext cx="3409531" cy="2384210"/>
            <a:chOff x="3951288" y="2505075"/>
            <a:chExt cx="4397375" cy="3074988"/>
          </a:xfrm>
        </p:grpSpPr>
        <p:sp>
          <p:nvSpPr>
            <p:cNvPr id="45" name="íşľiďê">
              <a:extLst>
                <a:ext uri="{FF2B5EF4-FFF2-40B4-BE49-F238E27FC236}">
                  <a16:creationId xmlns:a16="http://schemas.microsoft.com/office/drawing/2014/main" id="{89D8F306-DCBF-4C36-B21C-654D222DF399}"/>
                </a:ext>
              </a:extLst>
            </p:cNvPr>
            <p:cNvSpPr/>
            <p:nvPr/>
          </p:nvSpPr>
          <p:spPr bwMode="auto">
            <a:xfrm>
              <a:off x="3951288" y="4794250"/>
              <a:ext cx="4397375" cy="701675"/>
            </a:xfrm>
            <a:custGeom>
              <a:avLst/>
              <a:gdLst>
                <a:gd name="T0" fmla="*/ 3047 w 3645"/>
                <a:gd name="T1" fmla="*/ 0 h 582"/>
                <a:gd name="T2" fmla="*/ 1271 w 3645"/>
                <a:gd name="T3" fmla="*/ 17 h 582"/>
                <a:gd name="T4" fmla="*/ 1118 w 3645"/>
                <a:gd name="T5" fmla="*/ 452 h 582"/>
                <a:gd name="T6" fmla="*/ 1019 w 3645"/>
                <a:gd name="T7" fmla="*/ 452 h 582"/>
                <a:gd name="T8" fmla="*/ 1083 w 3645"/>
                <a:gd name="T9" fmla="*/ 19 h 582"/>
                <a:gd name="T10" fmla="*/ 63 w 3645"/>
                <a:gd name="T11" fmla="*/ 29 h 582"/>
                <a:gd name="T12" fmla="*/ 31 w 3645"/>
                <a:gd name="T13" fmla="*/ 103 h 582"/>
                <a:gd name="T14" fmla="*/ 469 w 3645"/>
                <a:gd name="T15" fmla="*/ 485 h 582"/>
                <a:gd name="T16" fmla="*/ 732 w 3645"/>
                <a:gd name="T17" fmla="*/ 582 h 582"/>
                <a:gd name="T18" fmla="*/ 3244 w 3645"/>
                <a:gd name="T19" fmla="*/ 582 h 582"/>
                <a:gd name="T20" fmla="*/ 3463 w 3645"/>
                <a:gd name="T21" fmla="*/ 254 h 582"/>
                <a:gd name="T22" fmla="*/ 3047 w 3645"/>
                <a:gd name="T23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45" h="582">
                  <a:moveTo>
                    <a:pt x="3047" y="0"/>
                  </a:moveTo>
                  <a:cubicBezTo>
                    <a:pt x="1271" y="17"/>
                    <a:pt x="1271" y="17"/>
                    <a:pt x="1271" y="17"/>
                  </a:cubicBezTo>
                  <a:cubicBezTo>
                    <a:pt x="1118" y="452"/>
                    <a:pt x="1118" y="452"/>
                    <a:pt x="1118" y="452"/>
                  </a:cubicBezTo>
                  <a:cubicBezTo>
                    <a:pt x="1019" y="452"/>
                    <a:pt x="1019" y="452"/>
                    <a:pt x="1019" y="452"/>
                  </a:cubicBezTo>
                  <a:cubicBezTo>
                    <a:pt x="1083" y="19"/>
                    <a:pt x="1083" y="19"/>
                    <a:pt x="1083" y="1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20" y="29"/>
                    <a:pt x="0" y="77"/>
                    <a:pt x="31" y="103"/>
                  </a:cubicBezTo>
                  <a:cubicBezTo>
                    <a:pt x="469" y="485"/>
                    <a:pt x="469" y="485"/>
                    <a:pt x="469" y="485"/>
                  </a:cubicBezTo>
                  <a:cubicBezTo>
                    <a:pt x="540" y="547"/>
                    <a:pt x="634" y="582"/>
                    <a:pt x="732" y="582"/>
                  </a:cubicBezTo>
                  <a:cubicBezTo>
                    <a:pt x="3244" y="582"/>
                    <a:pt x="3244" y="582"/>
                    <a:pt x="3244" y="582"/>
                  </a:cubicBezTo>
                  <a:cubicBezTo>
                    <a:pt x="3469" y="582"/>
                    <a:pt x="3645" y="373"/>
                    <a:pt x="3463" y="254"/>
                  </a:cubicBezTo>
                  <a:cubicBezTo>
                    <a:pt x="3047" y="0"/>
                    <a:pt x="3047" y="0"/>
                    <a:pt x="3047" y="0"/>
                  </a:cubicBezTo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šļídè">
              <a:extLst>
                <a:ext uri="{FF2B5EF4-FFF2-40B4-BE49-F238E27FC236}">
                  <a16:creationId xmlns:a16="http://schemas.microsoft.com/office/drawing/2014/main" id="{B0B9B306-34E6-453E-9682-FFC33BB997D3}"/>
                </a:ext>
              </a:extLst>
            </p:cNvPr>
            <p:cNvSpPr/>
            <p:nvPr/>
          </p:nvSpPr>
          <p:spPr bwMode="auto">
            <a:xfrm>
              <a:off x="4156075" y="3217863"/>
              <a:ext cx="1736725" cy="1066800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ṧḻîďé">
              <a:extLst>
                <a:ext uri="{FF2B5EF4-FFF2-40B4-BE49-F238E27FC236}">
                  <a16:creationId xmlns:a16="http://schemas.microsoft.com/office/drawing/2014/main" id="{4B1FC5EC-E1EB-4376-A235-4B22530EDB1A}"/>
                </a:ext>
              </a:extLst>
            </p:cNvPr>
            <p:cNvSpPr/>
            <p:nvPr/>
          </p:nvSpPr>
          <p:spPr bwMode="auto">
            <a:xfrm>
              <a:off x="5892800" y="3217863"/>
              <a:ext cx="1736725" cy="1069975"/>
            </a:xfrm>
            <a:custGeom>
              <a:avLst/>
              <a:gdLst>
                <a:gd name="T0" fmla="*/ 0 w 1440"/>
                <a:gd name="T1" fmla="*/ 888 h 888"/>
                <a:gd name="T2" fmla="*/ 0 w 1440"/>
                <a:gd name="T3" fmla="*/ 174 h 888"/>
                <a:gd name="T4" fmla="*/ 174 w 1440"/>
                <a:gd name="T5" fmla="*/ 0 h 888"/>
                <a:gd name="T6" fmla="*/ 1266 w 1440"/>
                <a:gd name="T7" fmla="*/ 0 h 888"/>
                <a:gd name="T8" fmla="*/ 1440 w 1440"/>
                <a:gd name="T9" fmla="*/ 174 h 888"/>
                <a:gd name="T10" fmla="*/ 1440 w 1440"/>
                <a:gd name="T11" fmla="*/ 886 h 888"/>
                <a:gd name="T12" fmla="*/ 0 w 1440"/>
                <a:gd name="T13" fmla="*/ 88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0" h="888">
                  <a:moveTo>
                    <a:pt x="0" y="888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6" y="0"/>
                    <a:pt x="1266" y="0"/>
                    <a:pt x="1266" y="0"/>
                  </a:cubicBezTo>
                  <a:cubicBezTo>
                    <a:pt x="1362" y="0"/>
                    <a:pt x="1440" y="78"/>
                    <a:pt x="1440" y="174"/>
                  </a:cubicBezTo>
                  <a:cubicBezTo>
                    <a:pt x="1440" y="886"/>
                    <a:pt x="1440" y="886"/>
                    <a:pt x="1440" y="886"/>
                  </a:cubicBezTo>
                  <a:cubicBezTo>
                    <a:pt x="0" y="888"/>
                    <a:pt x="0" y="888"/>
                    <a:pt x="0" y="888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śḻíḋê">
              <a:extLst>
                <a:ext uri="{FF2B5EF4-FFF2-40B4-BE49-F238E27FC236}">
                  <a16:creationId xmlns:a16="http://schemas.microsoft.com/office/drawing/2014/main" id="{947E837F-88AE-4548-9432-98D523E882A9}"/>
                </a:ext>
              </a:extLst>
            </p:cNvPr>
            <p:cNvSpPr/>
            <p:nvPr/>
          </p:nvSpPr>
          <p:spPr bwMode="auto">
            <a:xfrm>
              <a:off x="5892800" y="3263900"/>
              <a:ext cx="1735138" cy="1023938"/>
            </a:xfrm>
            <a:custGeom>
              <a:avLst/>
              <a:gdLst>
                <a:gd name="T0" fmla="*/ 1375 w 1439"/>
                <a:gd name="T1" fmla="*/ 0 h 849"/>
                <a:gd name="T2" fmla="*/ 0 w 1439"/>
                <a:gd name="T3" fmla="*/ 849 h 849"/>
                <a:gd name="T4" fmla="*/ 1439 w 1439"/>
                <a:gd name="T5" fmla="*/ 847 h 849"/>
                <a:gd name="T6" fmla="*/ 1439 w 1439"/>
                <a:gd name="T7" fmla="*/ 135 h 849"/>
                <a:gd name="T8" fmla="*/ 1375 w 1439"/>
                <a:gd name="T9" fmla="*/ 0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9" h="849">
                  <a:moveTo>
                    <a:pt x="1375" y="0"/>
                  </a:moveTo>
                  <a:cubicBezTo>
                    <a:pt x="0" y="849"/>
                    <a:pt x="0" y="849"/>
                    <a:pt x="0" y="849"/>
                  </a:cubicBezTo>
                  <a:cubicBezTo>
                    <a:pt x="1439" y="847"/>
                    <a:pt x="1439" y="847"/>
                    <a:pt x="1439" y="847"/>
                  </a:cubicBezTo>
                  <a:cubicBezTo>
                    <a:pt x="1439" y="135"/>
                    <a:pt x="1439" y="135"/>
                    <a:pt x="1439" y="135"/>
                  </a:cubicBezTo>
                  <a:cubicBezTo>
                    <a:pt x="1439" y="81"/>
                    <a:pt x="1414" y="32"/>
                    <a:pt x="1375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ś1ide">
              <a:extLst>
                <a:ext uri="{FF2B5EF4-FFF2-40B4-BE49-F238E27FC236}">
                  <a16:creationId xmlns:a16="http://schemas.microsoft.com/office/drawing/2014/main" id="{8E358758-E0BA-4531-A352-7C247580CA28}"/>
                </a:ext>
              </a:extLst>
            </p:cNvPr>
            <p:cNvSpPr/>
            <p:nvPr/>
          </p:nvSpPr>
          <p:spPr bwMode="auto">
            <a:xfrm>
              <a:off x="4156075" y="3259138"/>
              <a:ext cx="1736725" cy="1025525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ŝḻide">
              <a:extLst>
                <a:ext uri="{FF2B5EF4-FFF2-40B4-BE49-F238E27FC236}">
                  <a16:creationId xmlns:a16="http://schemas.microsoft.com/office/drawing/2014/main" id="{07072112-6490-40A6-B078-53AB0C48AD61}"/>
                </a:ext>
              </a:extLst>
            </p:cNvPr>
            <p:cNvSpPr/>
            <p:nvPr/>
          </p:nvSpPr>
          <p:spPr bwMode="auto">
            <a:xfrm>
              <a:off x="4318000" y="4718050"/>
              <a:ext cx="180975" cy="322263"/>
            </a:xfrm>
            <a:custGeom>
              <a:avLst/>
              <a:gdLst>
                <a:gd name="T0" fmla="*/ 57 w 114"/>
                <a:gd name="T1" fmla="*/ 1 h 203"/>
                <a:gd name="T2" fmla="*/ 0 w 114"/>
                <a:gd name="T3" fmla="*/ 0 h 203"/>
                <a:gd name="T4" fmla="*/ 23 w 114"/>
                <a:gd name="T5" fmla="*/ 203 h 203"/>
                <a:gd name="T6" fmla="*/ 53 w 114"/>
                <a:gd name="T7" fmla="*/ 203 h 203"/>
                <a:gd name="T8" fmla="*/ 61 w 114"/>
                <a:gd name="T9" fmla="*/ 203 h 203"/>
                <a:gd name="T10" fmla="*/ 91 w 114"/>
                <a:gd name="T11" fmla="*/ 203 h 203"/>
                <a:gd name="T12" fmla="*/ 114 w 114"/>
                <a:gd name="T13" fmla="*/ 0 h 203"/>
                <a:gd name="T14" fmla="*/ 57 w 114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203">
                  <a:moveTo>
                    <a:pt x="57" y="1"/>
                  </a:moveTo>
                  <a:lnTo>
                    <a:pt x="0" y="0"/>
                  </a:lnTo>
                  <a:lnTo>
                    <a:pt x="23" y="203"/>
                  </a:lnTo>
                  <a:lnTo>
                    <a:pt x="53" y="203"/>
                  </a:lnTo>
                  <a:lnTo>
                    <a:pt x="61" y="203"/>
                  </a:lnTo>
                  <a:lnTo>
                    <a:pt x="91" y="203"/>
                  </a:lnTo>
                  <a:lnTo>
                    <a:pt x="114" y="0"/>
                  </a:lnTo>
                  <a:lnTo>
                    <a:pt x="57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ľïďè">
              <a:extLst>
                <a:ext uri="{FF2B5EF4-FFF2-40B4-BE49-F238E27FC236}">
                  <a16:creationId xmlns:a16="http://schemas.microsoft.com/office/drawing/2014/main" id="{F9465839-55E5-46EB-9EDA-17935A929D08}"/>
                </a:ext>
              </a:extLst>
            </p:cNvPr>
            <p:cNvSpPr/>
            <p:nvPr/>
          </p:nvSpPr>
          <p:spPr bwMode="auto">
            <a:xfrm>
              <a:off x="7285038" y="4718050"/>
              <a:ext cx="182563" cy="322263"/>
            </a:xfrm>
            <a:custGeom>
              <a:avLst/>
              <a:gdLst>
                <a:gd name="T0" fmla="*/ 58 w 115"/>
                <a:gd name="T1" fmla="*/ 1 h 203"/>
                <a:gd name="T2" fmla="*/ 0 w 115"/>
                <a:gd name="T3" fmla="*/ 0 h 203"/>
                <a:gd name="T4" fmla="*/ 24 w 115"/>
                <a:gd name="T5" fmla="*/ 203 h 203"/>
                <a:gd name="T6" fmla="*/ 54 w 115"/>
                <a:gd name="T7" fmla="*/ 203 h 203"/>
                <a:gd name="T8" fmla="*/ 62 w 115"/>
                <a:gd name="T9" fmla="*/ 203 h 203"/>
                <a:gd name="T10" fmla="*/ 92 w 115"/>
                <a:gd name="T11" fmla="*/ 203 h 203"/>
                <a:gd name="T12" fmla="*/ 115 w 115"/>
                <a:gd name="T13" fmla="*/ 0 h 203"/>
                <a:gd name="T14" fmla="*/ 58 w 115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203">
                  <a:moveTo>
                    <a:pt x="58" y="1"/>
                  </a:moveTo>
                  <a:lnTo>
                    <a:pt x="0" y="0"/>
                  </a:lnTo>
                  <a:lnTo>
                    <a:pt x="24" y="203"/>
                  </a:lnTo>
                  <a:lnTo>
                    <a:pt x="54" y="203"/>
                  </a:lnTo>
                  <a:lnTo>
                    <a:pt x="62" y="203"/>
                  </a:lnTo>
                  <a:lnTo>
                    <a:pt x="92" y="203"/>
                  </a:lnTo>
                  <a:lnTo>
                    <a:pt x="115" y="0"/>
                  </a:lnTo>
                  <a:lnTo>
                    <a:pt x="58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$1íďe">
              <a:extLst>
                <a:ext uri="{FF2B5EF4-FFF2-40B4-BE49-F238E27FC236}">
                  <a16:creationId xmlns:a16="http://schemas.microsoft.com/office/drawing/2014/main" id="{337E0033-2AD9-4F19-88D0-7303AC14EDC8}"/>
                </a:ext>
              </a:extLst>
            </p:cNvPr>
            <p:cNvSpPr/>
            <p:nvPr/>
          </p:nvSpPr>
          <p:spPr bwMode="auto">
            <a:xfrm>
              <a:off x="4473575" y="4622800"/>
              <a:ext cx="2900363" cy="204788"/>
            </a:xfrm>
            <a:prstGeom prst="rect">
              <a:avLst/>
            </a:pr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sḻïḓê">
              <a:extLst>
                <a:ext uri="{FF2B5EF4-FFF2-40B4-BE49-F238E27FC236}">
                  <a16:creationId xmlns:a16="http://schemas.microsoft.com/office/drawing/2014/main" id="{32FA38A7-D1B0-499C-93BB-76023B00F2D8}"/>
                </a:ext>
              </a:extLst>
            </p:cNvPr>
            <p:cNvSpPr/>
            <p:nvPr/>
          </p:nvSpPr>
          <p:spPr bwMode="auto">
            <a:xfrm>
              <a:off x="4160838" y="4284663"/>
              <a:ext cx="3475038" cy="244475"/>
            </a:xfrm>
            <a:custGeom>
              <a:avLst/>
              <a:gdLst>
                <a:gd name="T0" fmla="*/ 0 w 2189"/>
                <a:gd name="T1" fmla="*/ 154 h 154"/>
                <a:gd name="T2" fmla="*/ 2189 w 2189"/>
                <a:gd name="T3" fmla="*/ 154 h 154"/>
                <a:gd name="T4" fmla="*/ 2085 w 2189"/>
                <a:gd name="T5" fmla="*/ 0 h 154"/>
                <a:gd name="T6" fmla="*/ 99 w 2189"/>
                <a:gd name="T7" fmla="*/ 0 h 154"/>
                <a:gd name="T8" fmla="*/ 0 w 2189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9" h="154">
                  <a:moveTo>
                    <a:pt x="0" y="154"/>
                  </a:moveTo>
                  <a:lnTo>
                    <a:pt x="2189" y="154"/>
                  </a:lnTo>
                  <a:lnTo>
                    <a:pt x="2085" y="0"/>
                  </a:lnTo>
                  <a:lnTo>
                    <a:pt x="99" y="0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8C9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šḷîḍé">
              <a:extLst>
                <a:ext uri="{FF2B5EF4-FFF2-40B4-BE49-F238E27FC236}">
                  <a16:creationId xmlns:a16="http://schemas.microsoft.com/office/drawing/2014/main" id="{5AD146C7-F5C2-4EA0-B46E-3C180B006E25}"/>
                </a:ext>
              </a:extLst>
            </p:cNvPr>
            <p:cNvSpPr/>
            <p:nvPr/>
          </p:nvSpPr>
          <p:spPr bwMode="auto">
            <a:xfrm>
              <a:off x="4156075" y="4464050"/>
              <a:ext cx="1738313" cy="322263"/>
            </a:xfrm>
            <a:custGeom>
              <a:avLst/>
              <a:gdLst>
                <a:gd name="T0" fmla="*/ 1374 w 1441"/>
                <a:gd name="T1" fmla="*/ 268 h 268"/>
                <a:gd name="T2" fmla="*/ 66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6 w 1441"/>
                <a:gd name="T9" fmla="*/ 0 h 268"/>
                <a:gd name="T10" fmla="*/ 1374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4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4" y="268"/>
                  </a:moveTo>
                  <a:cubicBezTo>
                    <a:pt x="66" y="268"/>
                    <a:pt x="66" y="268"/>
                    <a:pt x="66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374" y="0"/>
                    <a:pt x="1374" y="0"/>
                    <a:pt x="1374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4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$ḷíḍè">
              <a:extLst>
                <a:ext uri="{FF2B5EF4-FFF2-40B4-BE49-F238E27FC236}">
                  <a16:creationId xmlns:a16="http://schemas.microsoft.com/office/drawing/2014/main" id="{5BF00A61-3C99-4137-9DF7-0A16EF80C2B3}"/>
                </a:ext>
              </a:extLst>
            </p:cNvPr>
            <p:cNvSpPr/>
            <p:nvPr/>
          </p:nvSpPr>
          <p:spPr bwMode="auto">
            <a:xfrm>
              <a:off x="5889625" y="4464050"/>
              <a:ext cx="1738313" cy="322263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5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ṧḷîdê">
              <a:extLst>
                <a:ext uri="{FF2B5EF4-FFF2-40B4-BE49-F238E27FC236}">
                  <a16:creationId xmlns:a16="http://schemas.microsoft.com/office/drawing/2014/main" id="{D4F561B4-C8F6-4D8B-8500-4B45465D9AD1}"/>
                </a:ext>
              </a:extLst>
            </p:cNvPr>
            <p:cNvSpPr/>
            <p:nvPr/>
          </p:nvSpPr>
          <p:spPr bwMode="auto">
            <a:xfrm>
              <a:off x="7472363" y="3776663"/>
              <a:ext cx="322263" cy="1016000"/>
            </a:xfrm>
            <a:custGeom>
              <a:avLst/>
              <a:gdLst>
                <a:gd name="T0" fmla="*/ 67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7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7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7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8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8" y="0"/>
                    <a:pt x="20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30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30" y="843"/>
                    <a:pt x="67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ṥľíde">
              <a:extLst>
                <a:ext uri="{FF2B5EF4-FFF2-40B4-BE49-F238E27FC236}">
                  <a16:creationId xmlns:a16="http://schemas.microsoft.com/office/drawing/2014/main" id="{BF5F832D-C821-4A11-816E-C12489F78179}"/>
                </a:ext>
              </a:extLst>
            </p:cNvPr>
            <p:cNvSpPr/>
            <p:nvPr/>
          </p:nvSpPr>
          <p:spPr bwMode="auto">
            <a:xfrm>
              <a:off x="3995738" y="3776663"/>
              <a:ext cx="322263" cy="1016000"/>
            </a:xfrm>
            <a:custGeom>
              <a:avLst/>
              <a:gdLst>
                <a:gd name="T0" fmla="*/ 66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6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6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6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7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7" y="0"/>
                    <a:pt x="201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9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29" y="843"/>
                    <a:pt x="66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śľïde">
              <a:extLst>
                <a:ext uri="{FF2B5EF4-FFF2-40B4-BE49-F238E27FC236}">
                  <a16:creationId xmlns:a16="http://schemas.microsoft.com/office/drawing/2014/main" id="{FC5C8F7B-0CE8-46FC-B170-90FE664DBD0B}"/>
                </a:ext>
              </a:extLst>
            </p:cNvPr>
            <p:cNvSpPr/>
            <p:nvPr/>
          </p:nvSpPr>
          <p:spPr bwMode="auto">
            <a:xfrm>
              <a:off x="4256088" y="3676650"/>
              <a:ext cx="773113" cy="676275"/>
            </a:xfrm>
            <a:custGeom>
              <a:avLst/>
              <a:gdLst>
                <a:gd name="T0" fmla="*/ 112 w 640"/>
                <a:gd name="T1" fmla="*/ 560 h 561"/>
                <a:gd name="T2" fmla="*/ 415 w 640"/>
                <a:gd name="T3" fmla="*/ 511 h 561"/>
                <a:gd name="T4" fmla="*/ 426 w 640"/>
                <a:gd name="T5" fmla="*/ 510 h 561"/>
                <a:gd name="T6" fmla="*/ 597 w 640"/>
                <a:gd name="T7" fmla="*/ 532 h 561"/>
                <a:gd name="T8" fmla="*/ 640 w 640"/>
                <a:gd name="T9" fmla="*/ 495 h 561"/>
                <a:gd name="T10" fmla="*/ 638 w 640"/>
                <a:gd name="T11" fmla="*/ 484 h 561"/>
                <a:gd name="T12" fmla="*/ 584 w 640"/>
                <a:gd name="T13" fmla="*/ 176 h 561"/>
                <a:gd name="T14" fmla="*/ 584 w 640"/>
                <a:gd name="T15" fmla="*/ 42 h 561"/>
                <a:gd name="T16" fmla="*/ 536 w 640"/>
                <a:gd name="T17" fmla="*/ 7 h 561"/>
                <a:gd name="T18" fmla="*/ 495 w 640"/>
                <a:gd name="T19" fmla="*/ 18 h 561"/>
                <a:gd name="T20" fmla="*/ 485 w 640"/>
                <a:gd name="T21" fmla="*/ 19 h 561"/>
                <a:gd name="T22" fmla="*/ 40 w 640"/>
                <a:gd name="T23" fmla="*/ 19 h 561"/>
                <a:gd name="T24" fmla="*/ 3 w 640"/>
                <a:gd name="T25" fmla="*/ 48 h 561"/>
                <a:gd name="T26" fmla="*/ 2 w 640"/>
                <a:gd name="T27" fmla="*/ 53 h 561"/>
                <a:gd name="T28" fmla="*/ 4 w 640"/>
                <a:gd name="T29" fmla="*/ 75 h 561"/>
                <a:gd name="T30" fmla="*/ 62 w 640"/>
                <a:gd name="T31" fmla="*/ 346 h 561"/>
                <a:gd name="T32" fmla="*/ 63 w 640"/>
                <a:gd name="T33" fmla="*/ 520 h 561"/>
                <a:gd name="T34" fmla="*/ 85 w 640"/>
                <a:gd name="T35" fmla="*/ 555 h 561"/>
                <a:gd name="T36" fmla="*/ 90 w 640"/>
                <a:gd name="T37" fmla="*/ 557 h 561"/>
                <a:gd name="T38" fmla="*/ 112 w 640"/>
                <a:gd name="T39" fmla="*/ 56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560"/>
                  </a:moveTo>
                  <a:cubicBezTo>
                    <a:pt x="415" y="511"/>
                    <a:pt x="415" y="511"/>
                    <a:pt x="415" y="511"/>
                  </a:cubicBezTo>
                  <a:cubicBezTo>
                    <a:pt x="419" y="510"/>
                    <a:pt x="422" y="510"/>
                    <a:pt x="426" y="510"/>
                  </a:cubicBezTo>
                  <a:cubicBezTo>
                    <a:pt x="597" y="532"/>
                    <a:pt x="597" y="532"/>
                    <a:pt x="597" y="532"/>
                  </a:cubicBezTo>
                  <a:cubicBezTo>
                    <a:pt x="620" y="535"/>
                    <a:pt x="640" y="518"/>
                    <a:pt x="640" y="495"/>
                  </a:cubicBezTo>
                  <a:cubicBezTo>
                    <a:pt x="640" y="491"/>
                    <a:pt x="639" y="487"/>
                    <a:pt x="638" y="484"/>
                  </a:cubicBezTo>
                  <a:cubicBezTo>
                    <a:pt x="629" y="453"/>
                    <a:pt x="581" y="294"/>
                    <a:pt x="584" y="176"/>
                  </a:cubicBezTo>
                  <a:cubicBezTo>
                    <a:pt x="586" y="114"/>
                    <a:pt x="585" y="70"/>
                    <a:pt x="584" y="42"/>
                  </a:cubicBezTo>
                  <a:cubicBezTo>
                    <a:pt x="583" y="17"/>
                    <a:pt x="560" y="0"/>
                    <a:pt x="536" y="7"/>
                  </a:cubicBezTo>
                  <a:cubicBezTo>
                    <a:pt x="495" y="18"/>
                    <a:pt x="495" y="18"/>
                    <a:pt x="495" y="18"/>
                  </a:cubicBezTo>
                  <a:cubicBezTo>
                    <a:pt x="492" y="19"/>
                    <a:pt x="489" y="19"/>
                    <a:pt x="485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2" y="19"/>
                    <a:pt x="7" y="31"/>
                    <a:pt x="3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60"/>
                    <a:pt x="1" y="68"/>
                    <a:pt x="4" y="75"/>
                  </a:cubicBezTo>
                  <a:cubicBezTo>
                    <a:pt x="17" y="110"/>
                    <a:pt x="59" y="229"/>
                    <a:pt x="62" y="346"/>
                  </a:cubicBezTo>
                  <a:cubicBezTo>
                    <a:pt x="64" y="434"/>
                    <a:pt x="64" y="490"/>
                    <a:pt x="63" y="520"/>
                  </a:cubicBezTo>
                  <a:cubicBezTo>
                    <a:pt x="63" y="535"/>
                    <a:pt x="71" y="549"/>
                    <a:pt x="85" y="555"/>
                  </a:cubicBezTo>
                  <a:cubicBezTo>
                    <a:pt x="90" y="557"/>
                    <a:pt x="90" y="557"/>
                    <a:pt x="90" y="557"/>
                  </a:cubicBezTo>
                  <a:cubicBezTo>
                    <a:pt x="97" y="560"/>
                    <a:pt x="104" y="561"/>
                    <a:pt x="112" y="560"/>
                  </a:cubicBezTo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S1ïḑe">
              <a:extLst>
                <a:ext uri="{FF2B5EF4-FFF2-40B4-BE49-F238E27FC236}">
                  <a16:creationId xmlns:a16="http://schemas.microsoft.com/office/drawing/2014/main" id="{C2F1917A-9712-4252-B4A9-6E8F0B9BAF82}"/>
                </a:ext>
              </a:extLst>
            </p:cNvPr>
            <p:cNvSpPr/>
            <p:nvPr/>
          </p:nvSpPr>
          <p:spPr bwMode="auto">
            <a:xfrm>
              <a:off x="4933950" y="4006850"/>
              <a:ext cx="95250" cy="312738"/>
            </a:xfrm>
            <a:custGeom>
              <a:avLst/>
              <a:gdLst>
                <a:gd name="T0" fmla="*/ 34 w 78"/>
                <a:gd name="T1" fmla="*/ 257 h 260"/>
                <a:gd name="T2" fmla="*/ 37 w 78"/>
                <a:gd name="T3" fmla="*/ 258 h 260"/>
                <a:gd name="T4" fmla="*/ 78 w 78"/>
                <a:gd name="T5" fmla="*/ 221 h 260"/>
                <a:gd name="T6" fmla="*/ 76 w 78"/>
                <a:gd name="T7" fmla="*/ 210 h 260"/>
                <a:gd name="T8" fmla="*/ 29 w 78"/>
                <a:gd name="T9" fmla="*/ 0 h 260"/>
                <a:gd name="T10" fmla="*/ 3 w 78"/>
                <a:gd name="T11" fmla="*/ 187 h 260"/>
                <a:gd name="T12" fmla="*/ 34 w 78"/>
                <a:gd name="T13" fmla="*/ 25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60">
                  <a:moveTo>
                    <a:pt x="34" y="257"/>
                  </a:moveTo>
                  <a:cubicBezTo>
                    <a:pt x="35" y="257"/>
                    <a:pt x="36" y="258"/>
                    <a:pt x="37" y="258"/>
                  </a:cubicBezTo>
                  <a:cubicBezTo>
                    <a:pt x="59" y="260"/>
                    <a:pt x="78" y="243"/>
                    <a:pt x="78" y="221"/>
                  </a:cubicBezTo>
                  <a:cubicBezTo>
                    <a:pt x="78" y="217"/>
                    <a:pt x="77" y="213"/>
                    <a:pt x="76" y="210"/>
                  </a:cubicBezTo>
                  <a:cubicBezTo>
                    <a:pt x="69" y="187"/>
                    <a:pt x="41" y="94"/>
                    <a:pt x="29" y="0"/>
                  </a:cubicBezTo>
                  <a:cubicBezTo>
                    <a:pt x="3" y="187"/>
                    <a:pt x="3" y="187"/>
                    <a:pt x="3" y="187"/>
                  </a:cubicBezTo>
                  <a:cubicBezTo>
                    <a:pt x="3" y="187"/>
                    <a:pt x="0" y="236"/>
                    <a:pt x="34" y="257"/>
                  </a:cubicBezTo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şļîdé">
              <a:extLst>
                <a:ext uri="{FF2B5EF4-FFF2-40B4-BE49-F238E27FC236}">
                  <a16:creationId xmlns:a16="http://schemas.microsoft.com/office/drawing/2014/main" id="{970C2D8F-5DC6-490A-A1C7-D2FE41013E6B}"/>
                </a:ext>
              </a:extLst>
            </p:cNvPr>
            <p:cNvSpPr/>
            <p:nvPr/>
          </p:nvSpPr>
          <p:spPr bwMode="auto">
            <a:xfrm>
              <a:off x="4256088" y="3706813"/>
              <a:ext cx="152400" cy="636588"/>
            </a:xfrm>
            <a:custGeom>
              <a:avLst/>
              <a:gdLst>
                <a:gd name="T0" fmla="*/ 20 w 126"/>
                <a:gd name="T1" fmla="*/ 0 h 528"/>
                <a:gd name="T2" fmla="*/ 3 w 126"/>
                <a:gd name="T3" fmla="*/ 23 h 528"/>
                <a:gd name="T4" fmla="*/ 2 w 126"/>
                <a:gd name="T5" fmla="*/ 28 h 528"/>
                <a:gd name="T6" fmla="*/ 4 w 126"/>
                <a:gd name="T7" fmla="*/ 50 h 528"/>
                <a:gd name="T8" fmla="*/ 62 w 126"/>
                <a:gd name="T9" fmla="*/ 321 h 528"/>
                <a:gd name="T10" fmla="*/ 63 w 126"/>
                <a:gd name="T11" fmla="*/ 495 h 528"/>
                <a:gd name="T12" fmla="*/ 82 w 126"/>
                <a:gd name="T13" fmla="*/ 528 h 528"/>
                <a:gd name="T14" fmla="*/ 126 w 126"/>
                <a:gd name="T15" fmla="*/ 206 h 528"/>
                <a:gd name="T16" fmla="*/ 20 w 126"/>
                <a:gd name="T1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528">
                  <a:moveTo>
                    <a:pt x="20" y="0"/>
                  </a:moveTo>
                  <a:cubicBezTo>
                    <a:pt x="12" y="5"/>
                    <a:pt x="5" y="13"/>
                    <a:pt x="3" y="2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5"/>
                    <a:pt x="1" y="43"/>
                    <a:pt x="4" y="50"/>
                  </a:cubicBezTo>
                  <a:cubicBezTo>
                    <a:pt x="17" y="85"/>
                    <a:pt x="59" y="204"/>
                    <a:pt x="62" y="321"/>
                  </a:cubicBezTo>
                  <a:cubicBezTo>
                    <a:pt x="64" y="409"/>
                    <a:pt x="64" y="466"/>
                    <a:pt x="63" y="495"/>
                  </a:cubicBezTo>
                  <a:cubicBezTo>
                    <a:pt x="63" y="509"/>
                    <a:pt x="70" y="522"/>
                    <a:pt x="82" y="528"/>
                  </a:cubicBezTo>
                  <a:cubicBezTo>
                    <a:pt x="126" y="206"/>
                    <a:pt x="126" y="206"/>
                    <a:pt x="126" y="206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ṧḷîďe">
              <a:extLst>
                <a:ext uri="{FF2B5EF4-FFF2-40B4-BE49-F238E27FC236}">
                  <a16:creationId xmlns:a16="http://schemas.microsoft.com/office/drawing/2014/main" id="{CCF0D642-55E7-4114-8D85-69231E3F2779}"/>
                </a:ext>
              </a:extLst>
            </p:cNvPr>
            <p:cNvSpPr/>
            <p:nvPr/>
          </p:nvSpPr>
          <p:spPr bwMode="auto">
            <a:xfrm>
              <a:off x="6721475" y="3649663"/>
              <a:ext cx="773113" cy="676275"/>
            </a:xfrm>
            <a:custGeom>
              <a:avLst/>
              <a:gdLst>
                <a:gd name="T0" fmla="*/ 112 w 640"/>
                <a:gd name="T1" fmla="*/ 1 h 561"/>
                <a:gd name="T2" fmla="*/ 415 w 640"/>
                <a:gd name="T3" fmla="*/ 51 h 561"/>
                <a:gd name="T4" fmla="*/ 426 w 640"/>
                <a:gd name="T5" fmla="*/ 51 h 561"/>
                <a:gd name="T6" fmla="*/ 597 w 640"/>
                <a:gd name="T7" fmla="*/ 29 h 561"/>
                <a:gd name="T8" fmla="*/ 640 w 640"/>
                <a:gd name="T9" fmla="*/ 67 h 561"/>
                <a:gd name="T10" fmla="*/ 638 w 640"/>
                <a:gd name="T11" fmla="*/ 78 h 561"/>
                <a:gd name="T12" fmla="*/ 584 w 640"/>
                <a:gd name="T13" fmla="*/ 386 h 561"/>
                <a:gd name="T14" fmla="*/ 584 w 640"/>
                <a:gd name="T15" fmla="*/ 520 h 561"/>
                <a:gd name="T16" fmla="*/ 536 w 640"/>
                <a:gd name="T17" fmla="*/ 555 h 561"/>
                <a:gd name="T18" fmla="*/ 495 w 640"/>
                <a:gd name="T19" fmla="*/ 544 h 561"/>
                <a:gd name="T20" fmla="*/ 485 w 640"/>
                <a:gd name="T21" fmla="*/ 543 h 561"/>
                <a:gd name="T22" fmla="*/ 40 w 640"/>
                <a:gd name="T23" fmla="*/ 543 h 561"/>
                <a:gd name="T24" fmla="*/ 3 w 640"/>
                <a:gd name="T25" fmla="*/ 513 h 561"/>
                <a:gd name="T26" fmla="*/ 2 w 640"/>
                <a:gd name="T27" fmla="*/ 509 h 561"/>
                <a:gd name="T28" fmla="*/ 4 w 640"/>
                <a:gd name="T29" fmla="*/ 487 h 561"/>
                <a:gd name="T30" fmla="*/ 62 w 640"/>
                <a:gd name="T31" fmla="*/ 215 h 561"/>
                <a:gd name="T32" fmla="*/ 63 w 640"/>
                <a:gd name="T33" fmla="*/ 42 h 561"/>
                <a:gd name="T34" fmla="*/ 85 w 640"/>
                <a:gd name="T35" fmla="*/ 6 h 561"/>
                <a:gd name="T36" fmla="*/ 90 w 640"/>
                <a:gd name="T37" fmla="*/ 4 h 561"/>
                <a:gd name="T38" fmla="*/ 112 w 640"/>
                <a:gd name="T39" fmla="*/ 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1"/>
                  </a:moveTo>
                  <a:cubicBezTo>
                    <a:pt x="415" y="51"/>
                    <a:pt x="415" y="51"/>
                    <a:pt x="415" y="51"/>
                  </a:cubicBezTo>
                  <a:cubicBezTo>
                    <a:pt x="419" y="51"/>
                    <a:pt x="422" y="52"/>
                    <a:pt x="426" y="51"/>
                  </a:cubicBezTo>
                  <a:cubicBezTo>
                    <a:pt x="597" y="29"/>
                    <a:pt x="597" y="29"/>
                    <a:pt x="597" y="29"/>
                  </a:cubicBezTo>
                  <a:cubicBezTo>
                    <a:pt x="620" y="26"/>
                    <a:pt x="640" y="44"/>
                    <a:pt x="640" y="67"/>
                  </a:cubicBezTo>
                  <a:cubicBezTo>
                    <a:pt x="640" y="71"/>
                    <a:pt x="639" y="74"/>
                    <a:pt x="638" y="78"/>
                  </a:cubicBezTo>
                  <a:cubicBezTo>
                    <a:pt x="629" y="109"/>
                    <a:pt x="581" y="267"/>
                    <a:pt x="584" y="386"/>
                  </a:cubicBezTo>
                  <a:cubicBezTo>
                    <a:pt x="586" y="448"/>
                    <a:pt x="585" y="491"/>
                    <a:pt x="584" y="520"/>
                  </a:cubicBezTo>
                  <a:cubicBezTo>
                    <a:pt x="583" y="544"/>
                    <a:pt x="560" y="561"/>
                    <a:pt x="536" y="555"/>
                  </a:cubicBezTo>
                  <a:cubicBezTo>
                    <a:pt x="495" y="544"/>
                    <a:pt x="495" y="544"/>
                    <a:pt x="495" y="544"/>
                  </a:cubicBezTo>
                  <a:cubicBezTo>
                    <a:pt x="492" y="543"/>
                    <a:pt x="489" y="543"/>
                    <a:pt x="485" y="543"/>
                  </a:cubicBezTo>
                  <a:cubicBezTo>
                    <a:pt x="40" y="543"/>
                    <a:pt x="40" y="543"/>
                    <a:pt x="40" y="543"/>
                  </a:cubicBezTo>
                  <a:cubicBezTo>
                    <a:pt x="22" y="543"/>
                    <a:pt x="7" y="530"/>
                    <a:pt x="3" y="513"/>
                  </a:cubicBezTo>
                  <a:cubicBezTo>
                    <a:pt x="2" y="509"/>
                    <a:pt x="2" y="509"/>
                    <a:pt x="2" y="509"/>
                  </a:cubicBezTo>
                  <a:cubicBezTo>
                    <a:pt x="0" y="501"/>
                    <a:pt x="1" y="494"/>
                    <a:pt x="4" y="487"/>
                  </a:cubicBezTo>
                  <a:cubicBezTo>
                    <a:pt x="17" y="451"/>
                    <a:pt x="59" y="332"/>
                    <a:pt x="62" y="215"/>
                  </a:cubicBezTo>
                  <a:cubicBezTo>
                    <a:pt x="64" y="127"/>
                    <a:pt x="64" y="71"/>
                    <a:pt x="63" y="42"/>
                  </a:cubicBezTo>
                  <a:cubicBezTo>
                    <a:pt x="63" y="27"/>
                    <a:pt x="71" y="13"/>
                    <a:pt x="85" y="6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7" y="1"/>
                    <a:pt x="104" y="0"/>
                    <a:pt x="112" y="1"/>
                  </a:cubicBezTo>
                  <a:close/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ṩ1iḑe">
              <a:extLst>
                <a:ext uri="{FF2B5EF4-FFF2-40B4-BE49-F238E27FC236}">
                  <a16:creationId xmlns:a16="http://schemas.microsoft.com/office/drawing/2014/main" id="{B0F0DA45-2E66-460D-A7A3-965C8E92C4E7}"/>
                </a:ext>
              </a:extLst>
            </p:cNvPr>
            <p:cNvSpPr/>
            <p:nvPr/>
          </p:nvSpPr>
          <p:spPr bwMode="auto">
            <a:xfrm>
              <a:off x="7375525" y="3716338"/>
              <a:ext cx="119063" cy="576263"/>
            </a:xfrm>
            <a:custGeom>
              <a:avLst/>
              <a:gdLst>
                <a:gd name="T0" fmla="*/ 98 w 98"/>
                <a:gd name="T1" fmla="*/ 12 h 478"/>
                <a:gd name="T2" fmla="*/ 96 w 98"/>
                <a:gd name="T3" fmla="*/ 0 h 478"/>
                <a:gd name="T4" fmla="*/ 0 w 98"/>
                <a:gd name="T5" fmla="*/ 101 h 478"/>
                <a:gd name="T6" fmla="*/ 39 w 98"/>
                <a:gd name="T7" fmla="*/ 478 h 478"/>
                <a:gd name="T8" fmla="*/ 42 w 98"/>
                <a:gd name="T9" fmla="*/ 465 h 478"/>
                <a:gd name="T10" fmla="*/ 42 w 98"/>
                <a:gd name="T11" fmla="*/ 331 h 478"/>
                <a:gd name="T12" fmla="*/ 96 w 98"/>
                <a:gd name="T13" fmla="*/ 23 h 478"/>
                <a:gd name="T14" fmla="*/ 98 w 98"/>
                <a:gd name="T15" fmla="*/ 1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478">
                  <a:moveTo>
                    <a:pt x="98" y="12"/>
                  </a:moveTo>
                  <a:cubicBezTo>
                    <a:pt x="98" y="8"/>
                    <a:pt x="97" y="4"/>
                    <a:pt x="96" y="0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9" y="478"/>
                    <a:pt x="39" y="478"/>
                    <a:pt x="39" y="478"/>
                  </a:cubicBezTo>
                  <a:cubicBezTo>
                    <a:pt x="41" y="474"/>
                    <a:pt x="42" y="470"/>
                    <a:pt x="42" y="465"/>
                  </a:cubicBezTo>
                  <a:cubicBezTo>
                    <a:pt x="43" y="436"/>
                    <a:pt x="44" y="393"/>
                    <a:pt x="42" y="331"/>
                  </a:cubicBezTo>
                  <a:cubicBezTo>
                    <a:pt x="39" y="212"/>
                    <a:pt x="87" y="54"/>
                    <a:pt x="96" y="23"/>
                  </a:cubicBezTo>
                  <a:cubicBezTo>
                    <a:pt x="97" y="19"/>
                    <a:pt x="98" y="16"/>
                    <a:pt x="98" y="12"/>
                  </a:cubicBezTo>
                  <a:close/>
                </a:path>
              </a:pathLst>
            </a:custGeom>
            <a:solidFill>
              <a:srgbClr val="E6D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ḷîḓe">
              <a:extLst>
                <a:ext uri="{FF2B5EF4-FFF2-40B4-BE49-F238E27FC236}">
                  <a16:creationId xmlns:a16="http://schemas.microsoft.com/office/drawing/2014/main" id="{6C1D92AC-45F6-4981-BD51-826F76DFCB97}"/>
                </a:ext>
              </a:extLst>
            </p:cNvPr>
            <p:cNvSpPr/>
            <p:nvPr/>
          </p:nvSpPr>
          <p:spPr bwMode="auto">
            <a:xfrm>
              <a:off x="6797675" y="3717925"/>
              <a:ext cx="696913" cy="106363"/>
            </a:xfrm>
            <a:custGeom>
              <a:avLst/>
              <a:gdLst>
                <a:gd name="T0" fmla="*/ 246 w 577"/>
                <a:gd name="T1" fmla="*/ 86 h 89"/>
                <a:gd name="T2" fmla="*/ 568 w 577"/>
                <a:gd name="T3" fmla="*/ 46 h 89"/>
                <a:gd name="T4" fmla="*/ 575 w 577"/>
                <a:gd name="T5" fmla="*/ 22 h 89"/>
                <a:gd name="T6" fmla="*/ 577 w 577"/>
                <a:gd name="T7" fmla="*/ 14 h 89"/>
                <a:gd name="T8" fmla="*/ 243 w 577"/>
                <a:gd name="T9" fmla="*/ 38 h 89"/>
                <a:gd name="T10" fmla="*/ 0 w 577"/>
                <a:gd name="T11" fmla="*/ 0 h 89"/>
                <a:gd name="T12" fmla="*/ 1 w 577"/>
                <a:gd name="T13" fmla="*/ 47 h 89"/>
                <a:gd name="T14" fmla="*/ 246 w 577"/>
                <a:gd name="T15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" h="89">
                  <a:moveTo>
                    <a:pt x="246" y="86"/>
                  </a:moveTo>
                  <a:cubicBezTo>
                    <a:pt x="262" y="83"/>
                    <a:pt x="517" y="52"/>
                    <a:pt x="568" y="46"/>
                  </a:cubicBezTo>
                  <a:cubicBezTo>
                    <a:pt x="571" y="35"/>
                    <a:pt x="574" y="27"/>
                    <a:pt x="575" y="22"/>
                  </a:cubicBezTo>
                  <a:cubicBezTo>
                    <a:pt x="576" y="19"/>
                    <a:pt x="577" y="17"/>
                    <a:pt x="577" y="14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43" y="38"/>
                    <a:pt x="50" y="11"/>
                    <a:pt x="0" y="0"/>
                  </a:cubicBezTo>
                  <a:cubicBezTo>
                    <a:pt x="0" y="12"/>
                    <a:pt x="1" y="28"/>
                    <a:pt x="1" y="47"/>
                  </a:cubicBezTo>
                  <a:cubicBezTo>
                    <a:pt x="49" y="56"/>
                    <a:pt x="231" y="89"/>
                    <a:pt x="246" y="86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ṧ1îḍè">
              <a:extLst>
                <a:ext uri="{FF2B5EF4-FFF2-40B4-BE49-F238E27FC236}">
                  <a16:creationId xmlns:a16="http://schemas.microsoft.com/office/drawing/2014/main" id="{7187311F-AEA1-436F-B14A-7B0A68CFDE96}"/>
                </a:ext>
              </a:extLst>
            </p:cNvPr>
            <p:cNvSpPr/>
            <p:nvPr/>
          </p:nvSpPr>
          <p:spPr bwMode="auto">
            <a:xfrm>
              <a:off x="6756400" y="4071938"/>
              <a:ext cx="671513" cy="96838"/>
            </a:xfrm>
            <a:custGeom>
              <a:avLst/>
              <a:gdLst>
                <a:gd name="T0" fmla="*/ 16 w 557"/>
                <a:gd name="T1" fmla="*/ 0 h 80"/>
                <a:gd name="T2" fmla="*/ 0 w 557"/>
                <a:gd name="T3" fmla="*/ 63 h 80"/>
                <a:gd name="T4" fmla="*/ 208 w 557"/>
                <a:gd name="T5" fmla="*/ 64 h 80"/>
                <a:gd name="T6" fmla="*/ 557 w 557"/>
                <a:gd name="T7" fmla="*/ 80 h 80"/>
                <a:gd name="T8" fmla="*/ 556 w 557"/>
                <a:gd name="T9" fmla="*/ 36 h 80"/>
                <a:gd name="T10" fmla="*/ 556 w 557"/>
                <a:gd name="T11" fmla="*/ 22 h 80"/>
                <a:gd name="T12" fmla="*/ 132 w 557"/>
                <a:gd name="T13" fmla="*/ 22 h 80"/>
                <a:gd name="T14" fmla="*/ 16 w 557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7" h="80">
                  <a:moveTo>
                    <a:pt x="16" y="0"/>
                  </a:moveTo>
                  <a:cubicBezTo>
                    <a:pt x="11" y="23"/>
                    <a:pt x="6" y="44"/>
                    <a:pt x="0" y="63"/>
                  </a:cubicBezTo>
                  <a:cubicBezTo>
                    <a:pt x="74" y="64"/>
                    <a:pt x="208" y="64"/>
                    <a:pt x="208" y="64"/>
                  </a:cubicBezTo>
                  <a:cubicBezTo>
                    <a:pt x="557" y="80"/>
                    <a:pt x="557" y="80"/>
                    <a:pt x="557" y="80"/>
                  </a:cubicBezTo>
                  <a:cubicBezTo>
                    <a:pt x="557" y="67"/>
                    <a:pt x="557" y="52"/>
                    <a:pt x="556" y="36"/>
                  </a:cubicBezTo>
                  <a:cubicBezTo>
                    <a:pt x="556" y="31"/>
                    <a:pt x="556" y="27"/>
                    <a:pt x="556" y="22"/>
                  </a:cubicBezTo>
                  <a:cubicBezTo>
                    <a:pt x="132" y="22"/>
                    <a:pt x="132" y="22"/>
                    <a:pt x="132" y="22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1îḋe">
              <a:extLst>
                <a:ext uri="{FF2B5EF4-FFF2-40B4-BE49-F238E27FC236}">
                  <a16:creationId xmlns:a16="http://schemas.microsoft.com/office/drawing/2014/main" id="{3604022C-78DC-4D06-B3FE-FD94F737DB71}"/>
                </a:ext>
              </a:extLst>
            </p:cNvPr>
            <p:cNvSpPr/>
            <p:nvPr/>
          </p:nvSpPr>
          <p:spPr bwMode="auto">
            <a:xfrm>
              <a:off x="6721475" y="4203700"/>
              <a:ext cx="706438" cy="122238"/>
            </a:xfrm>
            <a:custGeom>
              <a:avLst/>
              <a:gdLst>
                <a:gd name="T0" fmla="*/ 9 w 585"/>
                <a:gd name="T1" fmla="*/ 12 h 102"/>
                <a:gd name="T2" fmla="*/ 4 w 585"/>
                <a:gd name="T3" fmla="*/ 28 h 102"/>
                <a:gd name="T4" fmla="*/ 2 w 585"/>
                <a:gd name="T5" fmla="*/ 50 h 102"/>
                <a:gd name="T6" fmla="*/ 3 w 585"/>
                <a:gd name="T7" fmla="*/ 54 h 102"/>
                <a:gd name="T8" fmla="*/ 28 w 585"/>
                <a:gd name="T9" fmla="*/ 81 h 102"/>
                <a:gd name="T10" fmla="*/ 224 w 585"/>
                <a:gd name="T11" fmla="*/ 57 h 102"/>
                <a:gd name="T12" fmla="*/ 459 w 585"/>
                <a:gd name="T13" fmla="*/ 84 h 102"/>
                <a:gd name="T14" fmla="*/ 485 w 585"/>
                <a:gd name="T15" fmla="*/ 84 h 102"/>
                <a:gd name="T16" fmla="*/ 495 w 585"/>
                <a:gd name="T17" fmla="*/ 85 h 102"/>
                <a:gd name="T18" fmla="*/ 536 w 585"/>
                <a:gd name="T19" fmla="*/ 96 h 102"/>
                <a:gd name="T20" fmla="*/ 584 w 585"/>
                <a:gd name="T21" fmla="*/ 61 h 102"/>
                <a:gd name="T22" fmla="*/ 585 w 585"/>
                <a:gd name="T23" fmla="*/ 33 h 102"/>
                <a:gd name="T24" fmla="*/ 212 w 585"/>
                <a:gd name="T25" fmla="*/ 0 h 102"/>
                <a:gd name="T26" fmla="*/ 9 w 585"/>
                <a:gd name="T27" fmla="*/ 1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5" h="102">
                  <a:moveTo>
                    <a:pt x="9" y="12"/>
                  </a:moveTo>
                  <a:cubicBezTo>
                    <a:pt x="7" y="18"/>
                    <a:pt x="5" y="24"/>
                    <a:pt x="4" y="28"/>
                  </a:cubicBezTo>
                  <a:cubicBezTo>
                    <a:pt x="1" y="35"/>
                    <a:pt x="0" y="42"/>
                    <a:pt x="2" y="50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6" y="67"/>
                    <a:pt x="16" y="77"/>
                    <a:pt x="28" y="81"/>
                  </a:cubicBezTo>
                  <a:cubicBezTo>
                    <a:pt x="224" y="57"/>
                    <a:pt x="224" y="57"/>
                    <a:pt x="224" y="57"/>
                  </a:cubicBezTo>
                  <a:cubicBezTo>
                    <a:pt x="459" y="84"/>
                    <a:pt x="459" y="84"/>
                    <a:pt x="459" y="84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9" y="84"/>
                    <a:pt x="492" y="84"/>
                    <a:pt x="495" y="85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60" y="102"/>
                    <a:pt x="583" y="85"/>
                    <a:pt x="584" y="61"/>
                  </a:cubicBezTo>
                  <a:cubicBezTo>
                    <a:pt x="584" y="53"/>
                    <a:pt x="585" y="44"/>
                    <a:pt x="585" y="3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9" y="12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ṩļîḓè">
              <a:extLst>
                <a:ext uri="{FF2B5EF4-FFF2-40B4-BE49-F238E27FC236}">
                  <a16:creationId xmlns:a16="http://schemas.microsoft.com/office/drawing/2014/main" id="{9AB61662-D791-4E7B-8B22-E73D217E41D4}"/>
                </a:ext>
              </a:extLst>
            </p:cNvPr>
            <p:cNvSpPr/>
            <p:nvPr/>
          </p:nvSpPr>
          <p:spPr bwMode="auto">
            <a:xfrm>
              <a:off x="6796088" y="3852863"/>
              <a:ext cx="661988" cy="76200"/>
            </a:xfrm>
            <a:custGeom>
              <a:avLst/>
              <a:gdLst>
                <a:gd name="T0" fmla="*/ 1 w 548"/>
                <a:gd name="T1" fmla="*/ 0 h 64"/>
                <a:gd name="T2" fmla="*/ 0 w 548"/>
                <a:gd name="T3" fmla="*/ 47 h 64"/>
                <a:gd name="T4" fmla="*/ 0 w 548"/>
                <a:gd name="T5" fmla="*/ 51 h 64"/>
                <a:gd name="T6" fmla="*/ 289 w 548"/>
                <a:gd name="T7" fmla="*/ 51 h 64"/>
                <a:gd name="T8" fmla="*/ 538 w 548"/>
                <a:gd name="T9" fmla="*/ 64 h 64"/>
                <a:gd name="T10" fmla="*/ 548 w 548"/>
                <a:gd name="T11" fmla="*/ 13 h 64"/>
                <a:gd name="T12" fmla="*/ 390 w 548"/>
                <a:gd name="T13" fmla="*/ 26 h 64"/>
                <a:gd name="T14" fmla="*/ 1 w 548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8" h="64">
                  <a:moveTo>
                    <a:pt x="1" y="0"/>
                  </a:moveTo>
                  <a:cubicBezTo>
                    <a:pt x="1" y="14"/>
                    <a:pt x="1" y="30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41" y="47"/>
                    <a:pt x="545" y="29"/>
                    <a:pt x="548" y="13"/>
                  </a:cubicBezTo>
                  <a:cubicBezTo>
                    <a:pt x="516" y="15"/>
                    <a:pt x="399" y="23"/>
                    <a:pt x="390" y="26"/>
                  </a:cubicBezTo>
                  <a:cubicBezTo>
                    <a:pt x="381" y="30"/>
                    <a:pt x="65" y="5"/>
                    <a:pt x="1" y="0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sľiḑé">
              <a:extLst>
                <a:ext uri="{FF2B5EF4-FFF2-40B4-BE49-F238E27FC236}">
                  <a16:creationId xmlns:a16="http://schemas.microsoft.com/office/drawing/2014/main" id="{83399205-5E15-4435-90D6-79F6888FDC66}"/>
                </a:ext>
              </a:extLst>
            </p:cNvPr>
            <p:cNvSpPr/>
            <p:nvPr/>
          </p:nvSpPr>
          <p:spPr bwMode="auto">
            <a:xfrm>
              <a:off x="6786563" y="3962400"/>
              <a:ext cx="652463" cy="82550"/>
            </a:xfrm>
            <a:custGeom>
              <a:avLst/>
              <a:gdLst>
                <a:gd name="T0" fmla="*/ 6 w 541"/>
                <a:gd name="T1" fmla="*/ 0 h 68"/>
                <a:gd name="T2" fmla="*/ 0 w 541"/>
                <a:gd name="T3" fmla="*/ 49 h 68"/>
                <a:gd name="T4" fmla="*/ 298 w 541"/>
                <a:gd name="T5" fmla="*/ 68 h 68"/>
                <a:gd name="T6" fmla="*/ 535 w 541"/>
                <a:gd name="T7" fmla="*/ 49 h 68"/>
                <a:gd name="T8" fmla="*/ 541 w 541"/>
                <a:gd name="T9" fmla="*/ 6 h 68"/>
                <a:gd name="T10" fmla="*/ 152 w 541"/>
                <a:gd name="T11" fmla="*/ 16 h 68"/>
                <a:gd name="T12" fmla="*/ 6 w 541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1" h="68">
                  <a:moveTo>
                    <a:pt x="6" y="0"/>
                  </a:moveTo>
                  <a:cubicBezTo>
                    <a:pt x="5" y="17"/>
                    <a:pt x="2" y="33"/>
                    <a:pt x="0" y="49"/>
                  </a:cubicBezTo>
                  <a:cubicBezTo>
                    <a:pt x="298" y="68"/>
                    <a:pt x="298" y="68"/>
                    <a:pt x="298" y="68"/>
                  </a:cubicBezTo>
                  <a:cubicBezTo>
                    <a:pt x="535" y="49"/>
                    <a:pt x="535" y="49"/>
                    <a:pt x="535" y="49"/>
                  </a:cubicBezTo>
                  <a:cubicBezTo>
                    <a:pt x="537" y="35"/>
                    <a:pt x="539" y="20"/>
                    <a:pt x="541" y="6"/>
                  </a:cubicBezTo>
                  <a:cubicBezTo>
                    <a:pt x="152" y="16"/>
                    <a:pt x="152" y="16"/>
                    <a:pt x="152" y="16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sľïḍé">
              <a:extLst>
                <a:ext uri="{FF2B5EF4-FFF2-40B4-BE49-F238E27FC236}">
                  <a16:creationId xmlns:a16="http://schemas.microsoft.com/office/drawing/2014/main" id="{3C2D2221-2116-4024-A014-C13B08E810B0}"/>
                </a:ext>
              </a:extLst>
            </p:cNvPr>
            <p:cNvSpPr/>
            <p:nvPr/>
          </p:nvSpPr>
          <p:spPr bwMode="auto">
            <a:xfrm>
              <a:off x="7432675" y="3733800"/>
              <a:ext cx="61913" cy="46038"/>
            </a:xfrm>
            <a:custGeom>
              <a:avLst/>
              <a:gdLst>
                <a:gd name="T0" fmla="*/ 44 w 51"/>
                <a:gd name="T1" fmla="*/ 24 h 37"/>
                <a:gd name="T2" fmla="*/ 45 w 51"/>
                <a:gd name="T3" fmla="*/ 20 h 37"/>
                <a:gd name="T4" fmla="*/ 46 w 51"/>
                <a:gd name="T5" fmla="*/ 19 h 37"/>
                <a:gd name="T6" fmla="*/ 47 w 51"/>
                <a:gd name="T7" fmla="*/ 16 h 37"/>
                <a:gd name="T8" fmla="*/ 47 w 51"/>
                <a:gd name="T9" fmla="*/ 15 h 37"/>
                <a:gd name="T10" fmla="*/ 48 w 51"/>
                <a:gd name="T11" fmla="*/ 12 h 37"/>
                <a:gd name="T12" fmla="*/ 48 w 51"/>
                <a:gd name="T13" fmla="*/ 11 h 37"/>
                <a:gd name="T14" fmla="*/ 49 w 51"/>
                <a:gd name="T15" fmla="*/ 8 h 37"/>
                <a:gd name="T16" fmla="*/ 50 w 51"/>
                <a:gd name="T17" fmla="*/ 4 h 37"/>
                <a:gd name="T18" fmla="*/ 50 w 51"/>
                <a:gd name="T19" fmla="*/ 4 h 37"/>
                <a:gd name="T20" fmla="*/ 51 w 51"/>
                <a:gd name="T21" fmla="*/ 0 h 37"/>
                <a:gd name="T22" fmla="*/ 34 w 51"/>
                <a:gd name="T23" fmla="*/ 1 h 37"/>
                <a:gd name="T24" fmla="*/ 0 w 51"/>
                <a:gd name="T25" fmla="*/ 37 h 37"/>
                <a:gd name="T26" fmla="*/ 42 w 51"/>
                <a:gd name="T27" fmla="*/ 32 h 37"/>
                <a:gd name="T28" fmla="*/ 43 w 51"/>
                <a:gd name="T29" fmla="*/ 30 h 37"/>
                <a:gd name="T30" fmla="*/ 44 w 51"/>
                <a:gd name="T31" fmla="*/ 26 h 37"/>
                <a:gd name="T32" fmla="*/ 44 w 51"/>
                <a:gd name="T33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37">
                  <a:moveTo>
                    <a:pt x="44" y="24"/>
                  </a:moveTo>
                  <a:cubicBezTo>
                    <a:pt x="45" y="23"/>
                    <a:pt x="45" y="22"/>
                    <a:pt x="45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8"/>
                    <a:pt x="46" y="17"/>
                    <a:pt x="47" y="16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8" y="13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50" y="7"/>
                    <a:pt x="50" y="6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2"/>
                    <a:pt x="51" y="1"/>
                    <a:pt x="51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9" y="34"/>
                    <a:pt x="33" y="33"/>
                    <a:pt x="42" y="32"/>
                  </a:cubicBezTo>
                  <a:cubicBezTo>
                    <a:pt x="42" y="31"/>
                    <a:pt x="42" y="30"/>
                    <a:pt x="43" y="30"/>
                  </a:cubicBezTo>
                  <a:cubicBezTo>
                    <a:pt x="43" y="29"/>
                    <a:pt x="43" y="28"/>
                    <a:pt x="44" y="26"/>
                  </a:cubicBezTo>
                  <a:cubicBezTo>
                    <a:pt x="44" y="26"/>
                    <a:pt x="44" y="25"/>
                    <a:pt x="44" y="24"/>
                  </a:cubicBez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ṧlíḍe">
              <a:extLst>
                <a:ext uri="{FF2B5EF4-FFF2-40B4-BE49-F238E27FC236}">
                  <a16:creationId xmlns:a16="http://schemas.microsoft.com/office/drawing/2014/main" id="{CFB2058D-8285-4D76-89C2-BB78E0D70207}"/>
                </a:ext>
              </a:extLst>
            </p:cNvPr>
            <p:cNvSpPr/>
            <p:nvPr/>
          </p:nvSpPr>
          <p:spPr bwMode="auto">
            <a:xfrm>
              <a:off x="7404100" y="4098925"/>
              <a:ext cx="23813" cy="69850"/>
            </a:xfrm>
            <a:custGeom>
              <a:avLst/>
              <a:gdLst>
                <a:gd name="T0" fmla="*/ 0 w 20"/>
                <a:gd name="T1" fmla="*/ 0 h 58"/>
                <a:gd name="T2" fmla="*/ 5 w 20"/>
                <a:gd name="T3" fmla="*/ 58 h 58"/>
                <a:gd name="T4" fmla="*/ 20 w 20"/>
                <a:gd name="T5" fmla="*/ 58 h 58"/>
                <a:gd name="T6" fmla="*/ 20 w 20"/>
                <a:gd name="T7" fmla="*/ 58 h 58"/>
                <a:gd name="T8" fmla="*/ 20 w 20"/>
                <a:gd name="T9" fmla="*/ 48 h 58"/>
                <a:gd name="T10" fmla="*/ 20 w 20"/>
                <a:gd name="T11" fmla="*/ 48 h 58"/>
                <a:gd name="T12" fmla="*/ 20 w 20"/>
                <a:gd name="T13" fmla="*/ 38 h 58"/>
                <a:gd name="T14" fmla="*/ 20 w 20"/>
                <a:gd name="T15" fmla="*/ 37 h 58"/>
                <a:gd name="T16" fmla="*/ 20 w 20"/>
                <a:gd name="T17" fmla="*/ 27 h 58"/>
                <a:gd name="T18" fmla="*/ 20 w 20"/>
                <a:gd name="T19" fmla="*/ 26 h 58"/>
                <a:gd name="T20" fmla="*/ 19 w 20"/>
                <a:gd name="T21" fmla="*/ 14 h 58"/>
                <a:gd name="T22" fmla="*/ 19 w 20"/>
                <a:gd name="T23" fmla="*/ 0 h 58"/>
                <a:gd name="T24" fmla="*/ 19 w 20"/>
                <a:gd name="T25" fmla="*/ 0 h 58"/>
                <a:gd name="T26" fmla="*/ 0 w 20"/>
                <a:gd name="T2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58">
                  <a:moveTo>
                    <a:pt x="0" y="0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5"/>
                    <a:pt x="20" y="51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5"/>
                    <a:pt x="20" y="41"/>
                    <a:pt x="20" y="38"/>
                  </a:cubicBezTo>
                  <a:cubicBezTo>
                    <a:pt x="20" y="38"/>
                    <a:pt x="20" y="37"/>
                    <a:pt x="20" y="37"/>
                  </a:cubicBezTo>
                  <a:cubicBezTo>
                    <a:pt x="20" y="34"/>
                    <a:pt x="20" y="30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2"/>
                    <a:pt x="19" y="18"/>
                    <a:pt x="19" y="14"/>
                  </a:cubicBezTo>
                  <a:cubicBezTo>
                    <a:pt x="19" y="9"/>
                    <a:pt x="19" y="5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Sľiḍè">
              <a:extLst>
                <a:ext uri="{FF2B5EF4-FFF2-40B4-BE49-F238E27FC236}">
                  <a16:creationId xmlns:a16="http://schemas.microsoft.com/office/drawing/2014/main" id="{D5EA4C9D-E556-458C-939E-8BE1BCF1F259}"/>
                </a:ext>
              </a:extLst>
            </p:cNvPr>
            <p:cNvSpPr/>
            <p:nvPr/>
          </p:nvSpPr>
          <p:spPr bwMode="auto">
            <a:xfrm>
              <a:off x="7418388" y="4241800"/>
              <a:ext cx="9525" cy="50800"/>
            </a:xfrm>
            <a:custGeom>
              <a:avLst/>
              <a:gdLst>
                <a:gd name="T0" fmla="*/ 4 w 8"/>
                <a:gd name="T1" fmla="*/ 42 h 42"/>
                <a:gd name="T2" fmla="*/ 4 w 8"/>
                <a:gd name="T3" fmla="*/ 42 h 42"/>
                <a:gd name="T4" fmla="*/ 5 w 8"/>
                <a:gd name="T5" fmla="*/ 40 h 42"/>
                <a:gd name="T6" fmla="*/ 5 w 8"/>
                <a:gd name="T7" fmla="*/ 39 h 42"/>
                <a:gd name="T8" fmla="*/ 6 w 8"/>
                <a:gd name="T9" fmla="*/ 37 h 42"/>
                <a:gd name="T10" fmla="*/ 6 w 8"/>
                <a:gd name="T11" fmla="*/ 34 h 42"/>
                <a:gd name="T12" fmla="*/ 7 w 8"/>
                <a:gd name="T13" fmla="*/ 33 h 42"/>
                <a:gd name="T14" fmla="*/ 7 w 8"/>
                <a:gd name="T15" fmla="*/ 29 h 42"/>
                <a:gd name="T16" fmla="*/ 7 w 8"/>
                <a:gd name="T17" fmla="*/ 23 h 42"/>
                <a:gd name="T18" fmla="*/ 7 w 8"/>
                <a:gd name="T19" fmla="*/ 22 h 42"/>
                <a:gd name="T20" fmla="*/ 7 w 8"/>
                <a:gd name="T21" fmla="*/ 16 h 42"/>
                <a:gd name="T22" fmla="*/ 8 w 8"/>
                <a:gd name="T23" fmla="*/ 15 h 42"/>
                <a:gd name="T24" fmla="*/ 8 w 8"/>
                <a:gd name="T25" fmla="*/ 9 h 42"/>
                <a:gd name="T26" fmla="*/ 8 w 8"/>
                <a:gd name="T27" fmla="*/ 9 h 42"/>
                <a:gd name="T28" fmla="*/ 8 w 8"/>
                <a:gd name="T29" fmla="*/ 1 h 42"/>
                <a:gd name="T30" fmla="*/ 8 w 8"/>
                <a:gd name="T31" fmla="*/ 1 h 42"/>
                <a:gd name="T32" fmla="*/ 0 w 8"/>
                <a:gd name="T33" fmla="*/ 0 h 42"/>
                <a:gd name="T34" fmla="*/ 4 w 8"/>
                <a:gd name="T3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42"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1"/>
                    <a:pt x="5" y="40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6" y="34"/>
                    <a:pt x="7" y="33"/>
                    <a:pt x="7" y="33"/>
                  </a:cubicBezTo>
                  <a:cubicBezTo>
                    <a:pt x="7" y="32"/>
                    <a:pt x="7" y="30"/>
                    <a:pt x="7" y="29"/>
                  </a:cubicBezTo>
                  <a:cubicBezTo>
                    <a:pt x="7" y="27"/>
                    <a:pt x="7" y="25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8"/>
                    <a:pt x="7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3"/>
                    <a:pt x="8" y="11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6"/>
                    <a:pt x="8" y="4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ŝ1ïḓe">
              <a:extLst>
                <a:ext uri="{FF2B5EF4-FFF2-40B4-BE49-F238E27FC236}">
                  <a16:creationId xmlns:a16="http://schemas.microsoft.com/office/drawing/2014/main" id="{4331902B-4EBF-48CB-A405-D3FC5DF44183}"/>
                </a:ext>
              </a:extLst>
            </p:cNvPr>
            <p:cNvSpPr/>
            <p:nvPr/>
          </p:nvSpPr>
          <p:spPr bwMode="auto">
            <a:xfrm>
              <a:off x="7378700" y="3868738"/>
              <a:ext cx="79375" cy="60325"/>
            </a:xfrm>
            <a:custGeom>
              <a:avLst/>
              <a:gdLst>
                <a:gd name="T0" fmla="*/ 5 w 65"/>
                <a:gd name="T1" fmla="*/ 49 h 51"/>
                <a:gd name="T2" fmla="*/ 55 w 65"/>
                <a:gd name="T3" fmla="*/ 51 h 51"/>
                <a:gd name="T4" fmla="*/ 57 w 65"/>
                <a:gd name="T5" fmla="*/ 39 h 51"/>
                <a:gd name="T6" fmla="*/ 58 w 65"/>
                <a:gd name="T7" fmla="*/ 36 h 51"/>
                <a:gd name="T8" fmla="*/ 60 w 65"/>
                <a:gd name="T9" fmla="*/ 26 h 51"/>
                <a:gd name="T10" fmla="*/ 60 w 65"/>
                <a:gd name="T11" fmla="*/ 24 h 51"/>
                <a:gd name="T12" fmla="*/ 62 w 65"/>
                <a:gd name="T13" fmla="*/ 13 h 51"/>
                <a:gd name="T14" fmla="*/ 63 w 65"/>
                <a:gd name="T15" fmla="*/ 12 h 51"/>
                <a:gd name="T16" fmla="*/ 65 w 65"/>
                <a:gd name="T17" fmla="*/ 0 h 51"/>
                <a:gd name="T18" fmla="*/ 0 w 65"/>
                <a:gd name="T19" fmla="*/ 5 h 51"/>
                <a:gd name="T20" fmla="*/ 5 w 65"/>
                <a:gd name="T21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1">
                  <a:moveTo>
                    <a:pt x="5" y="49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47"/>
                    <a:pt x="56" y="43"/>
                    <a:pt x="57" y="39"/>
                  </a:cubicBezTo>
                  <a:cubicBezTo>
                    <a:pt x="57" y="38"/>
                    <a:pt x="57" y="37"/>
                    <a:pt x="58" y="36"/>
                  </a:cubicBezTo>
                  <a:cubicBezTo>
                    <a:pt x="58" y="33"/>
                    <a:pt x="59" y="29"/>
                    <a:pt x="60" y="26"/>
                  </a:cubicBezTo>
                  <a:cubicBezTo>
                    <a:pt x="60" y="25"/>
                    <a:pt x="60" y="24"/>
                    <a:pt x="60" y="24"/>
                  </a:cubicBezTo>
                  <a:cubicBezTo>
                    <a:pt x="61" y="20"/>
                    <a:pt x="62" y="17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8"/>
                    <a:pt x="65" y="4"/>
                    <a:pt x="65" y="0"/>
                  </a:cubicBezTo>
                  <a:cubicBezTo>
                    <a:pt x="53" y="1"/>
                    <a:pt x="27" y="3"/>
                    <a:pt x="0" y="5"/>
                  </a:cubicBezTo>
                  <a:lnTo>
                    <a:pt x="5" y="49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š1îḋé">
              <a:extLst>
                <a:ext uri="{FF2B5EF4-FFF2-40B4-BE49-F238E27FC236}">
                  <a16:creationId xmlns:a16="http://schemas.microsoft.com/office/drawing/2014/main" id="{E1E2D233-7DA5-4481-865F-0534E941B5B7}"/>
                </a:ext>
              </a:extLst>
            </p:cNvPr>
            <p:cNvSpPr/>
            <p:nvPr/>
          </p:nvSpPr>
          <p:spPr bwMode="auto">
            <a:xfrm>
              <a:off x="7389813" y="3968750"/>
              <a:ext cx="49213" cy="55563"/>
            </a:xfrm>
            <a:custGeom>
              <a:avLst/>
              <a:gdLst>
                <a:gd name="T0" fmla="*/ 4 w 40"/>
                <a:gd name="T1" fmla="*/ 46 h 46"/>
                <a:gd name="T2" fmla="*/ 34 w 40"/>
                <a:gd name="T3" fmla="*/ 43 h 46"/>
                <a:gd name="T4" fmla="*/ 37 w 40"/>
                <a:gd name="T5" fmla="*/ 22 h 46"/>
                <a:gd name="T6" fmla="*/ 37 w 40"/>
                <a:gd name="T7" fmla="*/ 21 h 46"/>
                <a:gd name="T8" fmla="*/ 40 w 40"/>
                <a:gd name="T9" fmla="*/ 0 h 46"/>
                <a:gd name="T10" fmla="*/ 0 w 40"/>
                <a:gd name="T11" fmla="*/ 1 h 46"/>
                <a:gd name="T12" fmla="*/ 4 w 4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6">
                  <a:moveTo>
                    <a:pt x="4" y="46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5" y="36"/>
                    <a:pt x="36" y="29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8" y="14"/>
                    <a:pt x="39" y="7"/>
                    <a:pt x="4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46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1ídê">
              <a:extLst>
                <a:ext uri="{FF2B5EF4-FFF2-40B4-BE49-F238E27FC236}">
                  <a16:creationId xmlns:a16="http://schemas.microsoft.com/office/drawing/2014/main" id="{97C88834-C3AA-4924-BE2A-B6DEDE72A2A7}"/>
                </a:ext>
              </a:extLst>
            </p:cNvPr>
            <p:cNvSpPr/>
            <p:nvPr/>
          </p:nvSpPr>
          <p:spPr bwMode="auto">
            <a:xfrm>
              <a:off x="7167563" y="3594100"/>
              <a:ext cx="300038" cy="381000"/>
            </a:xfrm>
            <a:custGeom>
              <a:avLst/>
              <a:gdLst>
                <a:gd name="T0" fmla="*/ 88 w 189"/>
                <a:gd name="T1" fmla="*/ 0 h 240"/>
                <a:gd name="T2" fmla="*/ 189 w 189"/>
                <a:gd name="T3" fmla="*/ 174 h 240"/>
                <a:gd name="T4" fmla="*/ 157 w 189"/>
                <a:gd name="T5" fmla="*/ 240 h 240"/>
                <a:gd name="T6" fmla="*/ 95 w 189"/>
                <a:gd name="T7" fmla="*/ 219 h 240"/>
                <a:gd name="T8" fmla="*/ 0 w 189"/>
                <a:gd name="T9" fmla="*/ 48 h 240"/>
                <a:gd name="T10" fmla="*/ 88 w 189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240">
                  <a:moveTo>
                    <a:pt x="88" y="0"/>
                  </a:moveTo>
                  <a:lnTo>
                    <a:pt x="189" y="174"/>
                  </a:lnTo>
                  <a:lnTo>
                    <a:pt x="157" y="240"/>
                  </a:lnTo>
                  <a:lnTo>
                    <a:pt x="95" y="219"/>
                  </a:lnTo>
                  <a:lnTo>
                    <a:pt x="0" y="48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sḷïḋê">
              <a:extLst>
                <a:ext uri="{FF2B5EF4-FFF2-40B4-BE49-F238E27FC236}">
                  <a16:creationId xmlns:a16="http://schemas.microsoft.com/office/drawing/2014/main" id="{DBBB7A8F-D9FF-4E25-B414-5DB34ABE4050}"/>
                </a:ext>
              </a:extLst>
            </p:cNvPr>
            <p:cNvSpPr/>
            <p:nvPr/>
          </p:nvSpPr>
          <p:spPr bwMode="auto">
            <a:xfrm>
              <a:off x="7112000" y="341630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sľiḍé">
              <a:extLst>
                <a:ext uri="{FF2B5EF4-FFF2-40B4-BE49-F238E27FC236}">
                  <a16:creationId xmlns:a16="http://schemas.microsoft.com/office/drawing/2014/main" id="{B14AFD46-D0B0-497C-A736-73F810F1D3A0}"/>
                </a:ext>
              </a:extLst>
            </p:cNvPr>
            <p:cNvSpPr/>
            <p:nvPr/>
          </p:nvSpPr>
          <p:spPr bwMode="auto">
            <a:xfrm>
              <a:off x="6235700" y="3063875"/>
              <a:ext cx="1130300" cy="1409700"/>
            </a:xfrm>
            <a:custGeom>
              <a:avLst/>
              <a:gdLst>
                <a:gd name="T0" fmla="*/ 726 w 937"/>
                <a:gd name="T1" fmla="*/ 294 h 1170"/>
                <a:gd name="T2" fmla="*/ 726 w 937"/>
                <a:gd name="T3" fmla="*/ 293 h 1170"/>
                <a:gd name="T4" fmla="*/ 609 w 937"/>
                <a:gd name="T5" fmla="*/ 73 h 1170"/>
                <a:gd name="T6" fmla="*/ 540 w 937"/>
                <a:gd name="T7" fmla="*/ 6 h 1170"/>
                <a:gd name="T8" fmla="*/ 475 w 937"/>
                <a:gd name="T9" fmla="*/ 6 h 1170"/>
                <a:gd name="T10" fmla="*/ 297 w 937"/>
                <a:gd name="T11" fmla="*/ 32 h 1170"/>
                <a:gd name="T12" fmla="*/ 275 w 937"/>
                <a:gd name="T13" fmla="*/ 35 h 1170"/>
                <a:gd name="T14" fmla="*/ 142 w 937"/>
                <a:gd name="T15" fmla="*/ 378 h 1170"/>
                <a:gd name="T16" fmla="*/ 0 w 937"/>
                <a:gd name="T17" fmla="*/ 909 h 1170"/>
                <a:gd name="T18" fmla="*/ 8 w 937"/>
                <a:gd name="T19" fmla="*/ 1034 h 1170"/>
                <a:gd name="T20" fmla="*/ 29 w 937"/>
                <a:gd name="T21" fmla="*/ 1103 h 1170"/>
                <a:gd name="T22" fmla="*/ 159 w 937"/>
                <a:gd name="T23" fmla="*/ 1147 h 1170"/>
                <a:gd name="T24" fmla="*/ 444 w 937"/>
                <a:gd name="T25" fmla="*/ 1114 h 1170"/>
                <a:gd name="T26" fmla="*/ 728 w 937"/>
                <a:gd name="T27" fmla="*/ 1166 h 1170"/>
                <a:gd name="T28" fmla="*/ 726 w 937"/>
                <a:gd name="T29" fmla="*/ 294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7" h="1170">
                  <a:moveTo>
                    <a:pt x="726" y="294"/>
                  </a:moveTo>
                  <a:cubicBezTo>
                    <a:pt x="726" y="293"/>
                    <a:pt x="726" y="293"/>
                    <a:pt x="726" y="293"/>
                  </a:cubicBezTo>
                  <a:cubicBezTo>
                    <a:pt x="694" y="217"/>
                    <a:pt x="655" y="143"/>
                    <a:pt x="609" y="73"/>
                  </a:cubicBezTo>
                  <a:cubicBezTo>
                    <a:pt x="591" y="45"/>
                    <a:pt x="571" y="16"/>
                    <a:pt x="540" y="6"/>
                  </a:cubicBezTo>
                  <a:cubicBezTo>
                    <a:pt x="519" y="0"/>
                    <a:pt x="496" y="3"/>
                    <a:pt x="475" y="6"/>
                  </a:cubicBezTo>
                  <a:cubicBezTo>
                    <a:pt x="415" y="15"/>
                    <a:pt x="356" y="23"/>
                    <a:pt x="297" y="32"/>
                  </a:cubicBezTo>
                  <a:cubicBezTo>
                    <a:pt x="289" y="33"/>
                    <a:pt x="282" y="34"/>
                    <a:pt x="275" y="35"/>
                  </a:cubicBezTo>
                  <a:cubicBezTo>
                    <a:pt x="146" y="55"/>
                    <a:pt x="162" y="247"/>
                    <a:pt x="142" y="378"/>
                  </a:cubicBezTo>
                  <a:cubicBezTo>
                    <a:pt x="124" y="490"/>
                    <a:pt x="21" y="726"/>
                    <a:pt x="0" y="909"/>
                  </a:cubicBezTo>
                  <a:cubicBezTo>
                    <a:pt x="2" y="951"/>
                    <a:pt x="4" y="992"/>
                    <a:pt x="8" y="1034"/>
                  </a:cubicBezTo>
                  <a:cubicBezTo>
                    <a:pt x="14" y="1062"/>
                    <a:pt x="21" y="1085"/>
                    <a:pt x="29" y="1103"/>
                  </a:cubicBezTo>
                  <a:cubicBezTo>
                    <a:pt x="77" y="1170"/>
                    <a:pt x="159" y="1147"/>
                    <a:pt x="159" y="1147"/>
                  </a:cubicBezTo>
                  <a:cubicBezTo>
                    <a:pt x="159" y="1147"/>
                    <a:pt x="299" y="1093"/>
                    <a:pt x="444" y="1114"/>
                  </a:cubicBezTo>
                  <a:cubicBezTo>
                    <a:pt x="549" y="1117"/>
                    <a:pt x="648" y="1157"/>
                    <a:pt x="728" y="1166"/>
                  </a:cubicBezTo>
                  <a:cubicBezTo>
                    <a:pt x="937" y="926"/>
                    <a:pt x="727" y="297"/>
                    <a:pt x="726" y="294"/>
                  </a:cubicBezTo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ṧļîḓè">
              <a:extLst>
                <a:ext uri="{FF2B5EF4-FFF2-40B4-BE49-F238E27FC236}">
                  <a16:creationId xmlns:a16="http://schemas.microsoft.com/office/drawing/2014/main" id="{BFD83762-D30C-4882-A2B3-81872EBCE21C}"/>
                </a:ext>
              </a:extLst>
            </p:cNvPr>
            <p:cNvSpPr/>
            <p:nvPr/>
          </p:nvSpPr>
          <p:spPr bwMode="auto">
            <a:xfrm>
              <a:off x="6373813" y="3059113"/>
              <a:ext cx="652463" cy="1425575"/>
            </a:xfrm>
            <a:custGeom>
              <a:avLst/>
              <a:gdLst>
                <a:gd name="T0" fmla="*/ 309 w 541"/>
                <a:gd name="T1" fmla="*/ 389 h 1183"/>
                <a:gd name="T2" fmla="*/ 330 w 541"/>
                <a:gd name="T3" fmla="*/ 503 h 1183"/>
                <a:gd name="T4" fmla="*/ 541 w 541"/>
                <a:gd name="T5" fmla="*/ 1183 h 1183"/>
                <a:gd name="T6" fmla="*/ 20 w 541"/>
                <a:gd name="T7" fmla="*/ 1150 h 1183"/>
                <a:gd name="T8" fmla="*/ 6 w 541"/>
                <a:gd name="T9" fmla="*/ 979 h 1183"/>
                <a:gd name="T10" fmla="*/ 4 w 541"/>
                <a:gd name="T11" fmla="*/ 810 h 1183"/>
                <a:gd name="T12" fmla="*/ 58 w 541"/>
                <a:gd name="T13" fmla="*/ 545 h 1183"/>
                <a:gd name="T14" fmla="*/ 189 w 541"/>
                <a:gd name="T15" fmla="*/ 67 h 1183"/>
                <a:gd name="T16" fmla="*/ 199 w 541"/>
                <a:gd name="T17" fmla="*/ 43 h 1183"/>
                <a:gd name="T18" fmla="*/ 224 w 541"/>
                <a:gd name="T19" fmla="*/ 28 h 1183"/>
                <a:gd name="T20" fmla="*/ 367 w 541"/>
                <a:gd name="T21" fmla="*/ 3 h 1183"/>
                <a:gd name="T22" fmla="*/ 340 w 541"/>
                <a:gd name="T23" fmla="*/ 183 h 1183"/>
                <a:gd name="T24" fmla="*/ 309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309" y="389"/>
                  </a:moveTo>
                  <a:cubicBezTo>
                    <a:pt x="312" y="427"/>
                    <a:pt x="321" y="465"/>
                    <a:pt x="330" y="503"/>
                  </a:cubicBezTo>
                  <a:cubicBezTo>
                    <a:pt x="386" y="732"/>
                    <a:pt x="484" y="954"/>
                    <a:pt x="541" y="1183"/>
                  </a:cubicBezTo>
                  <a:cubicBezTo>
                    <a:pt x="387" y="1183"/>
                    <a:pt x="408" y="1059"/>
                    <a:pt x="20" y="1150"/>
                  </a:cubicBezTo>
                  <a:cubicBezTo>
                    <a:pt x="15" y="1062"/>
                    <a:pt x="10" y="1066"/>
                    <a:pt x="6" y="979"/>
                  </a:cubicBezTo>
                  <a:cubicBezTo>
                    <a:pt x="3" y="922"/>
                    <a:pt x="0" y="866"/>
                    <a:pt x="4" y="810"/>
                  </a:cubicBezTo>
                  <a:cubicBezTo>
                    <a:pt x="10" y="719"/>
                    <a:pt x="34" y="632"/>
                    <a:pt x="58" y="545"/>
                  </a:cubicBezTo>
                  <a:cubicBezTo>
                    <a:pt x="102" y="386"/>
                    <a:pt x="145" y="226"/>
                    <a:pt x="189" y="67"/>
                  </a:cubicBezTo>
                  <a:cubicBezTo>
                    <a:pt x="191" y="58"/>
                    <a:pt x="194" y="49"/>
                    <a:pt x="199" y="43"/>
                  </a:cubicBezTo>
                  <a:cubicBezTo>
                    <a:pt x="206" y="35"/>
                    <a:pt x="215" y="31"/>
                    <a:pt x="224" y="28"/>
                  </a:cubicBezTo>
                  <a:cubicBezTo>
                    <a:pt x="269" y="14"/>
                    <a:pt x="320" y="0"/>
                    <a:pt x="367" y="3"/>
                  </a:cubicBezTo>
                  <a:cubicBezTo>
                    <a:pt x="384" y="49"/>
                    <a:pt x="351" y="137"/>
                    <a:pt x="340" y="183"/>
                  </a:cubicBezTo>
                  <a:cubicBezTo>
                    <a:pt x="325" y="250"/>
                    <a:pt x="305" y="318"/>
                    <a:pt x="309" y="3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$ľide">
              <a:extLst>
                <a:ext uri="{FF2B5EF4-FFF2-40B4-BE49-F238E27FC236}">
                  <a16:creationId xmlns:a16="http://schemas.microsoft.com/office/drawing/2014/main" id="{CEF03112-204A-4DBD-A40E-7D507A477211}"/>
                </a:ext>
              </a:extLst>
            </p:cNvPr>
            <p:cNvSpPr/>
            <p:nvPr/>
          </p:nvSpPr>
          <p:spPr bwMode="auto">
            <a:xfrm>
              <a:off x="6527800" y="2593975"/>
              <a:ext cx="165100" cy="249238"/>
            </a:xfrm>
            <a:custGeom>
              <a:avLst/>
              <a:gdLst>
                <a:gd name="T0" fmla="*/ 68 w 137"/>
                <a:gd name="T1" fmla="*/ 75 h 206"/>
                <a:gd name="T2" fmla="*/ 41 w 137"/>
                <a:gd name="T3" fmla="*/ 166 h 206"/>
                <a:gd name="T4" fmla="*/ 32 w 137"/>
                <a:gd name="T5" fmla="*/ 189 h 206"/>
                <a:gd name="T6" fmla="*/ 25 w 137"/>
                <a:gd name="T7" fmla="*/ 199 h 206"/>
                <a:gd name="T8" fmla="*/ 1 w 137"/>
                <a:gd name="T9" fmla="*/ 157 h 206"/>
                <a:gd name="T10" fmla="*/ 3 w 137"/>
                <a:gd name="T11" fmla="*/ 93 h 206"/>
                <a:gd name="T12" fmla="*/ 22 w 137"/>
                <a:gd name="T13" fmla="*/ 41 h 206"/>
                <a:gd name="T14" fmla="*/ 49 w 137"/>
                <a:gd name="T15" fmla="*/ 22 h 206"/>
                <a:gd name="T16" fmla="*/ 93 w 137"/>
                <a:gd name="T17" fmla="*/ 4 h 206"/>
                <a:gd name="T18" fmla="*/ 112 w 137"/>
                <a:gd name="T19" fmla="*/ 28 h 206"/>
                <a:gd name="T20" fmla="*/ 68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8" y="75"/>
                  </a:moveTo>
                  <a:cubicBezTo>
                    <a:pt x="52" y="102"/>
                    <a:pt x="43" y="134"/>
                    <a:pt x="41" y="166"/>
                  </a:cubicBezTo>
                  <a:cubicBezTo>
                    <a:pt x="40" y="174"/>
                    <a:pt x="39" y="184"/>
                    <a:pt x="32" y="189"/>
                  </a:cubicBezTo>
                  <a:cubicBezTo>
                    <a:pt x="25" y="194"/>
                    <a:pt x="31" y="206"/>
                    <a:pt x="25" y="199"/>
                  </a:cubicBezTo>
                  <a:cubicBezTo>
                    <a:pt x="20" y="191"/>
                    <a:pt x="2" y="166"/>
                    <a:pt x="1" y="157"/>
                  </a:cubicBezTo>
                  <a:cubicBezTo>
                    <a:pt x="0" y="135"/>
                    <a:pt x="0" y="114"/>
                    <a:pt x="3" y="93"/>
                  </a:cubicBezTo>
                  <a:cubicBezTo>
                    <a:pt x="5" y="74"/>
                    <a:pt x="10" y="55"/>
                    <a:pt x="22" y="41"/>
                  </a:cubicBezTo>
                  <a:cubicBezTo>
                    <a:pt x="30" y="33"/>
                    <a:pt x="40" y="27"/>
                    <a:pt x="49" y="22"/>
                  </a:cubicBezTo>
                  <a:cubicBezTo>
                    <a:pt x="63" y="14"/>
                    <a:pt x="77" y="6"/>
                    <a:pt x="93" y="4"/>
                  </a:cubicBezTo>
                  <a:cubicBezTo>
                    <a:pt x="120" y="0"/>
                    <a:pt x="137" y="10"/>
                    <a:pt x="112" y="28"/>
                  </a:cubicBezTo>
                  <a:cubicBezTo>
                    <a:pt x="95" y="41"/>
                    <a:pt x="80" y="56"/>
                    <a:pt x="68" y="7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$ḷíḓe">
              <a:extLst>
                <a:ext uri="{FF2B5EF4-FFF2-40B4-BE49-F238E27FC236}">
                  <a16:creationId xmlns:a16="http://schemas.microsoft.com/office/drawing/2014/main" id="{25AF2D5E-00A5-42E0-A748-28F1ADDE0278}"/>
                </a:ext>
              </a:extLst>
            </p:cNvPr>
            <p:cNvSpPr/>
            <p:nvPr/>
          </p:nvSpPr>
          <p:spPr bwMode="auto">
            <a:xfrm>
              <a:off x="6519863" y="2505075"/>
              <a:ext cx="454025" cy="369888"/>
            </a:xfrm>
            <a:custGeom>
              <a:avLst/>
              <a:gdLst>
                <a:gd name="T0" fmla="*/ 20 w 376"/>
                <a:gd name="T1" fmla="*/ 65 h 307"/>
                <a:gd name="T2" fmla="*/ 14 w 376"/>
                <a:gd name="T3" fmla="*/ 30 h 307"/>
                <a:gd name="T4" fmla="*/ 48 w 376"/>
                <a:gd name="T5" fmla="*/ 34 h 307"/>
                <a:gd name="T6" fmla="*/ 49 w 376"/>
                <a:gd name="T7" fmla="*/ 14 h 307"/>
                <a:gd name="T8" fmla="*/ 131 w 376"/>
                <a:gd name="T9" fmla="*/ 6 h 307"/>
                <a:gd name="T10" fmla="*/ 294 w 376"/>
                <a:gd name="T11" fmla="*/ 33 h 307"/>
                <a:gd name="T12" fmla="*/ 371 w 376"/>
                <a:gd name="T13" fmla="*/ 153 h 307"/>
                <a:gd name="T14" fmla="*/ 328 w 376"/>
                <a:gd name="T15" fmla="*/ 307 h 307"/>
                <a:gd name="T16" fmla="*/ 334 w 376"/>
                <a:gd name="T17" fmla="*/ 250 h 307"/>
                <a:gd name="T18" fmla="*/ 323 w 376"/>
                <a:gd name="T19" fmla="*/ 214 h 307"/>
                <a:gd name="T20" fmla="*/ 273 w 376"/>
                <a:gd name="T21" fmla="*/ 158 h 307"/>
                <a:gd name="T22" fmla="*/ 162 w 376"/>
                <a:gd name="T23" fmla="*/ 117 h 307"/>
                <a:gd name="T24" fmla="*/ 46 w 376"/>
                <a:gd name="T25" fmla="*/ 114 h 307"/>
                <a:gd name="T26" fmla="*/ 16 w 376"/>
                <a:gd name="T27" fmla="*/ 104 h 307"/>
                <a:gd name="T28" fmla="*/ 2 w 376"/>
                <a:gd name="T29" fmla="*/ 65 h 307"/>
                <a:gd name="T30" fmla="*/ 20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20" y="65"/>
                  </a:moveTo>
                  <a:cubicBezTo>
                    <a:pt x="17" y="54"/>
                    <a:pt x="15" y="42"/>
                    <a:pt x="14" y="30"/>
                  </a:cubicBezTo>
                  <a:cubicBezTo>
                    <a:pt x="25" y="34"/>
                    <a:pt x="37" y="36"/>
                    <a:pt x="48" y="34"/>
                  </a:cubicBezTo>
                  <a:cubicBezTo>
                    <a:pt x="48" y="28"/>
                    <a:pt x="48" y="21"/>
                    <a:pt x="49" y="14"/>
                  </a:cubicBezTo>
                  <a:cubicBezTo>
                    <a:pt x="49" y="8"/>
                    <a:pt x="125" y="7"/>
                    <a:pt x="131" y="6"/>
                  </a:cubicBezTo>
                  <a:cubicBezTo>
                    <a:pt x="189" y="3"/>
                    <a:pt x="242" y="0"/>
                    <a:pt x="294" y="33"/>
                  </a:cubicBezTo>
                  <a:cubicBezTo>
                    <a:pt x="338" y="61"/>
                    <a:pt x="365" y="101"/>
                    <a:pt x="371" y="153"/>
                  </a:cubicBezTo>
                  <a:cubicBezTo>
                    <a:pt x="376" y="203"/>
                    <a:pt x="358" y="267"/>
                    <a:pt x="328" y="307"/>
                  </a:cubicBezTo>
                  <a:cubicBezTo>
                    <a:pt x="329" y="294"/>
                    <a:pt x="337" y="263"/>
                    <a:pt x="334" y="250"/>
                  </a:cubicBezTo>
                  <a:cubicBezTo>
                    <a:pt x="333" y="238"/>
                    <a:pt x="329" y="225"/>
                    <a:pt x="323" y="214"/>
                  </a:cubicBezTo>
                  <a:cubicBezTo>
                    <a:pt x="312" y="192"/>
                    <a:pt x="294" y="172"/>
                    <a:pt x="273" y="158"/>
                  </a:cubicBezTo>
                  <a:cubicBezTo>
                    <a:pt x="240" y="136"/>
                    <a:pt x="201" y="124"/>
                    <a:pt x="162" y="117"/>
                  </a:cubicBezTo>
                  <a:cubicBezTo>
                    <a:pt x="126" y="111"/>
                    <a:pt x="82" y="105"/>
                    <a:pt x="46" y="114"/>
                  </a:cubicBezTo>
                  <a:cubicBezTo>
                    <a:pt x="28" y="118"/>
                    <a:pt x="25" y="122"/>
                    <a:pt x="16" y="104"/>
                  </a:cubicBezTo>
                  <a:cubicBezTo>
                    <a:pt x="14" y="101"/>
                    <a:pt x="0" y="65"/>
                    <a:pt x="2" y="65"/>
                  </a:cubicBezTo>
                  <a:cubicBezTo>
                    <a:pt x="8" y="65"/>
                    <a:pt x="14" y="65"/>
                    <a:pt x="20" y="6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šḷíďè">
              <a:extLst>
                <a:ext uri="{FF2B5EF4-FFF2-40B4-BE49-F238E27FC236}">
                  <a16:creationId xmlns:a16="http://schemas.microsoft.com/office/drawing/2014/main" id="{8EBFF2C7-3D65-41BA-AB1C-ABCCCDBAC338}"/>
                </a:ext>
              </a:extLst>
            </p:cNvPr>
            <p:cNvSpPr/>
            <p:nvPr/>
          </p:nvSpPr>
          <p:spPr bwMode="auto">
            <a:xfrm>
              <a:off x="6435725" y="5322888"/>
              <a:ext cx="144463" cy="257175"/>
            </a:xfrm>
            <a:custGeom>
              <a:avLst/>
              <a:gdLst>
                <a:gd name="T0" fmla="*/ 24 w 91"/>
                <a:gd name="T1" fmla="*/ 34 h 162"/>
                <a:gd name="T2" fmla="*/ 0 w 91"/>
                <a:gd name="T3" fmla="*/ 125 h 162"/>
                <a:gd name="T4" fmla="*/ 26 w 91"/>
                <a:gd name="T5" fmla="*/ 162 h 162"/>
                <a:gd name="T6" fmla="*/ 68 w 91"/>
                <a:gd name="T7" fmla="*/ 137 h 162"/>
                <a:gd name="T8" fmla="*/ 91 w 91"/>
                <a:gd name="T9" fmla="*/ 59 h 162"/>
                <a:gd name="T10" fmla="*/ 73 w 91"/>
                <a:gd name="T11" fmla="*/ 0 h 162"/>
                <a:gd name="T12" fmla="*/ 24 w 91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8" y="137"/>
                  </a:lnTo>
                  <a:lnTo>
                    <a:pt x="91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ḻîḓè">
              <a:extLst>
                <a:ext uri="{FF2B5EF4-FFF2-40B4-BE49-F238E27FC236}">
                  <a16:creationId xmlns:a16="http://schemas.microsoft.com/office/drawing/2014/main" id="{20411541-E4CF-4647-AE49-F38685556A6C}"/>
                </a:ext>
              </a:extLst>
            </p:cNvPr>
            <p:cNvSpPr/>
            <p:nvPr/>
          </p:nvSpPr>
          <p:spPr bwMode="auto">
            <a:xfrm>
              <a:off x="6731000" y="5295900"/>
              <a:ext cx="146050" cy="257175"/>
            </a:xfrm>
            <a:custGeom>
              <a:avLst/>
              <a:gdLst>
                <a:gd name="T0" fmla="*/ 24 w 92"/>
                <a:gd name="T1" fmla="*/ 34 h 162"/>
                <a:gd name="T2" fmla="*/ 0 w 92"/>
                <a:gd name="T3" fmla="*/ 125 h 162"/>
                <a:gd name="T4" fmla="*/ 26 w 92"/>
                <a:gd name="T5" fmla="*/ 162 h 162"/>
                <a:gd name="T6" fmla="*/ 67 w 92"/>
                <a:gd name="T7" fmla="*/ 137 h 162"/>
                <a:gd name="T8" fmla="*/ 92 w 92"/>
                <a:gd name="T9" fmla="*/ 59 h 162"/>
                <a:gd name="T10" fmla="*/ 73 w 92"/>
                <a:gd name="T11" fmla="*/ 0 h 162"/>
                <a:gd name="T12" fmla="*/ 24 w 92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7" y="137"/>
                  </a:lnTo>
                  <a:lnTo>
                    <a:pt x="92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ś1îḋê">
              <a:extLst>
                <a:ext uri="{FF2B5EF4-FFF2-40B4-BE49-F238E27FC236}">
                  <a16:creationId xmlns:a16="http://schemas.microsoft.com/office/drawing/2014/main" id="{B661F444-C023-4613-B4C6-37C123B6E8E7}"/>
                </a:ext>
              </a:extLst>
            </p:cNvPr>
            <p:cNvSpPr/>
            <p:nvPr/>
          </p:nvSpPr>
          <p:spPr bwMode="auto">
            <a:xfrm>
              <a:off x="6248400" y="4249738"/>
              <a:ext cx="484188" cy="1158875"/>
            </a:xfrm>
            <a:custGeom>
              <a:avLst/>
              <a:gdLst>
                <a:gd name="T0" fmla="*/ 383 w 402"/>
                <a:gd name="T1" fmla="*/ 137 h 961"/>
                <a:gd name="T2" fmla="*/ 330 w 402"/>
                <a:gd name="T3" fmla="*/ 48 h 961"/>
                <a:gd name="T4" fmla="*/ 135 w 402"/>
                <a:gd name="T5" fmla="*/ 20 h 961"/>
                <a:gd name="T6" fmla="*/ 28 w 402"/>
                <a:gd name="T7" fmla="*/ 109 h 961"/>
                <a:gd name="T8" fmla="*/ 0 w 402"/>
                <a:gd name="T9" fmla="*/ 218 h 961"/>
                <a:gd name="T10" fmla="*/ 26 w 402"/>
                <a:gd name="T11" fmla="*/ 321 h 961"/>
                <a:gd name="T12" fmla="*/ 182 w 402"/>
                <a:gd name="T13" fmla="*/ 961 h 961"/>
                <a:gd name="T14" fmla="*/ 270 w 402"/>
                <a:gd name="T15" fmla="*/ 948 h 961"/>
                <a:gd name="T16" fmla="*/ 276 w 402"/>
                <a:gd name="T17" fmla="*/ 294 h 961"/>
                <a:gd name="T18" fmla="*/ 383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383" y="137"/>
                  </a:moveTo>
                  <a:cubicBezTo>
                    <a:pt x="374" y="107"/>
                    <a:pt x="359" y="61"/>
                    <a:pt x="330" y="48"/>
                  </a:cubicBezTo>
                  <a:cubicBezTo>
                    <a:pt x="267" y="22"/>
                    <a:pt x="199" y="0"/>
                    <a:pt x="135" y="20"/>
                  </a:cubicBezTo>
                  <a:cubicBezTo>
                    <a:pt x="91" y="33"/>
                    <a:pt x="52" y="65"/>
                    <a:pt x="28" y="109"/>
                  </a:cubicBezTo>
                  <a:cubicBezTo>
                    <a:pt x="10" y="141"/>
                    <a:pt x="0" y="180"/>
                    <a:pt x="0" y="218"/>
                  </a:cubicBezTo>
                  <a:cubicBezTo>
                    <a:pt x="0" y="255"/>
                    <a:pt x="18" y="286"/>
                    <a:pt x="26" y="321"/>
                  </a:cubicBezTo>
                  <a:cubicBezTo>
                    <a:pt x="78" y="534"/>
                    <a:pt x="130" y="748"/>
                    <a:pt x="182" y="961"/>
                  </a:cubicBezTo>
                  <a:cubicBezTo>
                    <a:pt x="270" y="948"/>
                    <a:pt x="270" y="948"/>
                    <a:pt x="270" y="948"/>
                  </a:cubicBezTo>
                  <a:cubicBezTo>
                    <a:pt x="276" y="294"/>
                    <a:pt x="276" y="294"/>
                    <a:pt x="276" y="294"/>
                  </a:cubicBezTo>
                  <a:cubicBezTo>
                    <a:pt x="312" y="257"/>
                    <a:pt x="402" y="198"/>
                    <a:pt x="383" y="137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ṥ1îḑé">
              <a:extLst>
                <a:ext uri="{FF2B5EF4-FFF2-40B4-BE49-F238E27FC236}">
                  <a16:creationId xmlns:a16="http://schemas.microsoft.com/office/drawing/2014/main" id="{3B1E122C-1DA6-4C3B-83C1-E2166F3826E4}"/>
                </a:ext>
              </a:extLst>
            </p:cNvPr>
            <p:cNvSpPr/>
            <p:nvPr/>
          </p:nvSpPr>
          <p:spPr bwMode="auto">
            <a:xfrm>
              <a:off x="6600825" y="4252913"/>
              <a:ext cx="441325" cy="1143000"/>
            </a:xfrm>
            <a:custGeom>
              <a:avLst/>
              <a:gdLst>
                <a:gd name="T0" fmla="*/ 359 w 365"/>
                <a:gd name="T1" fmla="*/ 235 h 949"/>
                <a:gd name="T2" fmla="*/ 365 w 365"/>
                <a:gd name="T3" fmla="*/ 166 h 949"/>
                <a:gd name="T4" fmla="*/ 358 w 365"/>
                <a:gd name="T5" fmla="*/ 113 h 949"/>
                <a:gd name="T6" fmla="*/ 326 w 365"/>
                <a:gd name="T7" fmla="*/ 67 h 949"/>
                <a:gd name="T8" fmla="*/ 154 w 365"/>
                <a:gd name="T9" fmla="*/ 15 h 949"/>
                <a:gd name="T10" fmla="*/ 77 w 365"/>
                <a:gd name="T11" fmla="*/ 53 h 949"/>
                <a:gd name="T12" fmla="*/ 4 w 365"/>
                <a:gd name="T13" fmla="*/ 124 h 949"/>
                <a:gd name="T14" fmla="*/ 0 w 365"/>
                <a:gd name="T15" fmla="*/ 133 h 949"/>
                <a:gd name="T16" fmla="*/ 5 w 365"/>
                <a:gd name="T17" fmla="*/ 139 h 949"/>
                <a:gd name="T18" fmla="*/ 82 w 365"/>
                <a:gd name="T19" fmla="*/ 260 h 949"/>
                <a:gd name="T20" fmla="*/ 104 w 365"/>
                <a:gd name="T21" fmla="*/ 433 h 949"/>
                <a:gd name="T22" fmla="*/ 111 w 365"/>
                <a:gd name="T23" fmla="*/ 644 h 949"/>
                <a:gd name="T24" fmla="*/ 122 w 365"/>
                <a:gd name="T25" fmla="*/ 936 h 949"/>
                <a:gd name="T26" fmla="*/ 222 w 365"/>
                <a:gd name="T27" fmla="*/ 949 h 949"/>
                <a:gd name="T28" fmla="*/ 274 w 365"/>
                <a:gd name="T29" fmla="*/ 680 h 949"/>
                <a:gd name="T30" fmla="*/ 348 w 365"/>
                <a:gd name="T31" fmla="*/ 302 h 949"/>
                <a:gd name="T32" fmla="*/ 359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359" y="235"/>
                  </a:moveTo>
                  <a:cubicBezTo>
                    <a:pt x="362" y="212"/>
                    <a:pt x="364" y="189"/>
                    <a:pt x="365" y="166"/>
                  </a:cubicBezTo>
                  <a:cubicBezTo>
                    <a:pt x="365" y="148"/>
                    <a:pt x="364" y="130"/>
                    <a:pt x="358" y="113"/>
                  </a:cubicBezTo>
                  <a:cubicBezTo>
                    <a:pt x="352" y="94"/>
                    <a:pt x="339" y="80"/>
                    <a:pt x="326" y="67"/>
                  </a:cubicBezTo>
                  <a:cubicBezTo>
                    <a:pt x="278" y="22"/>
                    <a:pt x="216" y="0"/>
                    <a:pt x="154" y="15"/>
                  </a:cubicBezTo>
                  <a:cubicBezTo>
                    <a:pt x="127" y="22"/>
                    <a:pt x="101" y="36"/>
                    <a:pt x="77" y="53"/>
                  </a:cubicBezTo>
                  <a:cubicBezTo>
                    <a:pt x="50" y="72"/>
                    <a:pt x="24" y="95"/>
                    <a:pt x="4" y="124"/>
                  </a:cubicBezTo>
                  <a:cubicBezTo>
                    <a:pt x="2" y="126"/>
                    <a:pt x="0" y="130"/>
                    <a:pt x="0" y="133"/>
                  </a:cubicBezTo>
                  <a:cubicBezTo>
                    <a:pt x="1" y="136"/>
                    <a:pt x="3" y="137"/>
                    <a:pt x="5" y="139"/>
                  </a:cubicBezTo>
                  <a:cubicBezTo>
                    <a:pt x="39" y="171"/>
                    <a:pt x="65" y="214"/>
                    <a:pt x="82" y="260"/>
                  </a:cubicBezTo>
                  <a:cubicBezTo>
                    <a:pt x="102" y="317"/>
                    <a:pt x="101" y="373"/>
                    <a:pt x="104" y="433"/>
                  </a:cubicBezTo>
                  <a:cubicBezTo>
                    <a:pt x="106" y="503"/>
                    <a:pt x="109" y="573"/>
                    <a:pt x="111" y="644"/>
                  </a:cubicBezTo>
                  <a:cubicBezTo>
                    <a:pt x="115" y="741"/>
                    <a:pt x="119" y="839"/>
                    <a:pt x="122" y="936"/>
                  </a:cubicBezTo>
                  <a:cubicBezTo>
                    <a:pt x="222" y="949"/>
                    <a:pt x="222" y="949"/>
                    <a:pt x="222" y="949"/>
                  </a:cubicBezTo>
                  <a:cubicBezTo>
                    <a:pt x="239" y="859"/>
                    <a:pt x="257" y="770"/>
                    <a:pt x="274" y="680"/>
                  </a:cubicBezTo>
                  <a:cubicBezTo>
                    <a:pt x="299" y="554"/>
                    <a:pt x="323" y="428"/>
                    <a:pt x="348" y="302"/>
                  </a:cubicBezTo>
                  <a:cubicBezTo>
                    <a:pt x="352" y="280"/>
                    <a:pt x="356" y="258"/>
                    <a:pt x="359" y="235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š1íde">
              <a:extLst>
                <a:ext uri="{FF2B5EF4-FFF2-40B4-BE49-F238E27FC236}">
                  <a16:creationId xmlns:a16="http://schemas.microsoft.com/office/drawing/2014/main" id="{D51021F4-8193-42FD-A2AE-3B889412E4D4}"/>
                </a:ext>
              </a:extLst>
            </p:cNvPr>
            <p:cNvSpPr/>
            <p:nvPr/>
          </p:nvSpPr>
          <p:spPr bwMode="auto">
            <a:xfrm>
              <a:off x="6902450" y="3078163"/>
              <a:ext cx="409575" cy="611188"/>
            </a:xfrm>
            <a:custGeom>
              <a:avLst/>
              <a:gdLst>
                <a:gd name="T0" fmla="*/ 0 w 258"/>
                <a:gd name="T1" fmla="*/ 0 h 385"/>
                <a:gd name="T2" fmla="*/ 97 w 258"/>
                <a:gd name="T3" fmla="*/ 51 h 385"/>
                <a:gd name="T4" fmla="*/ 258 w 258"/>
                <a:gd name="T5" fmla="*/ 322 h 385"/>
                <a:gd name="T6" fmla="*/ 153 w 258"/>
                <a:gd name="T7" fmla="*/ 385 h 385"/>
                <a:gd name="T8" fmla="*/ 88 w 258"/>
                <a:gd name="T9" fmla="*/ 249 h 385"/>
                <a:gd name="T10" fmla="*/ 0 w 258"/>
                <a:gd name="T1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385">
                  <a:moveTo>
                    <a:pt x="0" y="0"/>
                  </a:moveTo>
                  <a:lnTo>
                    <a:pt x="97" y="51"/>
                  </a:lnTo>
                  <a:lnTo>
                    <a:pt x="258" y="322"/>
                  </a:lnTo>
                  <a:lnTo>
                    <a:pt x="153" y="385"/>
                  </a:lnTo>
                  <a:lnTo>
                    <a:pt x="88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ṧlïḍe">
              <a:extLst>
                <a:ext uri="{FF2B5EF4-FFF2-40B4-BE49-F238E27FC236}">
                  <a16:creationId xmlns:a16="http://schemas.microsoft.com/office/drawing/2014/main" id="{5736A002-43A0-418A-81E5-3867B5A16FA1}"/>
                </a:ext>
              </a:extLst>
            </p:cNvPr>
            <p:cNvSpPr/>
            <p:nvPr/>
          </p:nvSpPr>
          <p:spPr bwMode="auto">
            <a:xfrm>
              <a:off x="6103938" y="3562350"/>
              <a:ext cx="257175" cy="330200"/>
            </a:xfrm>
            <a:custGeom>
              <a:avLst/>
              <a:gdLst>
                <a:gd name="T0" fmla="*/ 19 w 162"/>
                <a:gd name="T1" fmla="*/ 208 h 208"/>
                <a:gd name="T2" fmla="*/ 83 w 162"/>
                <a:gd name="T3" fmla="*/ 190 h 208"/>
                <a:gd name="T4" fmla="*/ 162 w 162"/>
                <a:gd name="T5" fmla="*/ 36 h 208"/>
                <a:gd name="T6" fmla="*/ 79 w 162"/>
                <a:gd name="T7" fmla="*/ 0 h 208"/>
                <a:gd name="T8" fmla="*/ 0 w 162"/>
                <a:gd name="T9" fmla="*/ 152 h 208"/>
                <a:gd name="T10" fmla="*/ 19 w 162"/>
                <a:gd name="T11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208">
                  <a:moveTo>
                    <a:pt x="19" y="208"/>
                  </a:moveTo>
                  <a:lnTo>
                    <a:pt x="83" y="190"/>
                  </a:lnTo>
                  <a:lnTo>
                    <a:pt x="162" y="36"/>
                  </a:lnTo>
                  <a:lnTo>
                    <a:pt x="79" y="0"/>
                  </a:lnTo>
                  <a:lnTo>
                    <a:pt x="0" y="152"/>
                  </a:lnTo>
                  <a:lnTo>
                    <a:pt x="19" y="208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ṧḷïďé">
              <a:extLst>
                <a:ext uri="{FF2B5EF4-FFF2-40B4-BE49-F238E27FC236}">
                  <a16:creationId xmlns:a16="http://schemas.microsoft.com/office/drawing/2014/main" id="{652F3B90-E957-41AC-9D9E-DEF1EA4D2C96}"/>
                </a:ext>
              </a:extLst>
            </p:cNvPr>
            <p:cNvSpPr/>
            <p:nvPr/>
          </p:nvSpPr>
          <p:spPr bwMode="auto">
            <a:xfrm>
              <a:off x="7450138" y="3367088"/>
              <a:ext cx="390525" cy="392113"/>
            </a:xfrm>
            <a:custGeom>
              <a:avLst/>
              <a:gdLst>
                <a:gd name="T0" fmla="*/ 312 w 324"/>
                <a:gd name="T1" fmla="*/ 184 h 325"/>
                <a:gd name="T2" fmla="*/ 141 w 324"/>
                <a:gd name="T3" fmla="*/ 313 h 325"/>
                <a:gd name="T4" fmla="*/ 12 w 324"/>
                <a:gd name="T5" fmla="*/ 141 h 325"/>
                <a:gd name="T6" fmla="*/ 184 w 324"/>
                <a:gd name="T7" fmla="*/ 12 h 325"/>
                <a:gd name="T8" fmla="*/ 312 w 324"/>
                <a:gd name="T9" fmla="*/ 18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325">
                  <a:moveTo>
                    <a:pt x="312" y="184"/>
                  </a:moveTo>
                  <a:cubicBezTo>
                    <a:pt x="300" y="267"/>
                    <a:pt x="224" y="325"/>
                    <a:pt x="141" y="313"/>
                  </a:cubicBezTo>
                  <a:cubicBezTo>
                    <a:pt x="58" y="301"/>
                    <a:pt x="0" y="224"/>
                    <a:pt x="12" y="141"/>
                  </a:cubicBezTo>
                  <a:cubicBezTo>
                    <a:pt x="24" y="58"/>
                    <a:pt x="101" y="0"/>
                    <a:pt x="184" y="12"/>
                  </a:cubicBezTo>
                  <a:cubicBezTo>
                    <a:pt x="267" y="24"/>
                    <a:pt x="324" y="101"/>
                    <a:pt x="312" y="184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ṣḻïďe">
              <a:extLst>
                <a:ext uri="{FF2B5EF4-FFF2-40B4-BE49-F238E27FC236}">
                  <a16:creationId xmlns:a16="http://schemas.microsoft.com/office/drawing/2014/main" id="{3B3A5F4D-D3A9-45AE-9196-870225B45662}"/>
                </a:ext>
              </a:extLst>
            </p:cNvPr>
            <p:cNvSpPr/>
            <p:nvPr/>
          </p:nvSpPr>
          <p:spPr bwMode="auto">
            <a:xfrm>
              <a:off x="7510463" y="3429000"/>
              <a:ext cx="269875" cy="268288"/>
            </a:xfrm>
            <a:custGeom>
              <a:avLst/>
              <a:gdLst>
                <a:gd name="T0" fmla="*/ 214 w 223"/>
                <a:gd name="T1" fmla="*/ 126 h 223"/>
                <a:gd name="T2" fmla="*/ 96 w 223"/>
                <a:gd name="T3" fmla="*/ 215 h 223"/>
                <a:gd name="T4" fmla="*/ 8 w 223"/>
                <a:gd name="T5" fmla="*/ 96 h 223"/>
                <a:gd name="T6" fmla="*/ 126 w 223"/>
                <a:gd name="T7" fmla="*/ 8 h 223"/>
                <a:gd name="T8" fmla="*/ 214 w 223"/>
                <a:gd name="T9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223">
                  <a:moveTo>
                    <a:pt x="214" y="126"/>
                  </a:moveTo>
                  <a:cubicBezTo>
                    <a:pt x="206" y="183"/>
                    <a:pt x="153" y="223"/>
                    <a:pt x="96" y="215"/>
                  </a:cubicBezTo>
                  <a:cubicBezTo>
                    <a:pt x="39" y="206"/>
                    <a:pt x="0" y="153"/>
                    <a:pt x="8" y="96"/>
                  </a:cubicBezTo>
                  <a:cubicBezTo>
                    <a:pt x="16" y="39"/>
                    <a:pt x="69" y="0"/>
                    <a:pt x="126" y="8"/>
                  </a:cubicBezTo>
                  <a:cubicBezTo>
                    <a:pt x="183" y="16"/>
                    <a:pt x="223" y="69"/>
                    <a:pt x="214" y="126"/>
                  </a:cubicBezTo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Sľiḓe">
              <a:extLst>
                <a:ext uri="{FF2B5EF4-FFF2-40B4-BE49-F238E27FC236}">
                  <a16:creationId xmlns:a16="http://schemas.microsoft.com/office/drawing/2014/main" id="{8BF24CB9-54CC-4851-A2C3-54B83B716C76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ṡḻîďè">
              <a:extLst>
                <a:ext uri="{FF2B5EF4-FFF2-40B4-BE49-F238E27FC236}">
                  <a16:creationId xmlns:a16="http://schemas.microsoft.com/office/drawing/2014/main" id="{A80DA540-50BC-4781-B712-03D90B80891F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$ľíďé">
              <a:extLst>
                <a:ext uri="{FF2B5EF4-FFF2-40B4-BE49-F238E27FC236}">
                  <a16:creationId xmlns:a16="http://schemas.microsoft.com/office/drawing/2014/main" id="{0AA9DBCD-FB04-4E60-A005-EB8C8B774740}"/>
                </a:ext>
              </a:extLst>
            </p:cNvPr>
            <p:cNvSpPr/>
            <p:nvPr/>
          </p:nvSpPr>
          <p:spPr bwMode="auto">
            <a:xfrm>
              <a:off x="7597775" y="3521075"/>
              <a:ext cx="92075" cy="92075"/>
            </a:xfrm>
            <a:custGeom>
              <a:avLst/>
              <a:gdLst>
                <a:gd name="T0" fmla="*/ 73 w 76"/>
                <a:gd name="T1" fmla="*/ 43 h 76"/>
                <a:gd name="T2" fmla="*/ 33 w 76"/>
                <a:gd name="T3" fmla="*/ 73 h 76"/>
                <a:gd name="T4" fmla="*/ 3 w 76"/>
                <a:gd name="T5" fmla="*/ 33 h 76"/>
                <a:gd name="T6" fmla="*/ 43 w 76"/>
                <a:gd name="T7" fmla="*/ 3 h 76"/>
                <a:gd name="T8" fmla="*/ 73 w 76"/>
                <a:gd name="T9" fmla="*/ 4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6">
                  <a:moveTo>
                    <a:pt x="73" y="43"/>
                  </a:moveTo>
                  <a:cubicBezTo>
                    <a:pt x="70" y="63"/>
                    <a:pt x="52" y="76"/>
                    <a:pt x="33" y="73"/>
                  </a:cubicBezTo>
                  <a:cubicBezTo>
                    <a:pt x="13" y="70"/>
                    <a:pt x="0" y="52"/>
                    <a:pt x="3" y="33"/>
                  </a:cubicBezTo>
                  <a:cubicBezTo>
                    <a:pt x="5" y="13"/>
                    <a:pt x="23" y="0"/>
                    <a:pt x="43" y="3"/>
                  </a:cubicBezTo>
                  <a:cubicBezTo>
                    <a:pt x="63" y="5"/>
                    <a:pt x="76" y="24"/>
                    <a:pt x="73" y="43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ṩ1ïḑé">
              <a:extLst>
                <a:ext uri="{FF2B5EF4-FFF2-40B4-BE49-F238E27FC236}">
                  <a16:creationId xmlns:a16="http://schemas.microsoft.com/office/drawing/2014/main" id="{45659C61-CD57-42BA-ABB0-B7FD278CE33D}"/>
                </a:ext>
              </a:extLst>
            </p:cNvPr>
            <p:cNvSpPr/>
            <p:nvPr/>
          </p:nvSpPr>
          <p:spPr bwMode="auto">
            <a:xfrm>
              <a:off x="7673975" y="3740150"/>
              <a:ext cx="12700" cy="3175"/>
            </a:xfrm>
            <a:custGeom>
              <a:avLst/>
              <a:gdLst>
                <a:gd name="T0" fmla="*/ 11 w 11"/>
                <a:gd name="T1" fmla="*/ 0 h 2"/>
                <a:gd name="T2" fmla="*/ 0 w 11"/>
                <a:gd name="T3" fmla="*/ 2 h 2"/>
                <a:gd name="T4" fmla="*/ 11 w 11"/>
                <a:gd name="T5" fmla="*/ 0 h 2"/>
                <a:gd name="T6" fmla="*/ 11 w 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">
                  <a:moveTo>
                    <a:pt x="11" y="0"/>
                  </a:moveTo>
                  <a:cubicBezTo>
                    <a:pt x="8" y="1"/>
                    <a:pt x="4" y="2"/>
                    <a:pt x="0" y="2"/>
                  </a:cubicBezTo>
                  <a:cubicBezTo>
                    <a:pt x="4" y="2"/>
                    <a:pt x="8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ṥ1íḑè">
              <a:extLst>
                <a:ext uri="{FF2B5EF4-FFF2-40B4-BE49-F238E27FC236}">
                  <a16:creationId xmlns:a16="http://schemas.microsoft.com/office/drawing/2014/main" id="{F6A988E7-0156-4DDD-A9BD-4B22CFE77949}"/>
                </a:ext>
              </a:extLst>
            </p:cNvPr>
            <p:cNvSpPr/>
            <p:nvPr/>
          </p:nvSpPr>
          <p:spPr bwMode="auto">
            <a:xfrm>
              <a:off x="7643813" y="3683000"/>
              <a:ext cx="42863" cy="61913"/>
            </a:xfrm>
            <a:custGeom>
              <a:avLst/>
              <a:gdLst>
                <a:gd name="T0" fmla="*/ 31 w 36"/>
                <a:gd name="T1" fmla="*/ 0 h 52"/>
                <a:gd name="T2" fmla="*/ 7 w 36"/>
                <a:gd name="T3" fmla="*/ 5 h 52"/>
                <a:gd name="T4" fmla="*/ 0 w 36"/>
                <a:gd name="T5" fmla="*/ 52 h 52"/>
                <a:gd name="T6" fmla="*/ 25 w 36"/>
                <a:gd name="T7" fmla="*/ 50 h 52"/>
                <a:gd name="T8" fmla="*/ 36 w 36"/>
                <a:gd name="T9" fmla="*/ 48 h 52"/>
                <a:gd name="T10" fmla="*/ 31 w 36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2">
                  <a:moveTo>
                    <a:pt x="31" y="0"/>
                  </a:moveTo>
                  <a:cubicBezTo>
                    <a:pt x="23" y="3"/>
                    <a:pt x="15" y="4"/>
                    <a:pt x="7" y="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13" y="52"/>
                    <a:pt x="25" y="50"/>
                  </a:cubicBezTo>
                  <a:cubicBezTo>
                    <a:pt x="29" y="50"/>
                    <a:pt x="33" y="49"/>
                    <a:pt x="36" y="48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ṧľïḑé">
              <a:extLst>
                <a:ext uri="{FF2B5EF4-FFF2-40B4-BE49-F238E27FC236}">
                  <a16:creationId xmlns:a16="http://schemas.microsoft.com/office/drawing/2014/main" id="{8D330E5A-146C-4272-95C2-A487ADD3948A}"/>
                </a:ext>
              </a:extLst>
            </p:cNvPr>
            <p:cNvSpPr/>
            <p:nvPr/>
          </p:nvSpPr>
          <p:spPr bwMode="auto">
            <a:xfrm>
              <a:off x="7651750" y="3598863"/>
              <a:ext cx="28575" cy="90488"/>
            </a:xfrm>
            <a:custGeom>
              <a:avLst/>
              <a:gdLst>
                <a:gd name="T0" fmla="*/ 16 w 24"/>
                <a:gd name="T1" fmla="*/ 0 h 74"/>
                <a:gd name="T2" fmla="*/ 10 w 24"/>
                <a:gd name="T3" fmla="*/ 4 h 74"/>
                <a:gd name="T4" fmla="*/ 3 w 24"/>
                <a:gd name="T5" fmla="*/ 48 h 74"/>
                <a:gd name="T6" fmla="*/ 0 w 24"/>
                <a:gd name="T7" fmla="*/ 74 h 74"/>
                <a:gd name="T8" fmla="*/ 24 w 24"/>
                <a:gd name="T9" fmla="*/ 69 h 74"/>
                <a:gd name="T10" fmla="*/ 16 w 24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74">
                  <a:moveTo>
                    <a:pt x="16" y="0"/>
                  </a:moveTo>
                  <a:cubicBezTo>
                    <a:pt x="14" y="2"/>
                    <a:pt x="12" y="3"/>
                    <a:pt x="10" y="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8" y="73"/>
                    <a:pt x="16" y="72"/>
                    <a:pt x="24" y="69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íṥḻiḑe">
              <a:extLst>
                <a:ext uri="{FF2B5EF4-FFF2-40B4-BE49-F238E27FC236}">
                  <a16:creationId xmlns:a16="http://schemas.microsoft.com/office/drawing/2014/main" id="{AFBF9536-AB8E-4D9B-893D-DD9895AD8133}"/>
                </a:ext>
              </a:extLst>
            </p:cNvPr>
            <p:cNvSpPr/>
            <p:nvPr/>
          </p:nvSpPr>
          <p:spPr bwMode="auto">
            <a:xfrm>
              <a:off x="7643813" y="3657600"/>
              <a:ext cx="11113" cy="87313"/>
            </a:xfrm>
            <a:custGeom>
              <a:avLst/>
              <a:gdLst>
                <a:gd name="T0" fmla="*/ 10 w 10"/>
                <a:gd name="T1" fmla="*/ 0 h 73"/>
                <a:gd name="T2" fmla="*/ 0 w 10"/>
                <a:gd name="T3" fmla="*/ 73 h 73"/>
                <a:gd name="T4" fmla="*/ 0 w 10"/>
                <a:gd name="T5" fmla="*/ 73 h 73"/>
                <a:gd name="T6" fmla="*/ 7 w 10"/>
                <a:gd name="T7" fmla="*/ 26 h 73"/>
                <a:gd name="T8" fmla="*/ 10 w 10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3">
                  <a:moveTo>
                    <a:pt x="10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ṩḻíḑé">
              <a:extLst>
                <a:ext uri="{FF2B5EF4-FFF2-40B4-BE49-F238E27FC236}">
                  <a16:creationId xmlns:a16="http://schemas.microsoft.com/office/drawing/2014/main" id="{BAE004E2-A7B2-46D4-B1FD-61202A21038D}"/>
                </a:ext>
              </a:extLst>
            </p:cNvPr>
            <p:cNvSpPr/>
            <p:nvPr/>
          </p:nvSpPr>
          <p:spPr bwMode="auto">
            <a:xfrm>
              <a:off x="7664450" y="3598863"/>
              <a:ext cx="6350" cy="4763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ṣḷíḋè">
              <a:extLst>
                <a:ext uri="{FF2B5EF4-FFF2-40B4-BE49-F238E27FC236}">
                  <a16:creationId xmlns:a16="http://schemas.microsoft.com/office/drawing/2014/main" id="{13BFF7A5-A514-4E98-98B4-12494777EA9C}"/>
                </a:ext>
              </a:extLst>
            </p:cNvPr>
            <p:cNvSpPr/>
            <p:nvPr/>
          </p:nvSpPr>
          <p:spPr bwMode="auto">
            <a:xfrm>
              <a:off x="6540500" y="4064000"/>
              <a:ext cx="1068388" cy="766763"/>
            </a:xfrm>
            <a:custGeom>
              <a:avLst/>
              <a:gdLst>
                <a:gd name="T0" fmla="*/ 3 w 886"/>
                <a:gd name="T1" fmla="*/ 163 h 636"/>
                <a:gd name="T2" fmla="*/ 562 w 886"/>
                <a:gd name="T3" fmla="*/ 582 h 636"/>
                <a:gd name="T4" fmla="*/ 865 w 886"/>
                <a:gd name="T5" fmla="*/ 160 h 636"/>
                <a:gd name="T6" fmla="*/ 882 w 886"/>
                <a:gd name="T7" fmla="*/ 75 h 636"/>
                <a:gd name="T8" fmla="*/ 800 w 886"/>
                <a:gd name="T9" fmla="*/ 120 h 636"/>
                <a:gd name="T10" fmla="*/ 781 w 886"/>
                <a:gd name="T11" fmla="*/ 195 h 636"/>
                <a:gd name="T12" fmla="*/ 780 w 886"/>
                <a:gd name="T13" fmla="*/ 197 h 636"/>
                <a:gd name="T14" fmla="*/ 765 w 886"/>
                <a:gd name="T15" fmla="*/ 243 h 636"/>
                <a:gd name="T16" fmla="*/ 684 w 886"/>
                <a:gd name="T17" fmla="*/ 403 h 636"/>
                <a:gd name="T18" fmla="*/ 666 w 886"/>
                <a:gd name="T19" fmla="*/ 426 h 636"/>
                <a:gd name="T20" fmla="*/ 620 w 886"/>
                <a:gd name="T21" fmla="*/ 474 h 636"/>
                <a:gd name="T22" fmla="*/ 607 w 886"/>
                <a:gd name="T23" fmla="*/ 485 h 636"/>
                <a:gd name="T24" fmla="*/ 569 w 886"/>
                <a:gd name="T25" fmla="*/ 511 h 636"/>
                <a:gd name="T26" fmla="*/ 540 w 886"/>
                <a:gd name="T27" fmla="*/ 526 h 636"/>
                <a:gd name="T28" fmla="*/ 487 w 886"/>
                <a:gd name="T29" fmla="*/ 543 h 636"/>
                <a:gd name="T30" fmla="*/ 482 w 886"/>
                <a:gd name="T31" fmla="*/ 544 h 636"/>
                <a:gd name="T32" fmla="*/ 470 w 886"/>
                <a:gd name="T33" fmla="*/ 546 h 636"/>
                <a:gd name="T34" fmla="*/ 418 w 886"/>
                <a:gd name="T35" fmla="*/ 550 h 636"/>
                <a:gd name="T36" fmla="*/ 418 w 886"/>
                <a:gd name="T37" fmla="*/ 550 h 636"/>
                <a:gd name="T38" fmla="*/ 413 w 886"/>
                <a:gd name="T39" fmla="*/ 550 h 636"/>
                <a:gd name="T40" fmla="*/ 395 w 886"/>
                <a:gd name="T41" fmla="*/ 549 h 636"/>
                <a:gd name="T42" fmla="*/ 336 w 886"/>
                <a:gd name="T43" fmla="*/ 540 h 636"/>
                <a:gd name="T44" fmla="*/ 318 w 886"/>
                <a:gd name="T45" fmla="*/ 536 h 636"/>
                <a:gd name="T46" fmla="*/ 268 w 886"/>
                <a:gd name="T47" fmla="*/ 518 h 636"/>
                <a:gd name="T48" fmla="*/ 267 w 886"/>
                <a:gd name="T49" fmla="*/ 517 h 636"/>
                <a:gd name="T50" fmla="*/ 249 w 886"/>
                <a:gd name="T51" fmla="*/ 508 h 636"/>
                <a:gd name="T52" fmla="*/ 221 w 886"/>
                <a:gd name="T53" fmla="*/ 491 h 636"/>
                <a:gd name="T54" fmla="*/ 181 w 886"/>
                <a:gd name="T55" fmla="*/ 456 h 636"/>
                <a:gd name="T56" fmla="*/ 163 w 886"/>
                <a:gd name="T57" fmla="*/ 435 h 636"/>
                <a:gd name="T58" fmla="*/ 114 w 886"/>
                <a:gd name="T59" fmla="*/ 351 h 636"/>
                <a:gd name="T60" fmla="*/ 112 w 886"/>
                <a:gd name="T61" fmla="*/ 347 h 636"/>
                <a:gd name="T62" fmla="*/ 102 w 886"/>
                <a:gd name="T63" fmla="*/ 317 h 636"/>
                <a:gd name="T64" fmla="*/ 78 w 886"/>
                <a:gd name="T65" fmla="*/ 195 h 636"/>
                <a:gd name="T66" fmla="*/ 75 w 886"/>
                <a:gd name="T67" fmla="*/ 166 h 636"/>
                <a:gd name="T68" fmla="*/ 74 w 886"/>
                <a:gd name="T69" fmla="*/ 124 h 636"/>
                <a:gd name="T70" fmla="*/ 82 w 886"/>
                <a:gd name="T71" fmla="*/ 12 h 636"/>
                <a:gd name="T72" fmla="*/ 9 w 886"/>
                <a:gd name="T73" fmla="*/ 0 h 636"/>
                <a:gd name="T74" fmla="*/ 335 w 886"/>
                <a:gd name="T75" fmla="*/ 54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6" h="636">
                  <a:moveTo>
                    <a:pt x="9" y="0"/>
                  </a:moveTo>
                  <a:cubicBezTo>
                    <a:pt x="1" y="54"/>
                    <a:pt x="0" y="109"/>
                    <a:pt x="3" y="163"/>
                  </a:cubicBezTo>
                  <a:cubicBezTo>
                    <a:pt x="9" y="276"/>
                    <a:pt x="35" y="401"/>
                    <a:pt x="131" y="495"/>
                  </a:cubicBezTo>
                  <a:cubicBezTo>
                    <a:pt x="233" y="595"/>
                    <a:pt x="421" y="636"/>
                    <a:pt x="562" y="582"/>
                  </a:cubicBezTo>
                  <a:cubicBezTo>
                    <a:pt x="696" y="530"/>
                    <a:pt x="770" y="416"/>
                    <a:pt x="816" y="310"/>
                  </a:cubicBezTo>
                  <a:cubicBezTo>
                    <a:pt x="837" y="261"/>
                    <a:pt x="853" y="211"/>
                    <a:pt x="865" y="160"/>
                  </a:cubicBezTo>
                  <a:cubicBezTo>
                    <a:pt x="872" y="133"/>
                    <a:pt x="878" y="106"/>
                    <a:pt x="881" y="79"/>
                  </a:cubicBezTo>
                  <a:cubicBezTo>
                    <a:pt x="881" y="78"/>
                    <a:pt x="881" y="76"/>
                    <a:pt x="882" y="75"/>
                  </a:cubicBezTo>
                  <a:cubicBezTo>
                    <a:pt x="886" y="39"/>
                    <a:pt x="813" y="31"/>
                    <a:pt x="809" y="66"/>
                  </a:cubicBezTo>
                  <a:cubicBezTo>
                    <a:pt x="807" y="85"/>
                    <a:pt x="804" y="103"/>
                    <a:pt x="800" y="120"/>
                  </a:cubicBezTo>
                  <a:cubicBezTo>
                    <a:pt x="796" y="140"/>
                    <a:pt x="791" y="159"/>
                    <a:pt x="786" y="178"/>
                  </a:cubicBezTo>
                  <a:cubicBezTo>
                    <a:pt x="784" y="184"/>
                    <a:pt x="783" y="190"/>
                    <a:pt x="781" y="195"/>
                  </a:cubicBezTo>
                  <a:cubicBezTo>
                    <a:pt x="781" y="196"/>
                    <a:pt x="781" y="196"/>
                    <a:pt x="781" y="197"/>
                  </a:cubicBezTo>
                  <a:cubicBezTo>
                    <a:pt x="780" y="197"/>
                    <a:pt x="780" y="197"/>
                    <a:pt x="780" y="197"/>
                  </a:cubicBezTo>
                  <a:cubicBezTo>
                    <a:pt x="779" y="201"/>
                    <a:pt x="778" y="204"/>
                    <a:pt x="777" y="207"/>
                  </a:cubicBezTo>
                  <a:cubicBezTo>
                    <a:pt x="774" y="219"/>
                    <a:pt x="769" y="231"/>
                    <a:pt x="765" y="243"/>
                  </a:cubicBezTo>
                  <a:cubicBezTo>
                    <a:pt x="746" y="296"/>
                    <a:pt x="722" y="347"/>
                    <a:pt x="689" y="395"/>
                  </a:cubicBezTo>
                  <a:cubicBezTo>
                    <a:pt x="687" y="398"/>
                    <a:pt x="685" y="401"/>
                    <a:pt x="684" y="403"/>
                  </a:cubicBezTo>
                  <a:cubicBezTo>
                    <a:pt x="686" y="400"/>
                    <a:pt x="681" y="406"/>
                    <a:pt x="680" y="408"/>
                  </a:cubicBezTo>
                  <a:cubicBezTo>
                    <a:pt x="676" y="414"/>
                    <a:pt x="671" y="420"/>
                    <a:pt x="666" y="426"/>
                  </a:cubicBezTo>
                  <a:cubicBezTo>
                    <a:pt x="656" y="438"/>
                    <a:pt x="646" y="449"/>
                    <a:pt x="636" y="459"/>
                  </a:cubicBezTo>
                  <a:cubicBezTo>
                    <a:pt x="631" y="464"/>
                    <a:pt x="626" y="469"/>
                    <a:pt x="620" y="474"/>
                  </a:cubicBezTo>
                  <a:cubicBezTo>
                    <a:pt x="618" y="476"/>
                    <a:pt x="615" y="478"/>
                    <a:pt x="613" y="481"/>
                  </a:cubicBezTo>
                  <a:cubicBezTo>
                    <a:pt x="611" y="482"/>
                    <a:pt x="609" y="483"/>
                    <a:pt x="607" y="485"/>
                  </a:cubicBezTo>
                  <a:cubicBezTo>
                    <a:pt x="607" y="485"/>
                    <a:pt x="606" y="486"/>
                    <a:pt x="605" y="487"/>
                  </a:cubicBezTo>
                  <a:cubicBezTo>
                    <a:pt x="593" y="495"/>
                    <a:pt x="582" y="503"/>
                    <a:pt x="569" y="511"/>
                  </a:cubicBezTo>
                  <a:cubicBezTo>
                    <a:pt x="563" y="514"/>
                    <a:pt x="556" y="518"/>
                    <a:pt x="550" y="521"/>
                  </a:cubicBezTo>
                  <a:cubicBezTo>
                    <a:pt x="547" y="523"/>
                    <a:pt x="544" y="524"/>
                    <a:pt x="540" y="526"/>
                  </a:cubicBezTo>
                  <a:cubicBezTo>
                    <a:pt x="549" y="522"/>
                    <a:pt x="535" y="528"/>
                    <a:pt x="533" y="529"/>
                  </a:cubicBezTo>
                  <a:cubicBezTo>
                    <a:pt x="518" y="534"/>
                    <a:pt x="503" y="539"/>
                    <a:pt x="487" y="543"/>
                  </a:cubicBezTo>
                  <a:cubicBezTo>
                    <a:pt x="486" y="543"/>
                    <a:pt x="484" y="543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78" y="545"/>
                    <a:pt x="474" y="545"/>
                    <a:pt x="470" y="546"/>
                  </a:cubicBezTo>
                  <a:cubicBezTo>
                    <a:pt x="461" y="547"/>
                    <a:pt x="452" y="548"/>
                    <a:pt x="443" y="549"/>
                  </a:cubicBezTo>
                  <a:cubicBezTo>
                    <a:pt x="435" y="549"/>
                    <a:pt x="426" y="550"/>
                    <a:pt x="418" y="550"/>
                  </a:cubicBezTo>
                  <a:cubicBezTo>
                    <a:pt x="417" y="550"/>
                    <a:pt x="416" y="550"/>
                    <a:pt x="415" y="550"/>
                  </a:cubicBezTo>
                  <a:cubicBezTo>
                    <a:pt x="416" y="550"/>
                    <a:pt x="417" y="550"/>
                    <a:pt x="418" y="550"/>
                  </a:cubicBezTo>
                  <a:cubicBezTo>
                    <a:pt x="416" y="550"/>
                    <a:pt x="415" y="550"/>
                    <a:pt x="414" y="550"/>
                  </a:cubicBezTo>
                  <a:cubicBezTo>
                    <a:pt x="413" y="550"/>
                    <a:pt x="413" y="550"/>
                    <a:pt x="413" y="550"/>
                  </a:cubicBezTo>
                  <a:cubicBezTo>
                    <a:pt x="413" y="550"/>
                    <a:pt x="412" y="550"/>
                    <a:pt x="412" y="550"/>
                  </a:cubicBezTo>
                  <a:cubicBezTo>
                    <a:pt x="406" y="549"/>
                    <a:pt x="401" y="549"/>
                    <a:pt x="395" y="549"/>
                  </a:cubicBezTo>
                  <a:cubicBezTo>
                    <a:pt x="375" y="547"/>
                    <a:pt x="356" y="544"/>
                    <a:pt x="336" y="540"/>
                  </a:cubicBezTo>
                  <a:cubicBezTo>
                    <a:pt x="336" y="540"/>
                    <a:pt x="336" y="540"/>
                    <a:pt x="336" y="540"/>
                  </a:cubicBezTo>
                  <a:cubicBezTo>
                    <a:pt x="334" y="540"/>
                    <a:pt x="332" y="539"/>
                    <a:pt x="330" y="539"/>
                  </a:cubicBezTo>
                  <a:cubicBezTo>
                    <a:pt x="326" y="538"/>
                    <a:pt x="322" y="537"/>
                    <a:pt x="318" y="536"/>
                  </a:cubicBezTo>
                  <a:cubicBezTo>
                    <a:pt x="308" y="533"/>
                    <a:pt x="299" y="530"/>
                    <a:pt x="290" y="526"/>
                  </a:cubicBezTo>
                  <a:cubicBezTo>
                    <a:pt x="282" y="524"/>
                    <a:pt x="275" y="521"/>
                    <a:pt x="268" y="518"/>
                  </a:cubicBezTo>
                  <a:cubicBezTo>
                    <a:pt x="268" y="518"/>
                    <a:pt x="268" y="518"/>
                    <a:pt x="268" y="518"/>
                  </a:cubicBezTo>
                  <a:cubicBezTo>
                    <a:pt x="267" y="517"/>
                    <a:pt x="267" y="517"/>
                    <a:pt x="267" y="517"/>
                  </a:cubicBezTo>
                  <a:cubicBezTo>
                    <a:pt x="266" y="517"/>
                    <a:pt x="264" y="516"/>
                    <a:pt x="263" y="515"/>
                  </a:cubicBezTo>
                  <a:cubicBezTo>
                    <a:pt x="258" y="513"/>
                    <a:pt x="254" y="511"/>
                    <a:pt x="249" y="508"/>
                  </a:cubicBezTo>
                  <a:cubicBezTo>
                    <a:pt x="243" y="505"/>
                    <a:pt x="237" y="501"/>
                    <a:pt x="231" y="497"/>
                  </a:cubicBezTo>
                  <a:cubicBezTo>
                    <a:pt x="227" y="495"/>
                    <a:pt x="224" y="493"/>
                    <a:pt x="221" y="491"/>
                  </a:cubicBezTo>
                  <a:cubicBezTo>
                    <a:pt x="219" y="489"/>
                    <a:pt x="210" y="483"/>
                    <a:pt x="213" y="484"/>
                  </a:cubicBezTo>
                  <a:cubicBezTo>
                    <a:pt x="201" y="475"/>
                    <a:pt x="191" y="466"/>
                    <a:pt x="181" y="456"/>
                  </a:cubicBezTo>
                  <a:cubicBezTo>
                    <a:pt x="176" y="451"/>
                    <a:pt x="172" y="446"/>
                    <a:pt x="167" y="441"/>
                  </a:cubicBezTo>
                  <a:cubicBezTo>
                    <a:pt x="166" y="440"/>
                    <a:pt x="160" y="432"/>
                    <a:pt x="163" y="435"/>
                  </a:cubicBezTo>
                  <a:cubicBezTo>
                    <a:pt x="160" y="432"/>
                    <a:pt x="158" y="429"/>
                    <a:pt x="156" y="426"/>
                  </a:cubicBezTo>
                  <a:cubicBezTo>
                    <a:pt x="139" y="402"/>
                    <a:pt x="125" y="377"/>
                    <a:pt x="114" y="351"/>
                  </a:cubicBezTo>
                  <a:cubicBezTo>
                    <a:pt x="114" y="350"/>
                    <a:pt x="113" y="350"/>
                    <a:pt x="113" y="349"/>
                  </a:cubicBezTo>
                  <a:cubicBezTo>
                    <a:pt x="113" y="349"/>
                    <a:pt x="113" y="348"/>
                    <a:pt x="112" y="347"/>
                  </a:cubicBezTo>
                  <a:cubicBezTo>
                    <a:pt x="111" y="344"/>
                    <a:pt x="110" y="341"/>
                    <a:pt x="109" y="338"/>
                  </a:cubicBezTo>
                  <a:cubicBezTo>
                    <a:pt x="106" y="331"/>
                    <a:pt x="104" y="324"/>
                    <a:pt x="102" y="317"/>
                  </a:cubicBezTo>
                  <a:cubicBezTo>
                    <a:pt x="97" y="303"/>
                    <a:pt x="94" y="290"/>
                    <a:pt x="91" y="276"/>
                  </a:cubicBezTo>
                  <a:cubicBezTo>
                    <a:pt x="84" y="249"/>
                    <a:pt x="80" y="222"/>
                    <a:pt x="78" y="195"/>
                  </a:cubicBezTo>
                  <a:cubicBezTo>
                    <a:pt x="77" y="188"/>
                    <a:pt x="76" y="182"/>
                    <a:pt x="76" y="176"/>
                  </a:cubicBezTo>
                  <a:cubicBezTo>
                    <a:pt x="76" y="173"/>
                    <a:pt x="76" y="169"/>
                    <a:pt x="75" y="166"/>
                  </a:cubicBezTo>
                  <a:cubicBezTo>
                    <a:pt x="76" y="175"/>
                    <a:pt x="75" y="163"/>
                    <a:pt x="75" y="161"/>
                  </a:cubicBezTo>
                  <a:cubicBezTo>
                    <a:pt x="75" y="149"/>
                    <a:pt x="74" y="137"/>
                    <a:pt x="74" y="124"/>
                  </a:cubicBezTo>
                  <a:cubicBezTo>
                    <a:pt x="74" y="103"/>
                    <a:pt x="75" y="81"/>
                    <a:pt x="77" y="60"/>
                  </a:cubicBezTo>
                  <a:cubicBezTo>
                    <a:pt x="78" y="44"/>
                    <a:pt x="80" y="28"/>
                    <a:pt x="82" y="12"/>
                  </a:cubicBezTo>
                  <a:cubicBezTo>
                    <a:pt x="71" y="13"/>
                    <a:pt x="59" y="12"/>
                    <a:pt x="49" y="10"/>
                  </a:cubicBezTo>
                  <a:cubicBezTo>
                    <a:pt x="36" y="8"/>
                    <a:pt x="22" y="5"/>
                    <a:pt x="9" y="0"/>
                  </a:cubicBezTo>
                  <a:moveTo>
                    <a:pt x="335" y="540"/>
                  </a:moveTo>
                  <a:cubicBezTo>
                    <a:pt x="334" y="540"/>
                    <a:pt x="330" y="539"/>
                    <a:pt x="335" y="540"/>
                  </a:cubicBezTo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i$ľîḍè">
              <a:extLst>
                <a:ext uri="{FF2B5EF4-FFF2-40B4-BE49-F238E27FC236}">
                  <a16:creationId xmlns:a16="http://schemas.microsoft.com/office/drawing/2014/main" id="{01F67F03-2C13-4535-9551-B93954DDE284}"/>
                </a:ext>
              </a:extLst>
            </p:cNvPr>
            <p:cNvSpPr/>
            <p:nvPr/>
          </p:nvSpPr>
          <p:spPr bwMode="auto">
            <a:xfrm>
              <a:off x="6335713" y="3033713"/>
              <a:ext cx="250825" cy="425450"/>
            </a:xfrm>
            <a:custGeom>
              <a:avLst/>
              <a:gdLst>
                <a:gd name="T0" fmla="*/ 188 w 208"/>
                <a:gd name="T1" fmla="*/ 19 h 354"/>
                <a:gd name="T2" fmla="*/ 67 w 208"/>
                <a:gd name="T3" fmla="*/ 1 h 354"/>
                <a:gd name="T4" fmla="*/ 49 w 208"/>
                <a:gd name="T5" fmla="*/ 15 h 354"/>
                <a:gd name="T6" fmla="*/ 9 w 208"/>
                <a:gd name="T7" fmla="*/ 290 h 354"/>
                <a:gd name="T8" fmla="*/ 3 w 208"/>
                <a:gd name="T9" fmla="*/ 329 h 354"/>
                <a:gd name="T10" fmla="*/ 35 w 208"/>
                <a:gd name="T11" fmla="*/ 334 h 354"/>
                <a:gd name="T12" fmla="*/ 75 w 208"/>
                <a:gd name="T13" fmla="*/ 58 h 354"/>
                <a:gd name="T14" fmla="*/ 78 w 208"/>
                <a:gd name="T15" fmla="*/ 35 h 354"/>
                <a:gd name="T16" fmla="*/ 183 w 208"/>
                <a:gd name="T17" fmla="*/ 51 h 354"/>
                <a:gd name="T18" fmla="*/ 188 w 208"/>
                <a:gd name="T19" fmla="*/ 1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354">
                  <a:moveTo>
                    <a:pt x="188" y="19"/>
                  </a:moveTo>
                  <a:cubicBezTo>
                    <a:pt x="147" y="13"/>
                    <a:pt x="107" y="7"/>
                    <a:pt x="67" y="1"/>
                  </a:cubicBezTo>
                  <a:cubicBezTo>
                    <a:pt x="58" y="0"/>
                    <a:pt x="50" y="6"/>
                    <a:pt x="49" y="15"/>
                  </a:cubicBezTo>
                  <a:cubicBezTo>
                    <a:pt x="35" y="107"/>
                    <a:pt x="22" y="199"/>
                    <a:pt x="9" y="290"/>
                  </a:cubicBezTo>
                  <a:cubicBezTo>
                    <a:pt x="7" y="303"/>
                    <a:pt x="5" y="316"/>
                    <a:pt x="3" y="329"/>
                  </a:cubicBezTo>
                  <a:cubicBezTo>
                    <a:pt x="0" y="350"/>
                    <a:pt x="32" y="354"/>
                    <a:pt x="35" y="334"/>
                  </a:cubicBezTo>
                  <a:cubicBezTo>
                    <a:pt x="48" y="242"/>
                    <a:pt x="62" y="150"/>
                    <a:pt x="75" y="58"/>
                  </a:cubicBezTo>
                  <a:cubicBezTo>
                    <a:pt x="76" y="51"/>
                    <a:pt x="77" y="43"/>
                    <a:pt x="78" y="35"/>
                  </a:cubicBezTo>
                  <a:cubicBezTo>
                    <a:pt x="113" y="40"/>
                    <a:pt x="148" y="46"/>
                    <a:pt x="183" y="51"/>
                  </a:cubicBezTo>
                  <a:cubicBezTo>
                    <a:pt x="204" y="54"/>
                    <a:pt x="208" y="22"/>
                    <a:pt x="188" y="19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šḷîḍe">
              <a:extLst>
                <a:ext uri="{FF2B5EF4-FFF2-40B4-BE49-F238E27FC236}">
                  <a16:creationId xmlns:a16="http://schemas.microsoft.com/office/drawing/2014/main" id="{6DE03E50-2B45-4D4C-A3F9-FB96AA331FF1}"/>
                </a:ext>
              </a:extLst>
            </p:cNvPr>
            <p:cNvSpPr/>
            <p:nvPr/>
          </p:nvSpPr>
          <p:spPr bwMode="auto">
            <a:xfrm>
              <a:off x="6565900" y="3036888"/>
              <a:ext cx="85725" cy="85725"/>
            </a:xfrm>
            <a:custGeom>
              <a:avLst/>
              <a:gdLst>
                <a:gd name="T0" fmla="*/ 41 w 71"/>
                <a:gd name="T1" fmla="*/ 70 h 71"/>
                <a:gd name="T2" fmla="*/ 0 w 71"/>
                <a:gd name="T3" fmla="*/ 64 h 71"/>
                <a:gd name="T4" fmla="*/ 9 w 71"/>
                <a:gd name="T5" fmla="*/ 0 h 71"/>
                <a:gd name="T6" fmla="*/ 50 w 71"/>
                <a:gd name="T7" fmla="*/ 6 h 71"/>
                <a:gd name="T8" fmla="*/ 70 w 71"/>
                <a:gd name="T9" fmla="*/ 32 h 71"/>
                <a:gd name="T10" fmla="*/ 67 w 71"/>
                <a:gd name="T11" fmla="*/ 50 h 71"/>
                <a:gd name="T12" fmla="*/ 41 w 71"/>
                <a:gd name="T13" fmla="*/ 7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1">
                  <a:moveTo>
                    <a:pt x="41" y="7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63" y="8"/>
                    <a:pt x="71" y="20"/>
                    <a:pt x="70" y="32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5" y="63"/>
                    <a:pt x="53" y="71"/>
                    <a:pt x="41" y="70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ṩļîďè">
              <a:extLst>
                <a:ext uri="{FF2B5EF4-FFF2-40B4-BE49-F238E27FC236}">
                  <a16:creationId xmlns:a16="http://schemas.microsoft.com/office/drawing/2014/main" id="{868053DC-AD71-450D-AF92-88EE7AB1359D}"/>
                </a:ext>
              </a:extLst>
            </p:cNvPr>
            <p:cNvSpPr/>
            <p:nvPr/>
          </p:nvSpPr>
          <p:spPr bwMode="auto">
            <a:xfrm>
              <a:off x="6497638" y="3024188"/>
              <a:ext cx="85725" cy="95250"/>
            </a:xfrm>
            <a:custGeom>
              <a:avLst/>
              <a:gdLst>
                <a:gd name="T0" fmla="*/ 60 w 71"/>
                <a:gd name="T1" fmla="*/ 80 h 80"/>
                <a:gd name="T2" fmla="*/ 25 w 71"/>
                <a:gd name="T3" fmla="*/ 75 h 80"/>
                <a:gd name="T4" fmla="*/ 2 w 71"/>
                <a:gd name="T5" fmla="*/ 45 h 80"/>
                <a:gd name="T6" fmla="*/ 5 w 71"/>
                <a:gd name="T7" fmla="*/ 25 h 80"/>
                <a:gd name="T8" fmla="*/ 35 w 71"/>
                <a:gd name="T9" fmla="*/ 2 h 80"/>
                <a:gd name="T10" fmla="*/ 71 w 71"/>
                <a:gd name="T11" fmla="*/ 7 h 80"/>
                <a:gd name="T12" fmla="*/ 60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60" y="80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10" y="73"/>
                    <a:pt x="0" y="60"/>
                    <a:pt x="2" y="4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10"/>
                    <a:pt x="21" y="0"/>
                    <a:pt x="35" y="2"/>
                  </a:cubicBezTo>
                  <a:cubicBezTo>
                    <a:pt x="71" y="7"/>
                    <a:pt x="71" y="7"/>
                    <a:pt x="71" y="7"/>
                  </a:cubicBezTo>
                  <a:lnTo>
                    <a:pt x="60" y="80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ṥḷiḍe">
              <a:extLst>
                <a:ext uri="{FF2B5EF4-FFF2-40B4-BE49-F238E27FC236}">
                  <a16:creationId xmlns:a16="http://schemas.microsoft.com/office/drawing/2014/main" id="{83D10149-5889-4710-B4E1-57029378B081}"/>
                </a:ext>
              </a:extLst>
            </p:cNvPr>
            <p:cNvSpPr/>
            <p:nvPr/>
          </p:nvSpPr>
          <p:spPr bwMode="auto">
            <a:xfrm>
              <a:off x="6913563" y="3103563"/>
              <a:ext cx="193675" cy="450850"/>
            </a:xfrm>
            <a:custGeom>
              <a:avLst/>
              <a:gdLst>
                <a:gd name="T0" fmla="*/ 25 w 160"/>
                <a:gd name="T1" fmla="*/ 3 h 374"/>
                <a:gd name="T2" fmla="*/ 146 w 160"/>
                <a:gd name="T3" fmla="*/ 21 h 374"/>
                <a:gd name="T4" fmla="*/ 159 w 160"/>
                <a:gd name="T5" fmla="*/ 39 h 374"/>
                <a:gd name="T6" fmla="*/ 119 w 160"/>
                <a:gd name="T7" fmla="*/ 314 h 374"/>
                <a:gd name="T8" fmla="*/ 114 w 160"/>
                <a:gd name="T9" fmla="*/ 353 h 374"/>
                <a:gd name="T10" fmla="*/ 82 w 160"/>
                <a:gd name="T11" fmla="*/ 349 h 374"/>
                <a:gd name="T12" fmla="*/ 122 w 160"/>
                <a:gd name="T13" fmla="*/ 73 h 374"/>
                <a:gd name="T14" fmla="*/ 125 w 160"/>
                <a:gd name="T15" fmla="*/ 50 h 374"/>
                <a:gd name="T16" fmla="*/ 20 w 160"/>
                <a:gd name="T17" fmla="*/ 35 h 374"/>
                <a:gd name="T18" fmla="*/ 25 w 160"/>
                <a:gd name="T19" fmla="*/ 3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74">
                  <a:moveTo>
                    <a:pt x="25" y="3"/>
                  </a:moveTo>
                  <a:cubicBezTo>
                    <a:pt x="65" y="9"/>
                    <a:pt x="105" y="15"/>
                    <a:pt x="146" y="21"/>
                  </a:cubicBezTo>
                  <a:cubicBezTo>
                    <a:pt x="154" y="22"/>
                    <a:pt x="160" y="30"/>
                    <a:pt x="159" y="39"/>
                  </a:cubicBezTo>
                  <a:cubicBezTo>
                    <a:pt x="146" y="131"/>
                    <a:pt x="133" y="222"/>
                    <a:pt x="119" y="314"/>
                  </a:cubicBezTo>
                  <a:cubicBezTo>
                    <a:pt x="118" y="327"/>
                    <a:pt x="116" y="340"/>
                    <a:pt x="114" y="353"/>
                  </a:cubicBezTo>
                  <a:cubicBezTo>
                    <a:pt x="111" y="374"/>
                    <a:pt x="79" y="369"/>
                    <a:pt x="82" y="349"/>
                  </a:cubicBezTo>
                  <a:cubicBezTo>
                    <a:pt x="95" y="257"/>
                    <a:pt x="108" y="165"/>
                    <a:pt x="122" y="73"/>
                  </a:cubicBezTo>
                  <a:cubicBezTo>
                    <a:pt x="123" y="65"/>
                    <a:pt x="124" y="58"/>
                    <a:pt x="125" y="50"/>
                  </a:cubicBezTo>
                  <a:cubicBezTo>
                    <a:pt x="90" y="45"/>
                    <a:pt x="55" y="40"/>
                    <a:pt x="20" y="35"/>
                  </a:cubicBezTo>
                  <a:cubicBezTo>
                    <a:pt x="0" y="32"/>
                    <a:pt x="4" y="0"/>
                    <a:pt x="25" y="3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ṩḻídê">
              <a:extLst>
                <a:ext uri="{FF2B5EF4-FFF2-40B4-BE49-F238E27FC236}">
                  <a16:creationId xmlns:a16="http://schemas.microsoft.com/office/drawing/2014/main" id="{CD0272A2-E612-463D-AA43-AD3A5EF97F9D}"/>
                </a:ext>
              </a:extLst>
            </p:cNvPr>
            <p:cNvSpPr/>
            <p:nvPr/>
          </p:nvSpPr>
          <p:spPr bwMode="auto">
            <a:xfrm>
              <a:off x="6850063" y="3076575"/>
              <a:ext cx="85725" cy="87313"/>
            </a:xfrm>
            <a:custGeom>
              <a:avLst/>
              <a:gdLst>
                <a:gd name="T0" fmla="*/ 21 w 71"/>
                <a:gd name="T1" fmla="*/ 66 h 72"/>
                <a:gd name="T2" fmla="*/ 62 w 71"/>
                <a:gd name="T3" fmla="*/ 72 h 72"/>
                <a:gd name="T4" fmla="*/ 71 w 71"/>
                <a:gd name="T5" fmla="*/ 8 h 72"/>
                <a:gd name="T6" fmla="*/ 30 w 71"/>
                <a:gd name="T7" fmla="*/ 2 h 72"/>
                <a:gd name="T8" fmla="*/ 4 w 71"/>
                <a:gd name="T9" fmla="*/ 22 h 72"/>
                <a:gd name="T10" fmla="*/ 2 w 71"/>
                <a:gd name="T11" fmla="*/ 39 h 72"/>
                <a:gd name="T12" fmla="*/ 21 w 71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2">
                  <a:moveTo>
                    <a:pt x="21" y="66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18" y="0"/>
                    <a:pt x="6" y="9"/>
                    <a:pt x="4" y="22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0" y="52"/>
                    <a:pt x="9" y="64"/>
                    <a:pt x="21" y="66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îšľiďè">
              <a:extLst>
                <a:ext uri="{FF2B5EF4-FFF2-40B4-BE49-F238E27FC236}">
                  <a16:creationId xmlns:a16="http://schemas.microsoft.com/office/drawing/2014/main" id="{9CE41E03-FFD1-4AD4-B0FF-AFA70E502542}"/>
                </a:ext>
              </a:extLst>
            </p:cNvPr>
            <p:cNvSpPr/>
            <p:nvPr/>
          </p:nvSpPr>
          <p:spPr bwMode="auto">
            <a:xfrm>
              <a:off x="6916738" y="3078163"/>
              <a:ext cx="85725" cy="98425"/>
            </a:xfrm>
            <a:custGeom>
              <a:avLst/>
              <a:gdLst>
                <a:gd name="T0" fmla="*/ 0 w 71"/>
                <a:gd name="T1" fmla="*/ 74 h 81"/>
                <a:gd name="T2" fmla="*/ 36 w 71"/>
                <a:gd name="T3" fmla="*/ 79 h 81"/>
                <a:gd name="T4" fmla="*/ 66 w 71"/>
                <a:gd name="T5" fmla="*/ 56 h 81"/>
                <a:gd name="T6" fmla="*/ 69 w 71"/>
                <a:gd name="T7" fmla="*/ 36 h 81"/>
                <a:gd name="T8" fmla="*/ 46 w 71"/>
                <a:gd name="T9" fmla="*/ 5 h 81"/>
                <a:gd name="T10" fmla="*/ 11 w 71"/>
                <a:gd name="T11" fmla="*/ 0 h 81"/>
                <a:gd name="T12" fmla="*/ 0 w 71"/>
                <a:gd name="T13" fmla="*/ 7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1">
                  <a:moveTo>
                    <a:pt x="0" y="74"/>
                  </a:moveTo>
                  <a:cubicBezTo>
                    <a:pt x="36" y="79"/>
                    <a:pt x="36" y="79"/>
                    <a:pt x="36" y="79"/>
                  </a:cubicBezTo>
                  <a:cubicBezTo>
                    <a:pt x="50" y="81"/>
                    <a:pt x="64" y="71"/>
                    <a:pt x="66" y="5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1" y="21"/>
                    <a:pt x="61" y="8"/>
                    <a:pt x="46" y="5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ṧlîdê">
              <a:extLst>
                <a:ext uri="{FF2B5EF4-FFF2-40B4-BE49-F238E27FC236}">
                  <a16:creationId xmlns:a16="http://schemas.microsoft.com/office/drawing/2014/main" id="{1632A807-5108-44BE-989A-170EB8AD83C4}"/>
                </a:ext>
              </a:extLst>
            </p:cNvPr>
            <p:cNvSpPr/>
            <p:nvPr/>
          </p:nvSpPr>
          <p:spPr bwMode="auto">
            <a:xfrm>
              <a:off x="6630988" y="4132263"/>
              <a:ext cx="1588" cy="47625"/>
            </a:xfrm>
            <a:custGeom>
              <a:avLst/>
              <a:gdLst>
                <a:gd name="T0" fmla="*/ 2 w 2"/>
                <a:gd name="T1" fmla="*/ 0 h 39"/>
                <a:gd name="T2" fmla="*/ 2 w 2"/>
                <a:gd name="T3" fmla="*/ 3 h 39"/>
                <a:gd name="T4" fmla="*/ 0 w 2"/>
                <a:gd name="T5" fmla="*/ 39 h 39"/>
                <a:gd name="T6" fmla="*/ 0 w 2"/>
                <a:gd name="T7" fmla="*/ 39 h 39"/>
                <a:gd name="T8" fmla="*/ 2 w 2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9">
                  <a:moveTo>
                    <a:pt x="2" y="0"/>
                  </a:moveTo>
                  <a:cubicBezTo>
                    <a:pt x="2" y="1"/>
                    <a:pt x="2" y="2"/>
                    <a:pt x="2" y="3"/>
                  </a:cubicBezTo>
                  <a:cubicBezTo>
                    <a:pt x="1" y="15"/>
                    <a:pt x="0" y="27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4"/>
                    <a:pt x="1" y="9"/>
                    <a:pt x="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ṧ1îḋe">
              <a:extLst>
                <a:ext uri="{FF2B5EF4-FFF2-40B4-BE49-F238E27FC236}">
                  <a16:creationId xmlns:a16="http://schemas.microsoft.com/office/drawing/2014/main" id="{9C89203D-5DA5-4235-A2DA-B7760D0C433C}"/>
                </a:ext>
              </a:extLst>
            </p:cNvPr>
            <p:cNvSpPr/>
            <p:nvPr/>
          </p:nvSpPr>
          <p:spPr bwMode="auto">
            <a:xfrm>
              <a:off x="6545263" y="4095750"/>
              <a:ext cx="88900" cy="84138"/>
            </a:xfrm>
            <a:custGeom>
              <a:avLst/>
              <a:gdLst>
                <a:gd name="T0" fmla="*/ 4 w 74"/>
                <a:gd name="T1" fmla="*/ 0 h 69"/>
                <a:gd name="T2" fmla="*/ 0 w 74"/>
                <a:gd name="T3" fmla="*/ 28 h 69"/>
                <a:gd name="T4" fmla="*/ 71 w 74"/>
                <a:gd name="T5" fmla="*/ 69 h 69"/>
                <a:gd name="T6" fmla="*/ 73 w 74"/>
                <a:gd name="T7" fmla="*/ 33 h 69"/>
                <a:gd name="T8" fmla="*/ 73 w 74"/>
                <a:gd name="T9" fmla="*/ 30 h 69"/>
                <a:gd name="T10" fmla="*/ 74 w 74"/>
                <a:gd name="T11" fmla="*/ 18 h 69"/>
                <a:gd name="T12" fmla="*/ 4 w 74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9">
                  <a:moveTo>
                    <a:pt x="4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57"/>
                    <a:pt x="72" y="45"/>
                    <a:pt x="73" y="33"/>
                  </a:cubicBezTo>
                  <a:cubicBezTo>
                    <a:pt x="73" y="32"/>
                    <a:pt x="73" y="31"/>
                    <a:pt x="73" y="30"/>
                  </a:cubicBezTo>
                  <a:cubicBezTo>
                    <a:pt x="74" y="22"/>
                    <a:pt x="74" y="18"/>
                    <a:pt x="74" y="18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386F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ṥḷíḓê">
              <a:extLst>
                <a:ext uri="{FF2B5EF4-FFF2-40B4-BE49-F238E27FC236}">
                  <a16:creationId xmlns:a16="http://schemas.microsoft.com/office/drawing/2014/main" id="{444299CA-296A-42E1-BE4F-31573B6BA2DE}"/>
                </a:ext>
              </a:extLst>
            </p:cNvPr>
            <p:cNvSpPr/>
            <p:nvPr/>
          </p:nvSpPr>
          <p:spPr bwMode="auto">
            <a:xfrm>
              <a:off x="6303963" y="3402013"/>
              <a:ext cx="763588" cy="760413"/>
            </a:xfrm>
            <a:custGeom>
              <a:avLst/>
              <a:gdLst>
                <a:gd name="T0" fmla="*/ 1 w 633"/>
                <a:gd name="T1" fmla="*/ 199 h 631"/>
                <a:gd name="T2" fmla="*/ 377 w 633"/>
                <a:gd name="T3" fmla="*/ 580 h 631"/>
                <a:gd name="T4" fmla="*/ 613 w 633"/>
                <a:gd name="T5" fmla="*/ 190 h 631"/>
                <a:gd name="T6" fmla="*/ 628 w 633"/>
                <a:gd name="T7" fmla="*/ 112 h 631"/>
                <a:gd name="T8" fmla="*/ 568 w 633"/>
                <a:gd name="T9" fmla="*/ 154 h 631"/>
                <a:gd name="T10" fmla="*/ 551 w 633"/>
                <a:gd name="T11" fmla="*/ 223 h 631"/>
                <a:gd name="T12" fmla="*/ 548 w 633"/>
                <a:gd name="T13" fmla="*/ 234 h 631"/>
                <a:gd name="T14" fmla="*/ 476 w 633"/>
                <a:gd name="T15" fmla="*/ 408 h 631"/>
                <a:gd name="T16" fmla="*/ 469 w 633"/>
                <a:gd name="T17" fmla="*/ 419 h 631"/>
                <a:gd name="T18" fmla="*/ 435 w 633"/>
                <a:gd name="T19" fmla="*/ 467 h 631"/>
                <a:gd name="T20" fmla="*/ 418 w 633"/>
                <a:gd name="T21" fmla="*/ 487 h 631"/>
                <a:gd name="T22" fmla="*/ 413 w 633"/>
                <a:gd name="T23" fmla="*/ 491 h 631"/>
                <a:gd name="T24" fmla="*/ 371 w 633"/>
                <a:gd name="T25" fmla="*/ 524 h 631"/>
                <a:gd name="T26" fmla="*/ 359 w 633"/>
                <a:gd name="T27" fmla="*/ 531 h 631"/>
                <a:gd name="T28" fmla="*/ 322 w 633"/>
                <a:gd name="T29" fmla="*/ 546 h 631"/>
                <a:gd name="T30" fmla="*/ 314 w 633"/>
                <a:gd name="T31" fmla="*/ 548 h 631"/>
                <a:gd name="T32" fmla="*/ 276 w 633"/>
                <a:gd name="T33" fmla="*/ 552 h 631"/>
                <a:gd name="T34" fmla="*/ 272 w 633"/>
                <a:gd name="T35" fmla="*/ 551 h 631"/>
                <a:gd name="T36" fmla="*/ 218 w 633"/>
                <a:gd name="T37" fmla="*/ 543 h 631"/>
                <a:gd name="T38" fmla="*/ 214 w 633"/>
                <a:gd name="T39" fmla="*/ 542 h 631"/>
                <a:gd name="T40" fmla="*/ 186 w 633"/>
                <a:gd name="T41" fmla="*/ 531 h 631"/>
                <a:gd name="T42" fmla="*/ 171 w 633"/>
                <a:gd name="T43" fmla="*/ 523 h 631"/>
                <a:gd name="T44" fmla="*/ 159 w 633"/>
                <a:gd name="T45" fmla="*/ 515 h 631"/>
                <a:gd name="T46" fmla="*/ 139 w 633"/>
                <a:gd name="T47" fmla="*/ 499 h 631"/>
                <a:gd name="T48" fmla="*/ 113 w 633"/>
                <a:gd name="T49" fmla="*/ 467 h 631"/>
                <a:gd name="T50" fmla="*/ 102 w 633"/>
                <a:gd name="T51" fmla="*/ 450 h 631"/>
                <a:gd name="T52" fmla="*/ 70 w 633"/>
                <a:gd name="T53" fmla="*/ 371 h 631"/>
                <a:gd name="T54" fmla="*/ 69 w 633"/>
                <a:gd name="T55" fmla="*/ 367 h 631"/>
                <a:gd name="T56" fmla="*/ 63 w 633"/>
                <a:gd name="T57" fmla="*/ 340 h 631"/>
                <a:gd name="T58" fmla="*/ 52 w 633"/>
                <a:gd name="T59" fmla="*/ 228 h 631"/>
                <a:gd name="T60" fmla="*/ 52 w 633"/>
                <a:gd name="T61" fmla="*/ 202 h 631"/>
                <a:gd name="T62" fmla="*/ 53 w 633"/>
                <a:gd name="T63" fmla="*/ 163 h 631"/>
                <a:gd name="T64" fmla="*/ 68 w 633"/>
                <a:gd name="T65" fmla="*/ 35 h 631"/>
                <a:gd name="T66" fmla="*/ 47 w 633"/>
                <a:gd name="T67" fmla="*/ 2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3" h="631">
                  <a:moveTo>
                    <a:pt x="18" y="24"/>
                  </a:moveTo>
                  <a:cubicBezTo>
                    <a:pt x="6" y="81"/>
                    <a:pt x="2" y="141"/>
                    <a:pt x="1" y="199"/>
                  </a:cubicBezTo>
                  <a:cubicBezTo>
                    <a:pt x="0" y="303"/>
                    <a:pt x="12" y="418"/>
                    <a:pt x="75" y="503"/>
                  </a:cubicBezTo>
                  <a:cubicBezTo>
                    <a:pt x="143" y="594"/>
                    <a:pt x="274" y="631"/>
                    <a:pt x="377" y="580"/>
                  </a:cubicBezTo>
                  <a:cubicBezTo>
                    <a:pt x="475" y="531"/>
                    <a:pt x="532" y="426"/>
                    <a:pt x="570" y="328"/>
                  </a:cubicBezTo>
                  <a:cubicBezTo>
                    <a:pt x="587" y="283"/>
                    <a:pt x="601" y="237"/>
                    <a:pt x="613" y="190"/>
                  </a:cubicBezTo>
                  <a:cubicBezTo>
                    <a:pt x="618" y="165"/>
                    <a:pt x="624" y="140"/>
                    <a:pt x="628" y="115"/>
                  </a:cubicBezTo>
                  <a:cubicBezTo>
                    <a:pt x="628" y="114"/>
                    <a:pt x="628" y="113"/>
                    <a:pt x="628" y="112"/>
                  </a:cubicBezTo>
                  <a:cubicBezTo>
                    <a:pt x="633" y="79"/>
                    <a:pt x="582" y="72"/>
                    <a:pt x="577" y="104"/>
                  </a:cubicBezTo>
                  <a:cubicBezTo>
                    <a:pt x="575" y="121"/>
                    <a:pt x="572" y="138"/>
                    <a:pt x="568" y="154"/>
                  </a:cubicBezTo>
                  <a:cubicBezTo>
                    <a:pt x="564" y="172"/>
                    <a:pt x="560" y="190"/>
                    <a:pt x="555" y="208"/>
                  </a:cubicBezTo>
                  <a:cubicBezTo>
                    <a:pt x="554" y="213"/>
                    <a:pt x="552" y="218"/>
                    <a:pt x="551" y="223"/>
                  </a:cubicBezTo>
                  <a:cubicBezTo>
                    <a:pt x="549" y="230"/>
                    <a:pt x="552" y="219"/>
                    <a:pt x="550" y="225"/>
                  </a:cubicBezTo>
                  <a:cubicBezTo>
                    <a:pt x="550" y="228"/>
                    <a:pt x="549" y="231"/>
                    <a:pt x="548" y="234"/>
                  </a:cubicBezTo>
                  <a:cubicBezTo>
                    <a:pt x="545" y="245"/>
                    <a:pt x="541" y="256"/>
                    <a:pt x="537" y="267"/>
                  </a:cubicBezTo>
                  <a:cubicBezTo>
                    <a:pt x="521" y="316"/>
                    <a:pt x="502" y="363"/>
                    <a:pt x="476" y="408"/>
                  </a:cubicBezTo>
                  <a:cubicBezTo>
                    <a:pt x="475" y="410"/>
                    <a:pt x="473" y="413"/>
                    <a:pt x="471" y="416"/>
                  </a:cubicBezTo>
                  <a:cubicBezTo>
                    <a:pt x="474" y="411"/>
                    <a:pt x="470" y="418"/>
                    <a:pt x="469" y="419"/>
                  </a:cubicBezTo>
                  <a:cubicBezTo>
                    <a:pt x="466" y="425"/>
                    <a:pt x="462" y="431"/>
                    <a:pt x="458" y="436"/>
                  </a:cubicBezTo>
                  <a:cubicBezTo>
                    <a:pt x="451" y="447"/>
                    <a:pt x="443" y="457"/>
                    <a:pt x="435" y="467"/>
                  </a:cubicBezTo>
                  <a:cubicBezTo>
                    <a:pt x="431" y="472"/>
                    <a:pt x="427" y="476"/>
                    <a:pt x="423" y="480"/>
                  </a:cubicBezTo>
                  <a:cubicBezTo>
                    <a:pt x="421" y="483"/>
                    <a:pt x="420" y="485"/>
                    <a:pt x="418" y="487"/>
                  </a:cubicBezTo>
                  <a:cubicBezTo>
                    <a:pt x="416" y="488"/>
                    <a:pt x="415" y="489"/>
                    <a:pt x="414" y="491"/>
                  </a:cubicBezTo>
                  <a:cubicBezTo>
                    <a:pt x="413" y="492"/>
                    <a:pt x="408" y="496"/>
                    <a:pt x="413" y="491"/>
                  </a:cubicBezTo>
                  <a:cubicBezTo>
                    <a:pt x="404" y="500"/>
                    <a:pt x="395" y="507"/>
                    <a:pt x="385" y="515"/>
                  </a:cubicBezTo>
                  <a:cubicBezTo>
                    <a:pt x="381" y="518"/>
                    <a:pt x="376" y="521"/>
                    <a:pt x="371" y="524"/>
                  </a:cubicBezTo>
                  <a:cubicBezTo>
                    <a:pt x="369" y="526"/>
                    <a:pt x="367" y="527"/>
                    <a:pt x="364" y="528"/>
                  </a:cubicBezTo>
                  <a:cubicBezTo>
                    <a:pt x="370" y="525"/>
                    <a:pt x="361" y="530"/>
                    <a:pt x="359" y="531"/>
                  </a:cubicBezTo>
                  <a:cubicBezTo>
                    <a:pt x="348" y="537"/>
                    <a:pt x="337" y="541"/>
                    <a:pt x="326" y="545"/>
                  </a:cubicBezTo>
                  <a:cubicBezTo>
                    <a:pt x="324" y="545"/>
                    <a:pt x="323" y="545"/>
                    <a:pt x="322" y="546"/>
                  </a:cubicBezTo>
                  <a:cubicBezTo>
                    <a:pt x="316" y="548"/>
                    <a:pt x="328" y="544"/>
                    <a:pt x="322" y="546"/>
                  </a:cubicBezTo>
                  <a:cubicBezTo>
                    <a:pt x="319" y="546"/>
                    <a:pt x="316" y="547"/>
                    <a:pt x="314" y="548"/>
                  </a:cubicBezTo>
                  <a:cubicBezTo>
                    <a:pt x="307" y="549"/>
                    <a:pt x="301" y="550"/>
                    <a:pt x="294" y="551"/>
                  </a:cubicBezTo>
                  <a:cubicBezTo>
                    <a:pt x="288" y="551"/>
                    <a:pt x="282" y="551"/>
                    <a:pt x="276" y="552"/>
                  </a:cubicBezTo>
                  <a:cubicBezTo>
                    <a:pt x="274" y="552"/>
                    <a:pt x="270" y="551"/>
                    <a:pt x="276" y="552"/>
                  </a:cubicBezTo>
                  <a:cubicBezTo>
                    <a:pt x="275" y="552"/>
                    <a:pt x="273" y="552"/>
                    <a:pt x="272" y="551"/>
                  </a:cubicBezTo>
                  <a:cubicBezTo>
                    <a:pt x="268" y="551"/>
                    <a:pt x="264" y="551"/>
                    <a:pt x="260" y="551"/>
                  </a:cubicBezTo>
                  <a:cubicBezTo>
                    <a:pt x="246" y="549"/>
                    <a:pt x="232" y="547"/>
                    <a:pt x="218" y="543"/>
                  </a:cubicBezTo>
                  <a:cubicBezTo>
                    <a:pt x="217" y="543"/>
                    <a:pt x="214" y="542"/>
                    <a:pt x="219" y="544"/>
                  </a:cubicBezTo>
                  <a:cubicBezTo>
                    <a:pt x="218" y="543"/>
                    <a:pt x="216" y="543"/>
                    <a:pt x="214" y="542"/>
                  </a:cubicBezTo>
                  <a:cubicBezTo>
                    <a:pt x="212" y="541"/>
                    <a:pt x="209" y="540"/>
                    <a:pt x="206" y="539"/>
                  </a:cubicBezTo>
                  <a:cubicBezTo>
                    <a:pt x="199" y="537"/>
                    <a:pt x="193" y="534"/>
                    <a:pt x="186" y="531"/>
                  </a:cubicBezTo>
                  <a:cubicBezTo>
                    <a:pt x="181" y="529"/>
                    <a:pt x="176" y="526"/>
                    <a:pt x="171" y="523"/>
                  </a:cubicBezTo>
                  <a:cubicBezTo>
                    <a:pt x="166" y="520"/>
                    <a:pt x="176" y="526"/>
                    <a:pt x="171" y="523"/>
                  </a:cubicBezTo>
                  <a:cubicBezTo>
                    <a:pt x="170" y="522"/>
                    <a:pt x="169" y="522"/>
                    <a:pt x="168" y="521"/>
                  </a:cubicBezTo>
                  <a:cubicBezTo>
                    <a:pt x="165" y="519"/>
                    <a:pt x="162" y="517"/>
                    <a:pt x="159" y="515"/>
                  </a:cubicBezTo>
                  <a:cubicBezTo>
                    <a:pt x="154" y="511"/>
                    <a:pt x="150" y="508"/>
                    <a:pt x="146" y="505"/>
                  </a:cubicBezTo>
                  <a:cubicBezTo>
                    <a:pt x="144" y="503"/>
                    <a:pt x="141" y="501"/>
                    <a:pt x="139" y="499"/>
                  </a:cubicBezTo>
                  <a:cubicBezTo>
                    <a:pt x="138" y="497"/>
                    <a:pt x="130" y="489"/>
                    <a:pt x="135" y="494"/>
                  </a:cubicBezTo>
                  <a:cubicBezTo>
                    <a:pt x="127" y="486"/>
                    <a:pt x="119" y="477"/>
                    <a:pt x="113" y="467"/>
                  </a:cubicBezTo>
                  <a:cubicBezTo>
                    <a:pt x="109" y="462"/>
                    <a:pt x="107" y="458"/>
                    <a:pt x="104" y="453"/>
                  </a:cubicBezTo>
                  <a:cubicBezTo>
                    <a:pt x="103" y="452"/>
                    <a:pt x="98" y="443"/>
                    <a:pt x="102" y="450"/>
                  </a:cubicBezTo>
                  <a:cubicBezTo>
                    <a:pt x="100" y="447"/>
                    <a:pt x="98" y="443"/>
                    <a:pt x="96" y="440"/>
                  </a:cubicBezTo>
                  <a:cubicBezTo>
                    <a:pt x="85" y="418"/>
                    <a:pt x="77" y="395"/>
                    <a:pt x="70" y="371"/>
                  </a:cubicBezTo>
                  <a:cubicBezTo>
                    <a:pt x="70" y="370"/>
                    <a:pt x="70" y="369"/>
                    <a:pt x="69" y="367"/>
                  </a:cubicBezTo>
                  <a:cubicBezTo>
                    <a:pt x="71" y="373"/>
                    <a:pt x="70" y="369"/>
                    <a:pt x="69" y="367"/>
                  </a:cubicBezTo>
                  <a:cubicBezTo>
                    <a:pt x="69" y="365"/>
                    <a:pt x="68" y="362"/>
                    <a:pt x="67" y="359"/>
                  </a:cubicBezTo>
                  <a:cubicBezTo>
                    <a:pt x="66" y="353"/>
                    <a:pt x="64" y="346"/>
                    <a:pt x="63" y="340"/>
                  </a:cubicBezTo>
                  <a:cubicBezTo>
                    <a:pt x="61" y="327"/>
                    <a:pt x="59" y="315"/>
                    <a:pt x="57" y="302"/>
                  </a:cubicBezTo>
                  <a:cubicBezTo>
                    <a:pt x="54" y="277"/>
                    <a:pt x="53" y="253"/>
                    <a:pt x="52" y="228"/>
                  </a:cubicBezTo>
                  <a:cubicBezTo>
                    <a:pt x="52" y="222"/>
                    <a:pt x="52" y="216"/>
                    <a:pt x="52" y="210"/>
                  </a:cubicBezTo>
                  <a:cubicBezTo>
                    <a:pt x="52" y="207"/>
                    <a:pt x="52" y="204"/>
                    <a:pt x="52" y="202"/>
                  </a:cubicBezTo>
                  <a:cubicBezTo>
                    <a:pt x="52" y="210"/>
                    <a:pt x="52" y="199"/>
                    <a:pt x="52" y="197"/>
                  </a:cubicBezTo>
                  <a:cubicBezTo>
                    <a:pt x="52" y="186"/>
                    <a:pt x="53" y="174"/>
                    <a:pt x="53" y="163"/>
                  </a:cubicBezTo>
                  <a:cubicBezTo>
                    <a:pt x="54" y="143"/>
                    <a:pt x="56" y="123"/>
                    <a:pt x="58" y="104"/>
                  </a:cubicBezTo>
                  <a:cubicBezTo>
                    <a:pt x="61" y="81"/>
                    <a:pt x="64" y="58"/>
                    <a:pt x="68" y="35"/>
                  </a:cubicBezTo>
                  <a:cubicBezTo>
                    <a:pt x="68" y="34"/>
                    <a:pt x="68" y="33"/>
                    <a:pt x="69" y="31"/>
                  </a:cubicBezTo>
                  <a:cubicBezTo>
                    <a:pt x="72" y="18"/>
                    <a:pt x="60" y="4"/>
                    <a:pt x="47" y="2"/>
                  </a:cubicBezTo>
                  <a:cubicBezTo>
                    <a:pt x="32" y="0"/>
                    <a:pt x="21" y="10"/>
                    <a:pt x="18" y="24"/>
                  </a:cubicBezTo>
                  <a:close/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šḷíḓê">
              <a:extLst>
                <a:ext uri="{FF2B5EF4-FFF2-40B4-BE49-F238E27FC236}">
                  <a16:creationId xmlns:a16="http://schemas.microsoft.com/office/drawing/2014/main" id="{5020C854-C563-4947-AFE5-D403A63A72AA}"/>
                </a:ext>
              </a:extLst>
            </p:cNvPr>
            <p:cNvSpPr/>
            <p:nvPr/>
          </p:nvSpPr>
          <p:spPr bwMode="auto">
            <a:xfrm>
              <a:off x="7037388" y="3629025"/>
              <a:ext cx="430213" cy="360363"/>
            </a:xfrm>
            <a:custGeom>
              <a:avLst/>
              <a:gdLst>
                <a:gd name="T0" fmla="*/ 356 w 356"/>
                <a:gd name="T1" fmla="*/ 201 h 300"/>
                <a:gd name="T2" fmla="*/ 239 w 356"/>
                <a:gd name="T3" fmla="*/ 118 h 300"/>
                <a:gd name="T4" fmla="*/ 30 w 356"/>
                <a:gd name="T5" fmla="*/ 0 h 300"/>
                <a:gd name="T6" fmla="*/ 0 w 356"/>
                <a:gd name="T7" fmla="*/ 48 h 300"/>
                <a:gd name="T8" fmla="*/ 198 w 356"/>
                <a:gd name="T9" fmla="*/ 273 h 300"/>
                <a:gd name="T10" fmla="*/ 314 w 356"/>
                <a:gd name="T11" fmla="*/ 288 h 300"/>
                <a:gd name="T12" fmla="*/ 356 w 356"/>
                <a:gd name="T13" fmla="*/ 201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300">
                  <a:moveTo>
                    <a:pt x="356" y="201"/>
                  </a:moveTo>
                  <a:cubicBezTo>
                    <a:pt x="239" y="118"/>
                    <a:pt x="239" y="118"/>
                    <a:pt x="239" y="1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73"/>
                    <a:pt x="310" y="300"/>
                    <a:pt x="314" y="288"/>
                  </a:cubicBezTo>
                  <a:cubicBezTo>
                    <a:pt x="318" y="276"/>
                    <a:pt x="356" y="201"/>
                    <a:pt x="356" y="201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ŝḷïďé">
              <a:extLst>
                <a:ext uri="{FF2B5EF4-FFF2-40B4-BE49-F238E27FC236}">
                  <a16:creationId xmlns:a16="http://schemas.microsoft.com/office/drawing/2014/main" id="{0DB03730-D1F2-44EC-AEB0-8D16058AC3DD}"/>
                </a:ext>
              </a:extLst>
            </p:cNvPr>
            <p:cNvSpPr/>
            <p:nvPr/>
          </p:nvSpPr>
          <p:spPr bwMode="auto">
            <a:xfrm>
              <a:off x="6935788" y="3544888"/>
              <a:ext cx="166688" cy="163513"/>
            </a:xfrm>
            <a:custGeom>
              <a:avLst/>
              <a:gdLst>
                <a:gd name="T0" fmla="*/ 94 w 105"/>
                <a:gd name="T1" fmla="*/ 61 h 103"/>
                <a:gd name="T2" fmla="*/ 61 w 105"/>
                <a:gd name="T3" fmla="*/ 0 h 103"/>
                <a:gd name="T4" fmla="*/ 0 w 105"/>
                <a:gd name="T5" fmla="*/ 8 h 103"/>
                <a:gd name="T6" fmla="*/ 1 w 105"/>
                <a:gd name="T7" fmla="*/ 96 h 103"/>
                <a:gd name="T8" fmla="*/ 12 w 105"/>
                <a:gd name="T9" fmla="*/ 103 h 103"/>
                <a:gd name="T10" fmla="*/ 18 w 105"/>
                <a:gd name="T11" fmla="*/ 86 h 103"/>
                <a:gd name="T12" fmla="*/ 58 w 105"/>
                <a:gd name="T13" fmla="*/ 103 h 103"/>
                <a:gd name="T14" fmla="*/ 105 w 105"/>
                <a:gd name="T15" fmla="*/ 81 h 103"/>
                <a:gd name="T16" fmla="*/ 94 w 105"/>
                <a:gd name="T17" fmla="*/ 6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3">
                  <a:moveTo>
                    <a:pt x="94" y="61"/>
                  </a:moveTo>
                  <a:lnTo>
                    <a:pt x="61" y="0"/>
                  </a:lnTo>
                  <a:lnTo>
                    <a:pt x="0" y="8"/>
                  </a:lnTo>
                  <a:lnTo>
                    <a:pt x="1" y="96"/>
                  </a:lnTo>
                  <a:lnTo>
                    <a:pt x="12" y="103"/>
                  </a:lnTo>
                  <a:lnTo>
                    <a:pt x="18" y="86"/>
                  </a:lnTo>
                  <a:lnTo>
                    <a:pt x="58" y="103"/>
                  </a:lnTo>
                  <a:lnTo>
                    <a:pt x="105" y="81"/>
                  </a:lnTo>
                  <a:lnTo>
                    <a:pt x="94" y="61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Sľiḍe">
              <a:extLst>
                <a:ext uri="{FF2B5EF4-FFF2-40B4-BE49-F238E27FC236}">
                  <a16:creationId xmlns:a16="http://schemas.microsoft.com/office/drawing/2014/main" id="{3B491D4A-C463-4E43-BCDE-59BE1ECBDB1B}"/>
                </a:ext>
              </a:extLst>
            </p:cNvPr>
            <p:cNvSpPr/>
            <p:nvPr/>
          </p:nvSpPr>
          <p:spPr bwMode="auto">
            <a:xfrm>
              <a:off x="6091238" y="3381375"/>
              <a:ext cx="342900" cy="511175"/>
            </a:xfrm>
            <a:custGeom>
              <a:avLst/>
              <a:gdLst>
                <a:gd name="T0" fmla="*/ 0 w 284"/>
                <a:gd name="T1" fmla="*/ 320 h 424"/>
                <a:gd name="T2" fmla="*/ 20 w 284"/>
                <a:gd name="T3" fmla="*/ 232 h 424"/>
                <a:gd name="T4" fmla="*/ 192 w 284"/>
                <a:gd name="T5" fmla="*/ 20 h 424"/>
                <a:gd name="T6" fmla="*/ 268 w 284"/>
                <a:gd name="T7" fmla="*/ 0 h 424"/>
                <a:gd name="T8" fmla="*/ 284 w 284"/>
                <a:gd name="T9" fmla="*/ 60 h 424"/>
                <a:gd name="T10" fmla="*/ 232 w 284"/>
                <a:gd name="T11" fmla="*/ 150 h 424"/>
                <a:gd name="T12" fmla="*/ 224 w 284"/>
                <a:gd name="T13" fmla="*/ 136 h 424"/>
                <a:gd name="T14" fmla="*/ 182 w 284"/>
                <a:gd name="T15" fmla="*/ 134 h 424"/>
                <a:gd name="T16" fmla="*/ 176 w 284"/>
                <a:gd name="T17" fmla="*/ 160 h 424"/>
                <a:gd name="T18" fmla="*/ 142 w 284"/>
                <a:gd name="T19" fmla="*/ 162 h 424"/>
                <a:gd name="T20" fmla="*/ 120 w 284"/>
                <a:gd name="T21" fmla="*/ 372 h 424"/>
                <a:gd name="T22" fmla="*/ 36 w 284"/>
                <a:gd name="T23" fmla="*/ 424 h 424"/>
                <a:gd name="T24" fmla="*/ 0 w 284"/>
                <a:gd name="T25" fmla="*/ 32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424">
                  <a:moveTo>
                    <a:pt x="0" y="320"/>
                  </a:moveTo>
                  <a:cubicBezTo>
                    <a:pt x="0" y="316"/>
                    <a:pt x="20" y="232"/>
                    <a:pt x="20" y="232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2" y="20"/>
                    <a:pt x="260" y="0"/>
                    <a:pt x="268" y="0"/>
                  </a:cubicBezTo>
                  <a:cubicBezTo>
                    <a:pt x="276" y="0"/>
                    <a:pt x="284" y="60"/>
                    <a:pt x="284" y="6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182" y="134"/>
                    <a:pt x="182" y="134"/>
                    <a:pt x="182" y="134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42" y="162"/>
                    <a:pt x="142" y="162"/>
                    <a:pt x="142" y="162"/>
                  </a:cubicBezTo>
                  <a:cubicBezTo>
                    <a:pt x="120" y="372"/>
                    <a:pt x="120" y="372"/>
                    <a:pt x="120" y="372"/>
                  </a:cubicBezTo>
                  <a:cubicBezTo>
                    <a:pt x="36" y="424"/>
                    <a:pt x="36" y="424"/>
                    <a:pt x="36" y="424"/>
                  </a:cubicBezTo>
                  <a:lnTo>
                    <a:pt x="0" y="320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s1îḍé">
              <a:extLst>
                <a:ext uri="{FF2B5EF4-FFF2-40B4-BE49-F238E27FC236}">
                  <a16:creationId xmlns:a16="http://schemas.microsoft.com/office/drawing/2014/main" id="{027D61A7-C229-4A00-88C5-5C1E91570DF7}"/>
                </a:ext>
              </a:extLst>
            </p:cNvPr>
            <p:cNvSpPr/>
            <p:nvPr/>
          </p:nvSpPr>
          <p:spPr bwMode="auto">
            <a:xfrm>
              <a:off x="5029200" y="4210050"/>
              <a:ext cx="565150" cy="1128713"/>
            </a:xfrm>
            <a:custGeom>
              <a:avLst/>
              <a:gdLst>
                <a:gd name="T0" fmla="*/ 237 w 356"/>
                <a:gd name="T1" fmla="*/ 0 h 711"/>
                <a:gd name="T2" fmla="*/ 356 w 356"/>
                <a:gd name="T3" fmla="*/ 183 h 711"/>
                <a:gd name="T4" fmla="*/ 171 w 356"/>
                <a:gd name="T5" fmla="*/ 711 h 711"/>
                <a:gd name="T6" fmla="*/ 95 w 356"/>
                <a:gd name="T7" fmla="*/ 711 h 711"/>
                <a:gd name="T8" fmla="*/ 168 w 356"/>
                <a:gd name="T9" fmla="*/ 224 h 711"/>
                <a:gd name="T10" fmla="*/ 0 w 356"/>
                <a:gd name="T11" fmla="*/ 25 h 711"/>
                <a:gd name="T12" fmla="*/ 237 w 356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711">
                  <a:moveTo>
                    <a:pt x="237" y="0"/>
                  </a:moveTo>
                  <a:lnTo>
                    <a:pt x="356" y="183"/>
                  </a:lnTo>
                  <a:lnTo>
                    <a:pt x="171" y="711"/>
                  </a:lnTo>
                  <a:lnTo>
                    <a:pt x="95" y="711"/>
                  </a:lnTo>
                  <a:lnTo>
                    <a:pt x="168" y="224"/>
                  </a:lnTo>
                  <a:lnTo>
                    <a:pt x="0" y="25"/>
                  </a:lnTo>
                  <a:lnTo>
                    <a:pt x="23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S1îḍe">
              <a:extLst>
                <a:ext uri="{FF2B5EF4-FFF2-40B4-BE49-F238E27FC236}">
                  <a16:creationId xmlns:a16="http://schemas.microsoft.com/office/drawing/2014/main" id="{4EF8DE95-2A0E-47C0-8911-F252AC6EB5D9}"/>
                </a:ext>
              </a:extLst>
            </p:cNvPr>
            <p:cNvSpPr/>
            <p:nvPr/>
          </p:nvSpPr>
          <p:spPr bwMode="auto">
            <a:xfrm>
              <a:off x="4637088" y="4160838"/>
              <a:ext cx="587375" cy="1177925"/>
            </a:xfrm>
            <a:custGeom>
              <a:avLst/>
              <a:gdLst>
                <a:gd name="T0" fmla="*/ 320 w 370"/>
                <a:gd name="T1" fmla="*/ 50 h 742"/>
                <a:gd name="T2" fmla="*/ 370 w 370"/>
                <a:gd name="T3" fmla="*/ 251 h 742"/>
                <a:gd name="T4" fmla="*/ 251 w 370"/>
                <a:gd name="T5" fmla="*/ 742 h 742"/>
                <a:gd name="T6" fmla="*/ 173 w 370"/>
                <a:gd name="T7" fmla="*/ 729 h 742"/>
                <a:gd name="T8" fmla="*/ 185 w 370"/>
                <a:gd name="T9" fmla="*/ 264 h 742"/>
                <a:gd name="T10" fmla="*/ 0 w 370"/>
                <a:gd name="T11" fmla="*/ 138 h 742"/>
                <a:gd name="T12" fmla="*/ 132 w 370"/>
                <a:gd name="T13" fmla="*/ 0 h 742"/>
                <a:gd name="T14" fmla="*/ 320 w 370"/>
                <a:gd name="T15" fmla="*/ 5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0" h="742">
                  <a:moveTo>
                    <a:pt x="320" y="50"/>
                  </a:moveTo>
                  <a:lnTo>
                    <a:pt x="370" y="251"/>
                  </a:lnTo>
                  <a:lnTo>
                    <a:pt x="251" y="742"/>
                  </a:lnTo>
                  <a:lnTo>
                    <a:pt x="173" y="729"/>
                  </a:lnTo>
                  <a:lnTo>
                    <a:pt x="185" y="264"/>
                  </a:lnTo>
                  <a:lnTo>
                    <a:pt x="0" y="138"/>
                  </a:lnTo>
                  <a:lnTo>
                    <a:pt x="132" y="0"/>
                  </a:lnTo>
                  <a:lnTo>
                    <a:pt x="320" y="50"/>
                  </a:lnTo>
                  <a:close/>
                </a:path>
              </a:pathLst>
            </a:custGeom>
            <a:solidFill>
              <a:srgbClr val="59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ṧḻíḋè">
              <a:extLst>
                <a:ext uri="{FF2B5EF4-FFF2-40B4-BE49-F238E27FC236}">
                  <a16:creationId xmlns:a16="http://schemas.microsoft.com/office/drawing/2014/main" id="{2241AFFD-A4D8-44C7-AEE6-41C1BABE0F72}"/>
                </a:ext>
              </a:extLst>
            </p:cNvPr>
            <p:cNvSpPr/>
            <p:nvPr/>
          </p:nvSpPr>
          <p:spPr bwMode="auto">
            <a:xfrm>
              <a:off x="4595813" y="2919413"/>
              <a:ext cx="977900" cy="1535113"/>
            </a:xfrm>
            <a:custGeom>
              <a:avLst/>
              <a:gdLst>
                <a:gd name="T0" fmla="*/ 384 w 811"/>
                <a:gd name="T1" fmla="*/ 88 h 1274"/>
                <a:gd name="T2" fmla="*/ 544 w 811"/>
                <a:gd name="T3" fmla="*/ 274 h 1274"/>
                <a:gd name="T4" fmla="*/ 680 w 811"/>
                <a:gd name="T5" fmla="*/ 885 h 1274"/>
                <a:gd name="T6" fmla="*/ 692 w 811"/>
                <a:gd name="T7" fmla="*/ 1164 h 1274"/>
                <a:gd name="T8" fmla="*/ 76 w 811"/>
                <a:gd name="T9" fmla="*/ 1233 h 1274"/>
                <a:gd name="T10" fmla="*/ 16 w 811"/>
                <a:gd name="T11" fmla="*/ 1055 h 1274"/>
                <a:gd name="T12" fmla="*/ 384 w 811"/>
                <a:gd name="T13" fmla="*/ 88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1" h="1274">
                  <a:moveTo>
                    <a:pt x="384" y="88"/>
                  </a:moveTo>
                  <a:cubicBezTo>
                    <a:pt x="384" y="88"/>
                    <a:pt x="508" y="104"/>
                    <a:pt x="544" y="274"/>
                  </a:cubicBezTo>
                  <a:cubicBezTo>
                    <a:pt x="580" y="444"/>
                    <a:pt x="592" y="744"/>
                    <a:pt x="680" y="885"/>
                  </a:cubicBezTo>
                  <a:cubicBezTo>
                    <a:pt x="768" y="1027"/>
                    <a:pt x="811" y="1234"/>
                    <a:pt x="692" y="1164"/>
                  </a:cubicBezTo>
                  <a:cubicBezTo>
                    <a:pt x="556" y="1084"/>
                    <a:pt x="328" y="1108"/>
                    <a:pt x="76" y="1233"/>
                  </a:cubicBezTo>
                  <a:cubicBezTo>
                    <a:pt x="0" y="1274"/>
                    <a:pt x="8" y="1185"/>
                    <a:pt x="16" y="1055"/>
                  </a:cubicBezTo>
                  <a:cubicBezTo>
                    <a:pt x="24" y="926"/>
                    <a:pt x="36" y="0"/>
                    <a:pt x="384" y="88"/>
                  </a:cubicBezTo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ṡḷîdè">
              <a:extLst>
                <a:ext uri="{FF2B5EF4-FFF2-40B4-BE49-F238E27FC236}">
                  <a16:creationId xmlns:a16="http://schemas.microsoft.com/office/drawing/2014/main" id="{60BE6B41-A906-4D44-B6F8-3825D26FC60C}"/>
                </a:ext>
              </a:extLst>
            </p:cNvPr>
            <p:cNvSpPr/>
            <p:nvPr/>
          </p:nvSpPr>
          <p:spPr bwMode="auto">
            <a:xfrm>
              <a:off x="5189538" y="5338763"/>
              <a:ext cx="166688" cy="114300"/>
            </a:xfrm>
            <a:custGeom>
              <a:avLst/>
              <a:gdLst>
                <a:gd name="T0" fmla="*/ 57 w 105"/>
                <a:gd name="T1" fmla="*/ 0 h 72"/>
                <a:gd name="T2" fmla="*/ 105 w 105"/>
                <a:gd name="T3" fmla="*/ 50 h 72"/>
                <a:gd name="T4" fmla="*/ 82 w 105"/>
                <a:gd name="T5" fmla="*/ 72 h 72"/>
                <a:gd name="T6" fmla="*/ 0 w 105"/>
                <a:gd name="T7" fmla="*/ 44 h 72"/>
                <a:gd name="T8" fmla="*/ 7 w 105"/>
                <a:gd name="T9" fmla="*/ 0 h 72"/>
                <a:gd name="T10" fmla="*/ 57 w 105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72">
                  <a:moveTo>
                    <a:pt x="57" y="0"/>
                  </a:moveTo>
                  <a:lnTo>
                    <a:pt x="105" y="50"/>
                  </a:lnTo>
                  <a:lnTo>
                    <a:pt x="82" y="72"/>
                  </a:lnTo>
                  <a:lnTo>
                    <a:pt x="0" y="44"/>
                  </a:lnTo>
                  <a:lnTo>
                    <a:pt x="7" y="0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ṧ1îḋê">
              <a:extLst>
                <a:ext uri="{FF2B5EF4-FFF2-40B4-BE49-F238E27FC236}">
                  <a16:creationId xmlns:a16="http://schemas.microsoft.com/office/drawing/2014/main" id="{F8C47EC4-A6AE-4365-AFE8-2DC814833C11}"/>
                </a:ext>
              </a:extLst>
            </p:cNvPr>
            <p:cNvSpPr/>
            <p:nvPr/>
          </p:nvSpPr>
          <p:spPr bwMode="auto">
            <a:xfrm>
              <a:off x="4911725" y="5321300"/>
              <a:ext cx="184150" cy="131763"/>
            </a:xfrm>
            <a:custGeom>
              <a:avLst/>
              <a:gdLst>
                <a:gd name="T0" fmla="*/ 68 w 116"/>
                <a:gd name="T1" fmla="*/ 9 h 83"/>
                <a:gd name="T2" fmla="*/ 116 w 116"/>
                <a:gd name="T3" fmla="*/ 55 h 83"/>
                <a:gd name="T4" fmla="*/ 91 w 116"/>
                <a:gd name="T5" fmla="*/ 83 h 83"/>
                <a:gd name="T6" fmla="*/ 0 w 116"/>
                <a:gd name="T7" fmla="*/ 45 h 83"/>
                <a:gd name="T8" fmla="*/ 9 w 116"/>
                <a:gd name="T9" fmla="*/ 0 h 83"/>
                <a:gd name="T10" fmla="*/ 68 w 116"/>
                <a:gd name="T11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83">
                  <a:moveTo>
                    <a:pt x="68" y="9"/>
                  </a:moveTo>
                  <a:lnTo>
                    <a:pt x="116" y="55"/>
                  </a:lnTo>
                  <a:lnTo>
                    <a:pt x="91" y="83"/>
                  </a:lnTo>
                  <a:lnTo>
                    <a:pt x="0" y="45"/>
                  </a:lnTo>
                  <a:lnTo>
                    <a:pt x="9" y="0"/>
                  </a:lnTo>
                  <a:lnTo>
                    <a:pt x="68" y="9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ṥḻïḍé">
              <a:extLst>
                <a:ext uri="{FF2B5EF4-FFF2-40B4-BE49-F238E27FC236}">
                  <a16:creationId xmlns:a16="http://schemas.microsoft.com/office/drawing/2014/main" id="{48B50056-C32F-48BC-B60D-55694483800C}"/>
                </a:ext>
              </a:extLst>
            </p:cNvPr>
            <p:cNvSpPr/>
            <p:nvPr/>
          </p:nvSpPr>
          <p:spPr bwMode="auto">
            <a:xfrm>
              <a:off x="5099050" y="2622550"/>
              <a:ext cx="149225" cy="212725"/>
            </a:xfrm>
            <a:custGeom>
              <a:avLst/>
              <a:gdLst>
                <a:gd name="T0" fmla="*/ 0 w 124"/>
                <a:gd name="T1" fmla="*/ 70 h 177"/>
                <a:gd name="T2" fmla="*/ 83 w 124"/>
                <a:gd name="T3" fmla="*/ 177 h 177"/>
                <a:gd name="T4" fmla="*/ 121 w 124"/>
                <a:gd name="T5" fmla="*/ 85 h 177"/>
                <a:gd name="T6" fmla="*/ 68 w 124"/>
                <a:gd name="T7" fmla="*/ 0 h 177"/>
                <a:gd name="T8" fmla="*/ 4 w 124"/>
                <a:gd name="T9" fmla="*/ 71 h 177"/>
                <a:gd name="T10" fmla="*/ 0 w 124"/>
                <a:gd name="T11" fmla="*/ 7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77">
                  <a:moveTo>
                    <a:pt x="0" y="70"/>
                  </a:moveTo>
                  <a:cubicBezTo>
                    <a:pt x="46" y="85"/>
                    <a:pt x="80" y="129"/>
                    <a:pt x="83" y="177"/>
                  </a:cubicBezTo>
                  <a:cubicBezTo>
                    <a:pt x="109" y="155"/>
                    <a:pt x="124" y="119"/>
                    <a:pt x="121" y="85"/>
                  </a:cubicBezTo>
                  <a:cubicBezTo>
                    <a:pt x="118" y="50"/>
                    <a:pt x="98" y="18"/>
                    <a:pt x="68" y="0"/>
                  </a:cubicBezTo>
                  <a:cubicBezTo>
                    <a:pt x="38" y="14"/>
                    <a:pt x="15" y="40"/>
                    <a:pt x="4" y="71"/>
                  </a:cubicBezTo>
                  <a:lnTo>
                    <a:pt x="0" y="70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ŝľiḑê">
              <a:extLst>
                <a:ext uri="{FF2B5EF4-FFF2-40B4-BE49-F238E27FC236}">
                  <a16:creationId xmlns:a16="http://schemas.microsoft.com/office/drawing/2014/main" id="{A692A3FF-00A5-4C12-9EB3-B78731A88E7B}"/>
                </a:ext>
              </a:extLst>
            </p:cNvPr>
            <p:cNvSpPr/>
            <p:nvPr/>
          </p:nvSpPr>
          <p:spPr bwMode="auto">
            <a:xfrm>
              <a:off x="5081588" y="2657475"/>
              <a:ext cx="188913" cy="455613"/>
            </a:xfrm>
            <a:custGeom>
              <a:avLst/>
              <a:gdLst>
                <a:gd name="T0" fmla="*/ 117 w 156"/>
                <a:gd name="T1" fmla="*/ 4 h 379"/>
                <a:gd name="T2" fmla="*/ 131 w 156"/>
                <a:gd name="T3" fmla="*/ 160 h 379"/>
                <a:gd name="T4" fmla="*/ 113 w 156"/>
                <a:gd name="T5" fmla="*/ 362 h 379"/>
                <a:gd name="T6" fmla="*/ 41 w 156"/>
                <a:gd name="T7" fmla="*/ 359 h 379"/>
                <a:gd name="T8" fmla="*/ 14 w 156"/>
                <a:gd name="T9" fmla="*/ 285 h 379"/>
                <a:gd name="T10" fmla="*/ 62 w 156"/>
                <a:gd name="T11" fmla="*/ 0 h 379"/>
                <a:gd name="T12" fmla="*/ 117 w 156"/>
                <a:gd name="T13" fmla="*/ 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79">
                  <a:moveTo>
                    <a:pt x="117" y="4"/>
                  </a:moveTo>
                  <a:cubicBezTo>
                    <a:pt x="117" y="4"/>
                    <a:pt x="156" y="39"/>
                    <a:pt x="131" y="160"/>
                  </a:cubicBezTo>
                  <a:cubicBezTo>
                    <a:pt x="106" y="282"/>
                    <a:pt x="113" y="362"/>
                    <a:pt x="113" y="362"/>
                  </a:cubicBezTo>
                  <a:cubicBezTo>
                    <a:pt x="113" y="362"/>
                    <a:pt x="70" y="379"/>
                    <a:pt x="41" y="359"/>
                  </a:cubicBezTo>
                  <a:cubicBezTo>
                    <a:pt x="11" y="338"/>
                    <a:pt x="0" y="334"/>
                    <a:pt x="14" y="285"/>
                  </a:cubicBezTo>
                  <a:cubicBezTo>
                    <a:pt x="28" y="236"/>
                    <a:pt x="62" y="0"/>
                    <a:pt x="62" y="0"/>
                  </a:cubicBezTo>
                  <a:lnTo>
                    <a:pt x="117" y="4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şļíḑé">
              <a:extLst>
                <a:ext uri="{FF2B5EF4-FFF2-40B4-BE49-F238E27FC236}">
                  <a16:creationId xmlns:a16="http://schemas.microsoft.com/office/drawing/2014/main" id="{687C77CC-501F-4E57-B96B-E655894DC026}"/>
                </a:ext>
              </a:extLst>
            </p:cNvPr>
            <p:cNvSpPr/>
            <p:nvPr/>
          </p:nvSpPr>
          <p:spPr bwMode="auto">
            <a:xfrm>
              <a:off x="4900613" y="2633663"/>
              <a:ext cx="314325" cy="449263"/>
            </a:xfrm>
            <a:custGeom>
              <a:avLst/>
              <a:gdLst>
                <a:gd name="T0" fmla="*/ 255 w 261"/>
                <a:gd name="T1" fmla="*/ 127 h 373"/>
                <a:gd name="T2" fmla="*/ 28 w 261"/>
                <a:gd name="T3" fmla="*/ 114 h 373"/>
                <a:gd name="T4" fmla="*/ 72 w 261"/>
                <a:gd name="T5" fmla="*/ 308 h 373"/>
                <a:gd name="T6" fmla="*/ 80 w 261"/>
                <a:gd name="T7" fmla="*/ 364 h 373"/>
                <a:gd name="T8" fmla="*/ 130 w 261"/>
                <a:gd name="T9" fmla="*/ 364 h 373"/>
                <a:gd name="T10" fmla="*/ 139 w 261"/>
                <a:gd name="T11" fmla="*/ 361 h 373"/>
                <a:gd name="T12" fmla="*/ 144 w 261"/>
                <a:gd name="T13" fmla="*/ 326 h 373"/>
                <a:gd name="T14" fmla="*/ 170 w 261"/>
                <a:gd name="T15" fmla="*/ 322 h 373"/>
                <a:gd name="T16" fmla="*/ 249 w 261"/>
                <a:gd name="T17" fmla="*/ 242 h 373"/>
                <a:gd name="T18" fmla="*/ 255 w 261"/>
                <a:gd name="T19" fmla="*/ 127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1" h="373">
                  <a:moveTo>
                    <a:pt x="255" y="127"/>
                  </a:moveTo>
                  <a:cubicBezTo>
                    <a:pt x="238" y="0"/>
                    <a:pt x="79" y="14"/>
                    <a:pt x="28" y="114"/>
                  </a:cubicBezTo>
                  <a:cubicBezTo>
                    <a:pt x="0" y="171"/>
                    <a:pt x="0" y="285"/>
                    <a:pt x="72" y="308"/>
                  </a:cubicBezTo>
                  <a:cubicBezTo>
                    <a:pt x="72" y="319"/>
                    <a:pt x="72" y="356"/>
                    <a:pt x="80" y="364"/>
                  </a:cubicBezTo>
                  <a:cubicBezTo>
                    <a:pt x="89" y="373"/>
                    <a:pt x="119" y="366"/>
                    <a:pt x="130" y="364"/>
                  </a:cubicBezTo>
                  <a:cubicBezTo>
                    <a:pt x="133" y="364"/>
                    <a:pt x="137" y="363"/>
                    <a:pt x="139" y="361"/>
                  </a:cubicBezTo>
                  <a:cubicBezTo>
                    <a:pt x="142" y="358"/>
                    <a:pt x="144" y="334"/>
                    <a:pt x="144" y="326"/>
                  </a:cubicBezTo>
                  <a:cubicBezTo>
                    <a:pt x="153" y="326"/>
                    <a:pt x="161" y="324"/>
                    <a:pt x="170" y="322"/>
                  </a:cubicBezTo>
                  <a:cubicBezTo>
                    <a:pt x="208" y="312"/>
                    <a:pt x="236" y="279"/>
                    <a:pt x="249" y="242"/>
                  </a:cubicBezTo>
                  <a:cubicBezTo>
                    <a:pt x="261" y="206"/>
                    <a:pt x="261" y="166"/>
                    <a:pt x="255" y="127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šļidé">
              <a:extLst>
                <a:ext uri="{FF2B5EF4-FFF2-40B4-BE49-F238E27FC236}">
                  <a16:creationId xmlns:a16="http://schemas.microsoft.com/office/drawing/2014/main" id="{8B61DA7C-384E-47B6-8569-E6C4D4F212EB}"/>
                </a:ext>
              </a:extLst>
            </p:cNvPr>
            <p:cNvSpPr/>
            <p:nvPr/>
          </p:nvSpPr>
          <p:spPr bwMode="auto">
            <a:xfrm>
              <a:off x="4694238" y="2509838"/>
              <a:ext cx="496888" cy="596900"/>
            </a:xfrm>
            <a:custGeom>
              <a:avLst/>
              <a:gdLst>
                <a:gd name="T0" fmla="*/ 400 w 412"/>
                <a:gd name="T1" fmla="*/ 93 h 495"/>
                <a:gd name="T2" fmla="*/ 323 w 412"/>
                <a:gd name="T3" fmla="*/ 177 h 495"/>
                <a:gd name="T4" fmla="*/ 186 w 412"/>
                <a:gd name="T5" fmla="*/ 331 h 495"/>
                <a:gd name="T6" fmla="*/ 224 w 412"/>
                <a:gd name="T7" fmla="*/ 478 h 495"/>
                <a:gd name="T8" fmla="*/ 64 w 412"/>
                <a:gd name="T9" fmla="*/ 470 h 495"/>
                <a:gd name="T10" fmla="*/ 109 w 412"/>
                <a:gd name="T11" fmla="*/ 105 h 495"/>
                <a:gd name="T12" fmla="*/ 400 w 412"/>
                <a:gd name="T13" fmla="*/ 93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95">
                  <a:moveTo>
                    <a:pt x="400" y="93"/>
                  </a:moveTo>
                  <a:cubicBezTo>
                    <a:pt x="400" y="93"/>
                    <a:pt x="412" y="162"/>
                    <a:pt x="323" y="177"/>
                  </a:cubicBezTo>
                  <a:cubicBezTo>
                    <a:pt x="234" y="192"/>
                    <a:pt x="174" y="257"/>
                    <a:pt x="186" y="331"/>
                  </a:cubicBezTo>
                  <a:cubicBezTo>
                    <a:pt x="197" y="404"/>
                    <a:pt x="260" y="460"/>
                    <a:pt x="224" y="478"/>
                  </a:cubicBezTo>
                  <a:cubicBezTo>
                    <a:pt x="189" y="495"/>
                    <a:pt x="64" y="470"/>
                    <a:pt x="64" y="470"/>
                  </a:cubicBezTo>
                  <a:cubicBezTo>
                    <a:pt x="64" y="470"/>
                    <a:pt x="0" y="211"/>
                    <a:pt x="109" y="105"/>
                  </a:cubicBezTo>
                  <a:cubicBezTo>
                    <a:pt x="217" y="0"/>
                    <a:pt x="366" y="3"/>
                    <a:pt x="400" y="93"/>
                  </a:cubicBez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ṩ1ïdé">
              <a:extLst>
                <a:ext uri="{FF2B5EF4-FFF2-40B4-BE49-F238E27FC236}">
                  <a16:creationId xmlns:a16="http://schemas.microsoft.com/office/drawing/2014/main" id="{3065CB37-2633-4E55-A9C8-A00BB26534CC}"/>
                </a:ext>
              </a:extLst>
            </p:cNvPr>
            <p:cNvSpPr/>
            <p:nvPr/>
          </p:nvSpPr>
          <p:spPr bwMode="auto">
            <a:xfrm>
              <a:off x="4943475" y="2828925"/>
              <a:ext cx="273050" cy="220663"/>
            </a:xfrm>
            <a:custGeom>
              <a:avLst/>
              <a:gdLst>
                <a:gd name="T0" fmla="*/ 0 w 227"/>
                <a:gd name="T1" fmla="*/ 49 h 184"/>
                <a:gd name="T2" fmla="*/ 9 w 227"/>
                <a:gd name="T3" fmla="*/ 145 h 184"/>
                <a:gd name="T4" fmla="*/ 185 w 227"/>
                <a:gd name="T5" fmla="*/ 146 h 184"/>
                <a:gd name="T6" fmla="*/ 227 w 227"/>
                <a:gd name="T7" fmla="*/ 35 h 184"/>
                <a:gd name="T8" fmla="*/ 0 w 227"/>
                <a:gd name="T9" fmla="*/ 4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84">
                  <a:moveTo>
                    <a:pt x="0" y="49"/>
                  </a:moveTo>
                  <a:cubicBezTo>
                    <a:pt x="9" y="145"/>
                    <a:pt x="9" y="145"/>
                    <a:pt x="9" y="145"/>
                  </a:cubicBezTo>
                  <a:cubicBezTo>
                    <a:pt x="9" y="145"/>
                    <a:pt x="100" y="184"/>
                    <a:pt x="185" y="146"/>
                  </a:cubicBezTo>
                  <a:cubicBezTo>
                    <a:pt x="206" y="118"/>
                    <a:pt x="222" y="103"/>
                    <a:pt x="227" y="35"/>
                  </a:cubicBezTo>
                  <a:cubicBezTo>
                    <a:pt x="205" y="26"/>
                    <a:pt x="100" y="0"/>
                    <a:pt x="0" y="49"/>
                  </a:cubicBez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îṥḷiḍê">
              <a:extLst>
                <a:ext uri="{FF2B5EF4-FFF2-40B4-BE49-F238E27FC236}">
                  <a16:creationId xmlns:a16="http://schemas.microsoft.com/office/drawing/2014/main" id="{6CB1EF62-EF93-44BA-80C4-346A089BE1EE}"/>
                </a:ext>
              </a:extLst>
            </p:cNvPr>
            <p:cNvSpPr/>
            <p:nvPr/>
          </p:nvSpPr>
          <p:spPr bwMode="auto">
            <a:xfrm>
              <a:off x="4960938" y="2851150"/>
              <a:ext cx="254000" cy="179388"/>
            </a:xfrm>
            <a:custGeom>
              <a:avLst/>
              <a:gdLst>
                <a:gd name="T0" fmla="*/ 0 w 211"/>
                <a:gd name="T1" fmla="*/ 37 h 149"/>
                <a:gd name="T2" fmla="*/ 4 w 211"/>
                <a:gd name="T3" fmla="*/ 115 h 149"/>
                <a:gd name="T4" fmla="*/ 177 w 211"/>
                <a:gd name="T5" fmla="*/ 117 h 149"/>
                <a:gd name="T6" fmla="*/ 211 w 211"/>
                <a:gd name="T7" fmla="*/ 27 h 149"/>
                <a:gd name="T8" fmla="*/ 0 w 211"/>
                <a:gd name="T9" fmla="*/ 3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149">
                  <a:moveTo>
                    <a:pt x="0" y="37"/>
                  </a:move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103" y="149"/>
                    <a:pt x="177" y="117"/>
                  </a:cubicBezTo>
                  <a:cubicBezTo>
                    <a:pt x="185" y="108"/>
                    <a:pt x="210" y="79"/>
                    <a:pt x="211" y="27"/>
                  </a:cubicBezTo>
                  <a:cubicBezTo>
                    <a:pt x="171" y="12"/>
                    <a:pt x="77" y="0"/>
                    <a:pt x="0" y="37"/>
                  </a:cubicBez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ŝľíḑé">
              <a:extLst>
                <a:ext uri="{FF2B5EF4-FFF2-40B4-BE49-F238E27FC236}">
                  <a16:creationId xmlns:a16="http://schemas.microsoft.com/office/drawing/2014/main" id="{6D973AF1-F21D-4AD8-83F9-44BCAB611FC5}"/>
                </a:ext>
              </a:extLst>
            </p:cNvPr>
            <p:cNvSpPr/>
            <p:nvPr/>
          </p:nvSpPr>
          <p:spPr bwMode="auto">
            <a:xfrm>
              <a:off x="4916488" y="2881313"/>
              <a:ext cx="26988" cy="9525"/>
            </a:xfrm>
            <a:custGeom>
              <a:avLst/>
              <a:gdLst>
                <a:gd name="T0" fmla="*/ 17 w 17"/>
                <a:gd name="T1" fmla="*/ 4 h 6"/>
                <a:gd name="T2" fmla="*/ 0 w 17"/>
                <a:gd name="T3" fmla="*/ 0 h 6"/>
                <a:gd name="T4" fmla="*/ 0 w 17"/>
                <a:gd name="T5" fmla="*/ 3 h 6"/>
                <a:gd name="T6" fmla="*/ 17 w 17"/>
                <a:gd name="T7" fmla="*/ 6 h 6"/>
                <a:gd name="T8" fmla="*/ 17 w 17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17" y="4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6"/>
                  </a:lnTo>
                  <a:lnTo>
                    <a:pt x="17" y="4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şḻïde">
              <a:extLst>
                <a:ext uri="{FF2B5EF4-FFF2-40B4-BE49-F238E27FC236}">
                  <a16:creationId xmlns:a16="http://schemas.microsoft.com/office/drawing/2014/main" id="{E4E587E2-EDDE-45DB-B9ED-FEB5C898C722}"/>
                </a:ext>
              </a:extLst>
            </p:cNvPr>
            <p:cNvSpPr/>
            <p:nvPr/>
          </p:nvSpPr>
          <p:spPr bwMode="auto">
            <a:xfrm>
              <a:off x="4926013" y="2941638"/>
              <a:ext cx="23813" cy="23813"/>
            </a:xfrm>
            <a:custGeom>
              <a:avLst/>
              <a:gdLst>
                <a:gd name="T0" fmla="*/ 14 w 15"/>
                <a:gd name="T1" fmla="*/ 11 h 15"/>
                <a:gd name="T2" fmla="*/ 0 w 15"/>
                <a:gd name="T3" fmla="*/ 0 h 15"/>
                <a:gd name="T4" fmla="*/ 2 w 15"/>
                <a:gd name="T5" fmla="*/ 5 h 15"/>
                <a:gd name="T6" fmla="*/ 15 w 15"/>
                <a:gd name="T7" fmla="*/ 15 h 15"/>
                <a:gd name="T8" fmla="*/ 14 w 15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4" y="11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15" y="15"/>
                  </a:lnTo>
                  <a:lnTo>
                    <a:pt x="14" y="11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ślíḑè">
              <a:extLst>
                <a:ext uri="{FF2B5EF4-FFF2-40B4-BE49-F238E27FC236}">
                  <a16:creationId xmlns:a16="http://schemas.microsoft.com/office/drawing/2014/main" id="{9D2A6956-134B-44AA-BCB3-3889F431C59E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í$ļíďê">
              <a:extLst>
                <a:ext uri="{FF2B5EF4-FFF2-40B4-BE49-F238E27FC236}">
                  <a16:creationId xmlns:a16="http://schemas.microsoft.com/office/drawing/2014/main" id="{3DAA13F9-7469-4813-A904-D9C67C8B2F85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šļïḑê">
              <a:extLst>
                <a:ext uri="{FF2B5EF4-FFF2-40B4-BE49-F238E27FC236}">
                  <a16:creationId xmlns:a16="http://schemas.microsoft.com/office/drawing/2014/main" id="{F761E4D2-15AE-4FAA-A6E7-EA27540F227C}"/>
                </a:ext>
              </a:extLst>
            </p:cNvPr>
            <p:cNvSpPr/>
            <p:nvPr/>
          </p:nvSpPr>
          <p:spPr bwMode="auto">
            <a:xfrm>
              <a:off x="4437063" y="3014663"/>
              <a:ext cx="1339850" cy="1393825"/>
            </a:xfrm>
            <a:custGeom>
              <a:avLst/>
              <a:gdLst>
                <a:gd name="T0" fmla="*/ 881 w 1111"/>
                <a:gd name="T1" fmla="*/ 0 h 1156"/>
                <a:gd name="T2" fmla="*/ 408 w 1111"/>
                <a:gd name="T3" fmla="*/ 77 h 1156"/>
                <a:gd name="T4" fmla="*/ 407 w 1111"/>
                <a:gd name="T5" fmla="*/ 76 h 1156"/>
                <a:gd name="T6" fmla="*/ 406 w 1111"/>
                <a:gd name="T7" fmla="*/ 78 h 1156"/>
                <a:gd name="T8" fmla="*/ 0 w 1111"/>
                <a:gd name="T9" fmla="*/ 331 h 1156"/>
                <a:gd name="T10" fmla="*/ 386 w 1111"/>
                <a:gd name="T11" fmla="*/ 992 h 1156"/>
                <a:gd name="T12" fmla="*/ 813 w 1111"/>
                <a:gd name="T13" fmla="*/ 1155 h 1156"/>
                <a:gd name="T14" fmla="*/ 1027 w 1111"/>
                <a:gd name="T15" fmla="*/ 750 h 1156"/>
                <a:gd name="T16" fmla="*/ 881 w 1111"/>
                <a:gd name="T17" fmla="*/ 0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1" h="1156">
                  <a:moveTo>
                    <a:pt x="881" y="0"/>
                  </a:moveTo>
                  <a:cubicBezTo>
                    <a:pt x="625" y="165"/>
                    <a:pt x="435" y="89"/>
                    <a:pt x="408" y="77"/>
                  </a:cubicBezTo>
                  <a:cubicBezTo>
                    <a:pt x="408" y="77"/>
                    <a:pt x="407" y="75"/>
                    <a:pt x="407" y="76"/>
                  </a:cubicBezTo>
                  <a:cubicBezTo>
                    <a:pt x="406" y="76"/>
                    <a:pt x="406" y="78"/>
                    <a:pt x="406" y="78"/>
                  </a:cubicBezTo>
                  <a:cubicBezTo>
                    <a:pt x="394" y="104"/>
                    <a:pt x="302" y="287"/>
                    <a:pt x="0" y="331"/>
                  </a:cubicBezTo>
                  <a:cubicBezTo>
                    <a:pt x="0" y="331"/>
                    <a:pt x="146" y="849"/>
                    <a:pt x="386" y="992"/>
                  </a:cubicBezTo>
                  <a:cubicBezTo>
                    <a:pt x="642" y="1145"/>
                    <a:pt x="813" y="1156"/>
                    <a:pt x="813" y="1155"/>
                  </a:cubicBezTo>
                  <a:cubicBezTo>
                    <a:pt x="814" y="1155"/>
                    <a:pt x="937" y="1035"/>
                    <a:pt x="1027" y="750"/>
                  </a:cubicBezTo>
                  <a:cubicBezTo>
                    <a:pt x="1111" y="484"/>
                    <a:pt x="881" y="0"/>
                    <a:pt x="881" y="0"/>
                  </a:cubicBezTo>
                </a:path>
              </a:pathLst>
            </a:custGeom>
            <a:solidFill>
              <a:srgbClr val="066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śļïḋê">
              <a:extLst>
                <a:ext uri="{FF2B5EF4-FFF2-40B4-BE49-F238E27FC236}">
                  <a16:creationId xmlns:a16="http://schemas.microsoft.com/office/drawing/2014/main" id="{B232EF47-AD4E-4258-97BA-B8C9BD503F1A}"/>
                </a:ext>
              </a:extLst>
            </p:cNvPr>
            <p:cNvSpPr/>
            <p:nvPr/>
          </p:nvSpPr>
          <p:spPr bwMode="auto">
            <a:xfrm>
              <a:off x="4510088" y="3095625"/>
              <a:ext cx="1211263" cy="1258888"/>
            </a:xfrm>
            <a:custGeom>
              <a:avLst/>
              <a:gdLst>
                <a:gd name="T0" fmla="*/ 799 w 1005"/>
                <a:gd name="T1" fmla="*/ 0 h 1044"/>
                <a:gd name="T2" fmla="*/ 371 w 1005"/>
                <a:gd name="T3" fmla="*/ 71 h 1044"/>
                <a:gd name="T4" fmla="*/ 370 w 1005"/>
                <a:gd name="T5" fmla="*/ 70 h 1044"/>
                <a:gd name="T6" fmla="*/ 369 w 1005"/>
                <a:gd name="T7" fmla="*/ 72 h 1044"/>
                <a:gd name="T8" fmla="*/ 0 w 1005"/>
                <a:gd name="T9" fmla="*/ 300 h 1044"/>
                <a:gd name="T10" fmla="*/ 346 w 1005"/>
                <a:gd name="T11" fmla="*/ 888 h 1044"/>
                <a:gd name="T12" fmla="*/ 736 w 1005"/>
                <a:gd name="T13" fmla="*/ 1043 h 1044"/>
                <a:gd name="T14" fmla="*/ 927 w 1005"/>
                <a:gd name="T15" fmla="*/ 669 h 1044"/>
                <a:gd name="T16" fmla="*/ 799 w 1005"/>
                <a:gd name="T17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5" h="1044">
                  <a:moveTo>
                    <a:pt x="799" y="0"/>
                  </a:moveTo>
                  <a:cubicBezTo>
                    <a:pt x="567" y="148"/>
                    <a:pt x="395" y="82"/>
                    <a:pt x="371" y="71"/>
                  </a:cubicBezTo>
                  <a:cubicBezTo>
                    <a:pt x="371" y="71"/>
                    <a:pt x="370" y="69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130" y="761"/>
                    <a:pt x="346" y="888"/>
                  </a:cubicBezTo>
                  <a:cubicBezTo>
                    <a:pt x="576" y="1023"/>
                    <a:pt x="736" y="1044"/>
                    <a:pt x="736" y="1043"/>
                  </a:cubicBezTo>
                  <a:cubicBezTo>
                    <a:pt x="737" y="1043"/>
                    <a:pt x="845" y="923"/>
                    <a:pt x="927" y="669"/>
                  </a:cubicBezTo>
                  <a:cubicBezTo>
                    <a:pt x="1005" y="431"/>
                    <a:pt x="799" y="0"/>
                    <a:pt x="799" y="0"/>
                  </a:cubicBezTo>
                </a:path>
              </a:pathLst>
            </a:custGeom>
            <a:solidFill>
              <a:srgbClr val="4498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sľïḋé">
              <a:extLst>
                <a:ext uri="{FF2B5EF4-FFF2-40B4-BE49-F238E27FC236}">
                  <a16:creationId xmlns:a16="http://schemas.microsoft.com/office/drawing/2014/main" id="{10E308AF-5D6C-4B4B-84B3-367F32D5CACA}"/>
                </a:ext>
              </a:extLst>
            </p:cNvPr>
            <p:cNvSpPr/>
            <p:nvPr/>
          </p:nvSpPr>
          <p:spPr bwMode="auto">
            <a:xfrm>
              <a:off x="4510088" y="3095625"/>
              <a:ext cx="990600" cy="425450"/>
            </a:xfrm>
            <a:custGeom>
              <a:avLst/>
              <a:gdLst>
                <a:gd name="T0" fmla="*/ 799 w 821"/>
                <a:gd name="T1" fmla="*/ 0 h 353"/>
                <a:gd name="T2" fmla="*/ 504 w 821"/>
                <a:gd name="T3" fmla="*/ 95 h 353"/>
                <a:gd name="T4" fmla="*/ 371 w 821"/>
                <a:gd name="T5" fmla="*/ 71 h 353"/>
                <a:gd name="T6" fmla="*/ 370 w 821"/>
                <a:gd name="T7" fmla="*/ 70 h 353"/>
                <a:gd name="T8" fmla="*/ 370 w 821"/>
                <a:gd name="T9" fmla="*/ 70 h 353"/>
                <a:gd name="T10" fmla="*/ 370 w 821"/>
                <a:gd name="T11" fmla="*/ 70 h 353"/>
                <a:gd name="T12" fmla="*/ 369 w 821"/>
                <a:gd name="T13" fmla="*/ 72 h 353"/>
                <a:gd name="T14" fmla="*/ 0 w 821"/>
                <a:gd name="T15" fmla="*/ 300 h 353"/>
                <a:gd name="T16" fmla="*/ 17 w 821"/>
                <a:gd name="T17" fmla="*/ 353 h 353"/>
                <a:gd name="T18" fmla="*/ 386 w 821"/>
                <a:gd name="T19" fmla="*/ 116 h 353"/>
                <a:gd name="T20" fmla="*/ 386 w 821"/>
                <a:gd name="T21" fmla="*/ 114 h 353"/>
                <a:gd name="T22" fmla="*/ 386 w 821"/>
                <a:gd name="T23" fmla="*/ 114 h 353"/>
                <a:gd name="T24" fmla="*/ 387 w 821"/>
                <a:gd name="T25" fmla="*/ 114 h 353"/>
                <a:gd name="T26" fmla="*/ 388 w 821"/>
                <a:gd name="T27" fmla="*/ 115 h 353"/>
                <a:gd name="T28" fmla="*/ 527 w 821"/>
                <a:gd name="T29" fmla="*/ 140 h 353"/>
                <a:gd name="T30" fmla="*/ 821 w 821"/>
                <a:gd name="T31" fmla="*/ 49 h 353"/>
                <a:gd name="T32" fmla="*/ 799 w 821"/>
                <a:gd name="T33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1" h="353">
                  <a:moveTo>
                    <a:pt x="799" y="0"/>
                  </a:moveTo>
                  <a:cubicBezTo>
                    <a:pt x="681" y="75"/>
                    <a:pt x="579" y="95"/>
                    <a:pt x="504" y="95"/>
                  </a:cubicBezTo>
                  <a:cubicBezTo>
                    <a:pt x="431" y="95"/>
                    <a:pt x="383" y="76"/>
                    <a:pt x="371" y="71"/>
                  </a:cubicBezTo>
                  <a:cubicBezTo>
                    <a:pt x="371" y="71"/>
                    <a:pt x="371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6" y="320"/>
                    <a:pt x="17" y="353"/>
                  </a:cubicBezTo>
                  <a:cubicBezTo>
                    <a:pt x="289" y="305"/>
                    <a:pt x="375" y="140"/>
                    <a:pt x="386" y="116"/>
                  </a:cubicBezTo>
                  <a:cubicBezTo>
                    <a:pt x="386" y="116"/>
                    <a:pt x="386" y="114"/>
                    <a:pt x="386" y="114"/>
                  </a:cubicBezTo>
                  <a:cubicBezTo>
                    <a:pt x="386" y="114"/>
                    <a:pt x="386" y="114"/>
                    <a:pt x="386" y="114"/>
                  </a:cubicBezTo>
                  <a:cubicBezTo>
                    <a:pt x="387" y="114"/>
                    <a:pt x="387" y="114"/>
                    <a:pt x="387" y="114"/>
                  </a:cubicBezTo>
                  <a:cubicBezTo>
                    <a:pt x="387" y="114"/>
                    <a:pt x="388" y="115"/>
                    <a:pt x="388" y="115"/>
                  </a:cubicBezTo>
                  <a:cubicBezTo>
                    <a:pt x="400" y="120"/>
                    <a:pt x="450" y="140"/>
                    <a:pt x="527" y="140"/>
                  </a:cubicBezTo>
                  <a:cubicBezTo>
                    <a:pt x="602" y="140"/>
                    <a:pt x="704" y="121"/>
                    <a:pt x="821" y="49"/>
                  </a:cubicBezTo>
                  <a:cubicBezTo>
                    <a:pt x="808" y="18"/>
                    <a:pt x="799" y="0"/>
                    <a:pt x="799" y="0"/>
                  </a:cubicBezTo>
                </a:path>
              </a:pathLst>
            </a:custGeom>
            <a:solidFill>
              <a:srgbClr val="408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ṧḷíḓé">
              <a:extLst>
                <a:ext uri="{FF2B5EF4-FFF2-40B4-BE49-F238E27FC236}">
                  <a16:creationId xmlns:a16="http://schemas.microsoft.com/office/drawing/2014/main" id="{A8100813-79EE-4135-9494-4A3CD7302A17}"/>
                </a:ext>
              </a:extLst>
            </p:cNvPr>
            <p:cNvSpPr/>
            <p:nvPr/>
          </p:nvSpPr>
          <p:spPr bwMode="auto">
            <a:xfrm>
              <a:off x="4451350" y="3563938"/>
              <a:ext cx="650875" cy="366713"/>
            </a:xfrm>
            <a:custGeom>
              <a:avLst/>
              <a:gdLst>
                <a:gd name="T0" fmla="*/ 0 w 410"/>
                <a:gd name="T1" fmla="*/ 161 h 231"/>
                <a:gd name="T2" fmla="*/ 89 w 410"/>
                <a:gd name="T3" fmla="*/ 79 h 231"/>
                <a:gd name="T4" fmla="*/ 389 w 410"/>
                <a:gd name="T5" fmla="*/ 0 h 231"/>
                <a:gd name="T6" fmla="*/ 410 w 410"/>
                <a:gd name="T7" fmla="*/ 55 h 231"/>
                <a:gd name="T8" fmla="*/ 143 w 410"/>
                <a:gd name="T9" fmla="*/ 231 h 231"/>
                <a:gd name="T10" fmla="*/ 54 w 410"/>
                <a:gd name="T11" fmla="*/ 231 h 231"/>
                <a:gd name="T12" fmla="*/ 0 w 410"/>
                <a:gd name="T13" fmla="*/ 16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" h="231">
                  <a:moveTo>
                    <a:pt x="0" y="161"/>
                  </a:moveTo>
                  <a:lnTo>
                    <a:pt x="89" y="79"/>
                  </a:lnTo>
                  <a:lnTo>
                    <a:pt x="389" y="0"/>
                  </a:lnTo>
                  <a:lnTo>
                    <a:pt x="410" y="55"/>
                  </a:lnTo>
                  <a:lnTo>
                    <a:pt x="143" y="231"/>
                  </a:lnTo>
                  <a:lnTo>
                    <a:pt x="54" y="231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8" name="i$1íḑê">
            <a:extLst>
              <a:ext uri="{FF2B5EF4-FFF2-40B4-BE49-F238E27FC236}">
                <a16:creationId xmlns:a16="http://schemas.microsoft.com/office/drawing/2014/main" id="{96479E3F-D591-4344-BD82-468C95BC5B72}"/>
              </a:ext>
            </a:extLst>
          </p:cNvPr>
          <p:cNvSpPr/>
          <p:nvPr/>
        </p:nvSpPr>
        <p:spPr>
          <a:xfrm rot="5400000">
            <a:off x="462604" y="1492378"/>
            <a:ext cx="4724646" cy="4356099"/>
          </a:xfrm>
          <a:prstGeom prst="blockArc">
            <a:avLst>
              <a:gd name="adj1" fmla="val 11276733"/>
              <a:gd name="adj2" fmla="val 20956921"/>
              <a:gd name="adj3" fmla="val 8266"/>
            </a:avLst>
          </a:prstGeom>
          <a:gradFill>
            <a:gsLst>
              <a:gs pos="0">
                <a:schemeClr val="bg1">
                  <a:lumMod val="85000"/>
                  <a:alpha val="51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503" name="8b3f14cc-9f84-41e8-8138-7054b945ee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9A955C2-EA32-4A68-8A1E-218E6C22101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0787" y="2381790"/>
            <a:ext cx="2574972" cy="2556606"/>
            <a:chOff x="3870325" y="1222375"/>
            <a:chExt cx="4451350" cy="4419601"/>
          </a:xfrm>
        </p:grpSpPr>
        <p:sp>
          <p:nvSpPr>
            <p:cNvPr id="504" name="iś1îḋé">
              <a:extLst>
                <a:ext uri="{FF2B5EF4-FFF2-40B4-BE49-F238E27FC236}">
                  <a16:creationId xmlns:a16="http://schemas.microsoft.com/office/drawing/2014/main" id="{2140A1A5-D1F9-469E-B43C-3432C43CBE1D}"/>
                </a:ext>
              </a:extLst>
            </p:cNvPr>
            <p:cNvSpPr/>
            <p:nvPr/>
          </p:nvSpPr>
          <p:spPr bwMode="auto">
            <a:xfrm>
              <a:off x="5173663" y="5332413"/>
              <a:ext cx="733425" cy="111125"/>
            </a:xfrm>
            <a:custGeom>
              <a:avLst/>
              <a:gdLst>
                <a:gd name="T0" fmla="*/ 36 w 277"/>
                <a:gd name="T1" fmla="*/ 0 h 42"/>
                <a:gd name="T2" fmla="*/ 241 w 277"/>
                <a:gd name="T3" fmla="*/ 0 h 42"/>
                <a:gd name="T4" fmla="*/ 277 w 277"/>
                <a:gd name="T5" fmla="*/ 36 h 42"/>
                <a:gd name="T6" fmla="*/ 277 w 277"/>
                <a:gd name="T7" fmla="*/ 42 h 42"/>
                <a:gd name="T8" fmla="*/ 0 w 277"/>
                <a:gd name="T9" fmla="*/ 42 h 42"/>
                <a:gd name="T10" fmla="*/ 0 w 277"/>
                <a:gd name="T11" fmla="*/ 36 h 42"/>
                <a:gd name="T12" fmla="*/ 36 w 277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42">
                  <a:moveTo>
                    <a:pt x="36" y="0"/>
                  </a:moveTo>
                  <a:cubicBezTo>
                    <a:pt x="241" y="0"/>
                    <a:pt x="241" y="0"/>
                    <a:pt x="241" y="0"/>
                  </a:cubicBezTo>
                  <a:cubicBezTo>
                    <a:pt x="261" y="0"/>
                    <a:pt x="277" y="16"/>
                    <a:pt x="277" y="36"/>
                  </a:cubicBezTo>
                  <a:cubicBezTo>
                    <a:pt x="277" y="42"/>
                    <a:pt x="277" y="42"/>
                    <a:pt x="277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lose/>
                </a:path>
              </a:pathLst>
            </a:cu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išlïḑé">
              <a:extLst>
                <a:ext uri="{FF2B5EF4-FFF2-40B4-BE49-F238E27FC236}">
                  <a16:creationId xmlns:a16="http://schemas.microsoft.com/office/drawing/2014/main" id="{18DFA911-C41A-4BB0-998F-852C31966C54}"/>
                </a:ext>
              </a:extLst>
            </p:cNvPr>
            <p:cNvSpPr/>
            <p:nvPr/>
          </p:nvSpPr>
          <p:spPr bwMode="auto">
            <a:xfrm>
              <a:off x="5043488" y="1544638"/>
              <a:ext cx="1077913" cy="3843338"/>
            </a:xfrm>
            <a:custGeom>
              <a:avLst/>
              <a:gdLst>
                <a:gd name="T0" fmla="*/ 406 w 407"/>
                <a:gd name="T1" fmla="*/ 187 h 1453"/>
                <a:gd name="T2" fmla="*/ 238 w 407"/>
                <a:gd name="T3" fmla="*/ 284 h 1453"/>
                <a:gd name="T4" fmla="*/ 155 w 407"/>
                <a:gd name="T5" fmla="*/ 237 h 1453"/>
                <a:gd name="T6" fmla="*/ 155 w 407"/>
                <a:gd name="T7" fmla="*/ 140 h 1453"/>
                <a:gd name="T8" fmla="*/ 322 w 407"/>
                <a:gd name="T9" fmla="*/ 44 h 1453"/>
                <a:gd name="T10" fmla="*/ 167 w 407"/>
                <a:gd name="T11" fmla="*/ 12 h 1453"/>
                <a:gd name="T12" fmla="*/ 10 w 407"/>
                <a:gd name="T13" fmla="*/ 179 h 1453"/>
                <a:gd name="T14" fmla="*/ 75 w 407"/>
                <a:gd name="T15" fmla="*/ 356 h 1453"/>
                <a:gd name="T16" fmla="*/ 96 w 407"/>
                <a:gd name="T17" fmla="*/ 401 h 1453"/>
                <a:gd name="T18" fmla="*/ 96 w 407"/>
                <a:gd name="T19" fmla="*/ 555 h 1453"/>
                <a:gd name="T20" fmla="*/ 73 w 407"/>
                <a:gd name="T21" fmla="*/ 1337 h 1453"/>
                <a:gd name="T22" fmla="*/ 186 w 407"/>
                <a:gd name="T23" fmla="*/ 1453 h 1453"/>
                <a:gd name="T24" fmla="*/ 186 w 407"/>
                <a:gd name="T25" fmla="*/ 1453 h 1453"/>
                <a:gd name="T26" fmla="*/ 299 w 407"/>
                <a:gd name="T27" fmla="*/ 1337 h 1453"/>
                <a:gd name="T28" fmla="*/ 276 w 407"/>
                <a:gd name="T29" fmla="*/ 555 h 1453"/>
                <a:gd name="T30" fmla="*/ 276 w 407"/>
                <a:gd name="T31" fmla="*/ 431 h 1453"/>
                <a:gd name="T32" fmla="*/ 307 w 407"/>
                <a:gd name="T33" fmla="*/ 380 h 1453"/>
                <a:gd name="T34" fmla="*/ 407 w 407"/>
                <a:gd name="T35" fmla="*/ 207 h 1453"/>
                <a:gd name="T36" fmla="*/ 406 w 407"/>
                <a:gd name="T37" fmla="*/ 187 h 1453"/>
                <a:gd name="T38" fmla="*/ 188 w 407"/>
                <a:gd name="T39" fmla="*/ 1386 h 1453"/>
                <a:gd name="T40" fmla="*/ 129 w 407"/>
                <a:gd name="T41" fmla="*/ 1327 h 1453"/>
                <a:gd name="T42" fmla="*/ 188 w 407"/>
                <a:gd name="T43" fmla="*/ 1268 h 1453"/>
                <a:gd name="T44" fmla="*/ 247 w 407"/>
                <a:gd name="T45" fmla="*/ 1327 h 1453"/>
                <a:gd name="T46" fmla="*/ 188 w 407"/>
                <a:gd name="T47" fmla="*/ 1386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7" h="1453">
                  <a:moveTo>
                    <a:pt x="406" y="187"/>
                  </a:moveTo>
                  <a:cubicBezTo>
                    <a:pt x="238" y="284"/>
                    <a:pt x="238" y="284"/>
                    <a:pt x="238" y="284"/>
                  </a:cubicBezTo>
                  <a:cubicBezTo>
                    <a:pt x="155" y="237"/>
                    <a:pt x="155" y="237"/>
                    <a:pt x="155" y="237"/>
                  </a:cubicBezTo>
                  <a:cubicBezTo>
                    <a:pt x="155" y="140"/>
                    <a:pt x="155" y="140"/>
                    <a:pt x="155" y="140"/>
                  </a:cubicBezTo>
                  <a:cubicBezTo>
                    <a:pt x="322" y="44"/>
                    <a:pt x="322" y="44"/>
                    <a:pt x="322" y="44"/>
                  </a:cubicBezTo>
                  <a:cubicBezTo>
                    <a:pt x="280" y="14"/>
                    <a:pt x="225" y="0"/>
                    <a:pt x="167" y="12"/>
                  </a:cubicBezTo>
                  <a:cubicBezTo>
                    <a:pt x="84" y="28"/>
                    <a:pt x="22" y="94"/>
                    <a:pt x="10" y="179"/>
                  </a:cubicBezTo>
                  <a:cubicBezTo>
                    <a:pt x="0" y="249"/>
                    <a:pt x="28" y="314"/>
                    <a:pt x="75" y="356"/>
                  </a:cubicBezTo>
                  <a:cubicBezTo>
                    <a:pt x="88" y="368"/>
                    <a:pt x="96" y="384"/>
                    <a:pt x="96" y="401"/>
                  </a:cubicBezTo>
                  <a:cubicBezTo>
                    <a:pt x="96" y="555"/>
                    <a:pt x="96" y="555"/>
                    <a:pt x="96" y="555"/>
                  </a:cubicBezTo>
                  <a:cubicBezTo>
                    <a:pt x="73" y="1337"/>
                    <a:pt x="73" y="1337"/>
                    <a:pt x="73" y="1337"/>
                  </a:cubicBezTo>
                  <a:cubicBezTo>
                    <a:pt x="72" y="1400"/>
                    <a:pt x="123" y="1453"/>
                    <a:pt x="186" y="1453"/>
                  </a:cubicBezTo>
                  <a:cubicBezTo>
                    <a:pt x="186" y="1453"/>
                    <a:pt x="186" y="1453"/>
                    <a:pt x="186" y="1453"/>
                  </a:cubicBezTo>
                  <a:cubicBezTo>
                    <a:pt x="250" y="1453"/>
                    <a:pt x="301" y="1400"/>
                    <a:pt x="299" y="1337"/>
                  </a:cubicBezTo>
                  <a:cubicBezTo>
                    <a:pt x="276" y="555"/>
                    <a:pt x="276" y="555"/>
                    <a:pt x="276" y="555"/>
                  </a:cubicBezTo>
                  <a:cubicBezTo>
                    <a:pt x="276" y="431"/>
                    <a:pt x="276" y="431"/>
                    <a:pt x="276" y="431"/>
                  </a:cubicBezTo>
                  <a:cubicBezTo>
                    <a:pt x="276" y="410"/>
                    <a:pt x="288" y="390"/>
                    <a:pt x="307" y="380"/>
                  </a:cubicBezTo>
                  <a:cubicBezTo>
                    <a:pt x="367" y="345"/>
                    <a:pt x="407" y="281"/>
                    <a:pt x="407" y="207"/>
                  </a:cubicBezTo>
                  <a:cubicBezTo>
                    <a:pt x="407" y="200"/>
                    <a:pt x="407" y="194"/>
                    <a:pt x="406" y="187"/>
                  </a:cubicBezTo>
                  <a:close/>
                  <a:moveTo>
                    <a:pt x="188" y="1386"/>
                  </a:moveTo>
                  <a:cubicBezTo>
                    <a:pt x="156" y="1386"/>
                    <a:pt x="129" y="1360"/>
                    <a:pt x="129" y="1327"/>
                  </a:cubicBezTo>
                  <a:cubicBezTo>
                    <a:pt x="129" y="1295"/>
                    <a:pt x="156" y="1268"/>
                    <a:pt x="188" y="1268"/>
                  </a:cubicBezTo>
                  <a:cubicBezTo>
                    <a:pt x="221" y="1268"/>
                    <a:pt x="247" y="1295"/>
                    <a:pt x="247" y="1327"/>
                  </a:cubicBezTo>
                  <a:cubicBezTo>
                    <a:pt x="247" y="1360"/>
                    <a:pt x="221" y="1386"/>
                    <a:pt x="188" y="1386"/>
                  </a:cubicBez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íŝḻïḍé">
              <a:extLst>
                <a:ext uri="{FF2B5EF4-FFF2-40B4-BE49-F238E27FC236}">
                  <a16:creationId xmlns:a16="http://schemas.microsoft.com/office/drawing/2014/main" id="{5B009DC3-5D13-45AC-9B0A-27F638DC0230}"/>
                </a:ext>
              </a:extLst>
            </p:cNvPr>
            <p:cNvSpPr/>
            <p:nvPr/>
          </p:nvSpPr>
          <p:spPr bwMode="auto">
            <a:xfrm>
              <a:off x="5453063" y="2038350"/>
              <a:ext cx="665163" cy="328613"/>
            </a:xfrm>
            <a:custGeom>
              <a:avLst/>
              <a:gdLst>
                <a:gd name="T0" fmla="*/ 0 w 419"/>
                <a:gd name="T1" fmla="*/ 84 h 207"/>
                <a:gd name="T2" fmla="*/ 0 w 419"/>
                <a:gd name="T3" fmla="*/ 125 h 207"/>
                <a:gd name="T4" fmla="*/ 149 w 419"/>
                <a:gd name="T5" fmla="*/ 207 h 207"/>
                <a:gd name="T6" fmla="*/ 419 w 419"/>
                <a:gd name="T7" fmla="*/ 0 h 207"/>
                <a:gd name="T8" fmla="*/ 139 w 419"/>
                <a:gd name="T9" fmla="*/ 162 h 207"/>
                <a:gd name="T10" fmla="*/ 0 w 419"/>
                <a:gd name="T11" fmla="*/ 8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207">
                  <a:moveTo>
                    <a:pt x="0" y="84"/>
                  </a:moveTo>
                  <a:lnTo>
                    <a:pt x="0" y="125"/>
                  </a:lnTo>
                  <a:lnTo>
                    <a:pt x="149" y="207"/>
                  </a:lnTo>
                  <a:lnTo>
                    <a:pt x="419" y="0"/>
                  </a:lnTo>
                  <a:lnTo>
                    <a:pt x="139" y="16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7" name="î$lîḋê">
              <a:extLst>
                <a:ext uri="{FF2B5EF4-FFF2-40B4-BE49-F238E27FC236}">
                  <a16:creationId xmlns:a16="http://schemas.microsoft.com/office/drawing/2014/main" id="{103ACE64-A4A2-4446-8AFB-037D6DA1FA89}"/>
                </a:ext>
              </a:extLst>
            </p:cNvPr>
            <p:cNvSpPr/>
            <p:nvPr/>
          </p:nvSpPr>
          <p:spPr bwMode="auto">
            <a:xfrm>
              <a:off x="5419725" y="1636713"/>
              <a:ext cx="476250" cy="600075"/>
            </a:xfrm>
            <a:custGeom>
              <a:avLst/>
              <a:gdLst>
                <a:gd name="T0" fmla="*/ 21 w 300"/>
                <a:gd name="T1" fmla="*/ 378 h 378"/>
                <a:gd name="T2" fmla="*/ 0 w 300"/>
                <a:gd name="T3" fmla="*/ 367 h 378"/>
                <a:gd name="T4" fmla="*/ 0 w 300"/>
                <a:gd name="T5" fmla="*/ 163 h 378"/>
                <a:gd name="T6" fmla="*/ 277 w 300"/>
                <a:gd name="T7" fmla="*/ 0 h 378"/>
                <a:gd name="T8" fmla="*/ 300 w 300"/>
                <a:gd name="T9" fmla="*/ 15 h 378"/>
                <a:gd name="T10" fmla="*/ 21 w 300"/>
                <a:gd name="T11" fmla="*/ 175 h 378"/>
                <a:gd name="T12" fmla="*/ 21 w 300"/>
                <a:gd name="T13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0" h="378">
                  <a:moveTo>
                    <a:pt x="21" y="378"/>
                  </a:moveTo>
                  <a:lnTo>
                    <a:pt x="0" y="367"/>
                  </a:lnTo>
                  <a:lnTo>
                    <a:pt x="0" y="163"/>
                  </a:lnTo>
                  <a:lnTo>
                    <a:pt x="277" y="0"/>
                  </a:lnTo>
                  <a:lnTo>
                    <a:pt x="300" y="15"/>
                  </a:lnTo>
                  <a:lnTo>
                    <a:pt x="21" y="175"/>
                  </a:lnTo>
                  <a:lnTo>
                    <a:pt x="21" y="378"/>
                  </a:ln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8" name="íṥlïḓè">
              <a:extLst>
                <a:ext uri="{FF2B5EF4-FFF2-40B4-BE49-F238E27FC236}">
                  <a16:creationId xmlns:a16="http://schemas.microsoft.com/office/drawing/2014/main" id="{39894FE3-7072-4308-BF5F-6CD646EF35CE}"/>
                </a:ext>
              </a:extLst>
            </p:cNvPr>
            <p:cNvSpPr/>
            <p:nvPr/>
          </p:nvSpPr>
          <p:spPr bwMode="auto">
            <a:xfrm>
              <a:off x="5043488" y="1560513"/>
              <a:ext cx="693738" cy="3827463"/>
            </a:xfrm>
            <a:custGeom>
              <a:avLst/>
              <a:gdLst>
                <a:gd name="T0" fmla="*/ 160 w 262"/>
                <a:gd name="T1" fmla="*/ 1423 h 1447"/>
                <a:gd name="T2" fmla="*/ 94 w 262"/>
                <a:gd name="T3" fmla="*/ 1307 h 1447"/>
                <a:gd name="T4" fmla="*/ 120 w 262"/>
                <a:gd name="T5" fmla="*/ 394 h 1447"/>
                <a:gd name="T6" fmla="*/ 39 w 262"/>
                <a:gd name="T7" fmla="*/ 177 h 1447"/>
                <a:gd name="T8" fmla="*/ 262 w 262"/>
                <a:gd name="T9" fmla="*/ 10 h 1447"/>
                <a:gd name="T10" fmla="*/ 179 w 262"/>
                <a:gd name="T11" fmla="*/ 4 h 1447"/>
                <a:gd name="T12" fmla="*/ 10 w 262"/>
                <a:gd name="T13" fmla="*/ 172 h 1447"/>
                <a:gd name="T14" fmla="*/ 77 w 262"/>
                <a:gd name="T15" fmla="*/ 352 h 1447"/>
                <a:gd name="T16" fmla="*/ 96 w 262"/>
                <a:gd name="T17" fmla="*/ 395 h 1447"/>
                <a:gd name="T18" fmla="*/ 96 w 262"/>
                <a:gd name="T19" fmla="*/ 519 h 1447"/>
                <a:gd name="T20" fmla="*/ 96 w 262"/>
                <a:gd name="T21" fmla="*/ 519 h 1447"/>
                <a:gd name="T22" fmla="*/ 96 w 262"/>
                <a:gd name="T23" fmla="*/ 549 h 1447"/>
                <a:gd name="T24" fmla="*/ 73 w 262"/>
                <a:gd name="T25" fmla="*/ 1331 h 1447"/>
                <a:gd name="T26" fmla="*/ 186 w 262"/>
                <a:gd name="T27" fmla="*/ 1447 h 1447"/>
                <a:gd name="T28" fmla="*/ 254 w 262"/>
                <a:gd name="T29" fmla="*/ 1424 h 1447"/>
                <a:gd name="T30" fmla="*/ 160 w 262"/>
                <a:gd name="T31" fmla="*/ 1423 h 1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2" h="1447">
                  <a:moveTo>
                    <a:pt x="160" y="1423"/>
                  </a:moveTo>
                  <a:cubicBezTo>
                    <a:pt x="115" y="1407"/>
                    <a:pt x="94" y="1368"/>
                    <a:pt x="94" y="1307"/>
                  </a:cubicBezTo>
                  <a:cubicBezTo>
                    <a:pt x="94" y="1207"/>
                    <a:pt x="120" y="441"/>
                    <a:pt x="120" y="394"/>
                  </a:cubicBezTo>
                  <a:cubicBezTo>
                    <a:pt x="120" y="318"/>
                    <a:pt x="21" y="318"/>
                    <a:pt x="39" y="177"/>
                  </a:cubicBezTo>
                  <a:cubicBezTo>
                    <a:pt x="58" y="30"/>
                    <a:pt x="207" y="2"/>
                    <a:pt x="262" y="10"/>
                  </a:cubicBezTo>
                  <a:cubicBezTo>
                    <a:pt x="236" y="2"/>
                    <a:pt x="208" y="0"/>
                    <a:pt x="179" y="4"/>
                  </a:cubicBezTo>
                  <a:cubicBezTo>
                    <a:pt x="92" y="16"/>
                    <a:pt x="22" y="86"/>
                    <a:pt x="10" y="172"/>
                  </a:cubicBezTo>
                  <a:cubicBezTo>
                    <a:pt x="0" y="244"/>
                    <a:pt x="28" y="309"/>
                    <a:pt x="77" y="352"/>
                  </a:cubicBezTo>
                  <a:cubicBezTo>
                    <a:pt x="90" y="363"/>
                    <a:pt x="96" y="379"/>
                    <a:pt x="96" y="395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49"/>
                    <a:pt x="96" y="549"/>
                    <a:pt x="96" y="549"/>
                  </a:cubicBezTo>
                  <a:cubicBezTo>
                    <a:pt x="73" y="1331"/>
                    <a:pt x="73" y="1331"/>
                    <a:pt x="73" y="1331"/>
                  </a:cubicBezTo>
                  <a:cubicBezTo>
                    <a:pt x="72" y="1394"/>
                    <a:pt x="123" y="1447"/>
                    <a:pt x="186" y="1447"/>
                  </a:cubicBezTo>
                  <a:cubicBezTo>
                    <a:pt x="212" y="1447"/>
                    <a:pt x="235" y="1438"/>
                    <a:pt x="254" y="1424"/>
                  </a:cubicBezTo>
                  <a:cubicBezTo>
                    <a:pt x="255" y="1423"/>
                    <a:pt x="208" y="1441"/>
                    <a:pt x="160" y="1423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9" name="îṥľîḑè">
              <a:extLst>
                <a:ext uri="{FF2B5EF4-FFF2-40B4-BE49-F238E27FC236}">
                  <a16:creationId xmlns:a16="http://schemas.microsoft.com/office/drawing/2014/main" id="{BD1F1B36-7355-4FFD-8AA0-00D392E20FA6}"/>
                </a:ext>
              </a:extLst>
            </p:cNvPr>
            <p:cNvSpPr/>
            <p:nvPr/>
          </p:nvSpPr>
          <p:spPr bwMode="auto">
            <a:xfrm>
              <a:off x="5740400" y="2038350"/>
              <a:ext cx="381000" cy="3167063"/>
            </a:xfrm>
            <a:custGeom>
              <a:avLst/>
              <a:gdLst>
                <a:gd name="T0" fmla="*/ 143 w 144"/>
                <a:gd name="T1" fmla="*/ 0 h 1197"/>
                <a:gd name="T2" fmla="*/ 132 w 144"/>
                <a:gd name="T3" fmla="*/ 6 h 1197"/>
                <a:gd name="T4" fmla="*/ 108 w 144"/>
                <a:gd name="T5" fmla="*/ 114 h 1197"/>
                <a:gd name="T6" fmla="*/ 12 w 144"/>
                <a:gd name="T7" fmla="*/ 205 h 1197"/>
                <a:gd name="T8" fmla="*/ 2 w 144"/>
                <a:gd name="T9" fmla="*/ 284 h 1197"/>
                <a:gd name="T10" fmla="*/ 27 w 144"/>
                <a:gd name="T11" fmla="*/ 1035 h 1197"/>
                <a:gd name="T12" fmla="*/ 27 w 144"/>
                <a:gd name="T13" fmla="*/ 1197 h 1197"/>
                <a:gd name="T14" fmla="*/ 36 w 144"/>
                <a:gd name="T15" fmla="*/ 1150 h 1197"/>
                <a:gd name="T16" fmla="*/ 13 w 144"/>
                <a:gd name="T17" fmla="*/ 368 h 1197"/>
                <a:gd name="T18" fmla="*/ 13 w 144"/>
                <a:gd name="T19" fmla="*/ 355 h 1197"/>
                <a:gd name="T20" fmla="*/ 13 w 144"/>
                <a:gd name="T21" fmla="*/ 355 h 1197"/>
                <a:gd name="T22" fmla="*/ 13 w 144"/>
                <a:gd name="T23" fmla="*/ 244 h 1197"/>
                <a:gd name="T24" fmla="*/ 44 w 144"/>
                <a:gd name="T25" fmla="*/ 193 h 1197"/>
                <a:gd name="T26" fmla="*/ 144 w 144"/>
                <a:gd name="T27" fmla="*/ 20 h 1197"/>
                <a:gd name="T28" fmla="*/ 143 w 144"/>
                <a:gd name="T29" fmla="*/ 0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1197">
                  <a:moveTo>
                    <a:pt x="143" y="0"/>
                  </a:moveTo>
                  <a:cubicBezTo>
                    <a:pt x="132" y="6"/>
                    <a:pt x="132" y="6"/>
                    <a:pt x="132" y="6"/>
                  </a:cubicBezTo>
                  <a:cubicBezTo>
                    <a:pt x="132" y="6"/>
                    <a:pt x="138" y="60"/>
                    <a:pt x="108" y="114"/>
                  </a:cubicBezTo>
                  <a:cubicBezTo>
                    <a:pt x="78" y="168"/>
                    <a:pt x="38" y="169"/>
                    <a:pt x="12" y="205"/>
                  </a:cubicBezTo>
                  <a:cubicBezTo>
                    <a:pt x="0" y="220"/>
                    <a:pt x="1" y="246"/>
                    <a:pt x="2" y="284"/>
                  </a:cubicBezTo>
                  <a:cubicBezTo>
                    <a:pt x="2" y="308"/>
                    <a:pt x="15" y="789"/>
                    <a:pt x="27" y="1035"/>
                  </a:cubicBezTo>
                  <a:cubicBezTo>
                    <a:pt x="30" y="1101"/>
                    <a:pt x="36" y="1163"/>
                    <a:pt x="27" y="1197"/>
                  </a:cubicBezTo>
                  <a:cubicBezTo>
                    <a:pt x="33" y="1183"/>
                    <a:pt x="37" y="1167"/>
                    <a:pt x="36" y="1150"/>
                  </a:cubicBezTo>
                  <a:cubicBezTo>
                    <a:pt x="13" y="368"/>
                    <a:pt x="13" y="368"/>
                    <a:pt x="13" y="368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244"/>
                    <a:pt x="13" y="244"/>
                    <a:pt x="13" y="244"/>
                  </a:cubicBezTo>
                  <a:cubicBezTo>
                    <a:pt x="13" y="223"/>
                    <a:pt x="25" y="203"/>
                    <a:pt x="44" y="193"/>
                  </a:cubicBezTo>
                  <a:cubicBezTo>
                    <a:pt x="104" y="158"/>
                    <a:pt x="144" y="94"/>
                    <a:pt x="144" y="20"/>
                  </a:cubicBezTo>
                  <a:cubicBezTo>
                    <a:pt x="144" y="13"/>
                    <a:pt x="144" y="7"/>
                    <a:pt x="143" y="0"/>
                  </a:cubicBez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0" name="íšľîḋé">
              <a:extLst>
                <a:ext uri="{FF2B5EF4-FFF2-40B4-BE49-F238E27FC236}">
                  <a16:creationId xmlns:a16="http://schemas.microsoft.com/office/drawing/2014/main" id="{77706F0F-1BF6-4B79-9B2F-4366DC575D85}"/>
                </a:ext>
              </a:extLst>
            </p:cNvPr>
            <p:cNvSpPr/>
            <p:nvPr/>
          </p:nvSpPr>
          <p:spPr bwMode="auto">
            <a:xfrm>
              <a:off x="5372100" y="2608263"/>
              <a:ext cx="333375" cy="2208213"/>
            </a:xfrm>
            <a:custGeom>
              <a:avLst/>
              <a:gdLst>
                <a:gd name="T0" fmla="*/ 126 w 126"/>
                <a:gd name="T1" fmla="*/ 833 h 835"/>
                <a:gd name="T2" fmla="*/ 109 w 126"/>
                <a:gd name="T3" fmla="*/ 824 h 835"/>
                <a:gd name="T4" fmla="*/ 64 w 126"/>
                <a:gd name="T5" fmla="*/ 814 h 835"/>
                <a:gd name="T6" fmla="*/ 56 w 126"/>
                <a:gd name="T7" fmla="*/ 815 h 835"/>
                <a:gd name="T8" fmla="*/ 0 w 126"/>
                <a:gd name="T9" fmla="*/ 835 h 835"/>
                <a:gd name="T10" fmla="*/ 1 w 126"/>
                <a:gd name="T11" fmla="*/ 824 h 835"/>
                <a:gd name="T12" fmla="*/ 25 w 126"/>
                <a:gd name="T13" fmla="*/ 39 h 835"/>
                <a:gd name="T14" fmla="*/ 37 w 126"/>
                <a:gd name="T15" fmla="*/ 11 h 835"/>
                <a:gd name="T16" fmla="*/ 57 w 126"/>
                <a:gd name="T17" fmla="*/ 1 h 835"/>
                <a:gd name="T18" fmla="*/ 65 w 126"/>
                <a:gd name="T19" fmla="*/ 0 h 835"/>
                <a:gd name="T20" fmla="*/ 105 w 126"/>
                <a:gd name="T21" fmla="*/ 39 h 835"/>
                <a:gd name="T22" fmla="*/ 126 w 126"/>
                <a:gd name="T23" fmla="*/ 833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6" h="835">
                  <a:moveTo>
                    <a:pt x="126" y="833"/>
                  </a:moveTo>
                  <a:cubicBezTo>
                    <a:pt x="121" y="829"/>
                    <a:pt x="115" y="826"/>
                    <a:pt x="109" y="824"/>
                  </a:cubicBezTo>
                  <a:cubicBezTo>
                    <a:pt x="95" y="818"/>
                    <a:pt x="80" y="814"/>
                    <a:pt x="64" y="814"/>
                  </a:cubicBezTo>
                  <a:cubicBezTo>
                    <a:pt x="61" y="814"/>
                    <a:pt x="59" y="814"/>
                    <a:pt x="56" y="815"/>
                  </a:cubicBezTo>
                  <a:cubicBezTo>
                    <a:pt x="35" y="816"/>
                    <a:pt x="16" y="823"/>
                    <a:pt x="0" y="835"/>
                  </a:cubicBezTo>
                  <a:cubicBezTo>
                    <a:pt x="1" y="824"/>
                    <a:pt x="1" y="824"/>
                    <a:pt x="1" y="82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6" y="28"/>
                    <a:pt x="30" y="18"/>
                    <a:pt x="37" y="11"/>
                  </a:cubicBezTo>
                  <a:cubicBezTo>
                    <a:pt x="43" y="6"/>
                    <a:pt x="49" y="2"/>
                    <a:pt x="57" y="1"/>
                  </a:cubicBezTo>
                  <a:cubicBezTo>
                    <a:pt x="59" y="0"/>
                    <a:pt x="62" y="0"/>
                    <a:pt x="65" y="0"/>
                  </a:cubicBezTo>
                  <a:cubicBezTo>
                    <a:pt x="87" y="0"/>
                    <a:pt x="105" y="17"/>
                    <a:pt x="105" y="39"/>
                  </a:cubicBezTo>
                  <a:lnTo>
                    <a:pt x="126" y="833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1" name="îṩlîḓè">
              <a:extLst>
                <a:ext uri="{FF2B5EF4-FFF2-40B4-BE49-F238E27FC236}">
                  <a16:creationId xmlns:a16="http://schemas.microsoft.com/office/drawing/2014/main" id="{EA9A78A7-637B-4D51-A22D-0C3F39A4D9C7}"/>
                </a:ext>
              </a:extLst>
            </p:cNvPr>
            <p:cNvSpPr/>
            <p:nvPr/>
          </p:nvSpPr>
          <p:spPr bwMode="auto">
            <a:xfrm>
              <a:off x="5372100" y="2609850"/>
              <a:ext cx="288925" cy="2206625"/>
            </a:xfrm>
            <a:custGeom>
              <a:avLst/>
              <a:gdLst>
                <a:gd name="T0" fmla="*/ 109 w 109"/>
                <a:gd name="T1" fmla="*/ 823 h 834"/>
                <a:gd name="T2" fmla="*/ 0 w 109"/>
                <a:gd name="T3" fmla="*/ 834 h 834"/>
                <a:gd name="T4" fmla="*/ 25 w 109"/>
                <a:gd name="T5" fmla="*/ 38 h 834"/>
                <a:gd name="T6" fmla="*/ 37 w 109"/>
                <a:gd name="T7" fmla="*/ 10 h 834"/>
                <a:gd name="T8" fmla="*/ 57 w 109"/>
                <a:gd name="T9" fmla="*/ 0 h 834"/>
                <a:gd name="T10" fmla="*/ 88 w 109"/>
                <a:gd name="T11" fmla="*/ 38 h 834"/>
                <a:gd name="T12" fmla="*/ 109 w 109"/>
                <a:gd name="T13" fmla="*/ 823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834">
                  <a:moveTo>
                    <a:pt x="109" y="823"/>
                  </a:moveTo>
                  <a:cubicBezTo>
                    <a:pt x="75" y="811"/>
                    <a:pt x="38" y="807"/>
                    <a:pt x="0" y="834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27"/>
                    <a:pt x="30" y="17"/>
                    <a:pt x="37" y="10"/>
                  </a:cubicBezTo>
                  <a:cubicBezTo>
                    <a:pt x="43" y="5"/>
                    <a:pt x="49" y="1"/>
                    <a:pt x="57" y="0"/>
                  </a:cubicBezTo>
                  <a:cubicBezTo>
                    <a:pt x="74" y="4"/>
                    <a:pt x="88" y="19"/>
                    <a:pt x="88" y="38"/>
                  </a:cubicBezTo>
                  <a:cubicBezTo>
                    <a:pt x="109" y="823"/>
                    <a:pt x="109" y="823"/>
                    <a:pt x="109" y="82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2" name="ïsľîḍe">
              <a:extLst>
                <a:ext uri="{FF2B5EF4-FFF2-40B4-BE49-F238E27FC236}">
                  <a16:creationId xmlns:a16="http://schemas.microsoft.com/office/drawing/2014/main" id="{DEF16381-D280-4F5E-A5CF-F78D44095A3D}"/>
                </a:ext>
              </a:extLst>
            </p:cNvPr>
            <p:cNvSpPr/>
            <p:nvPr/>
          </p:nvSpPr>
          <p:spPr bwMode="auto">
            <a:xfrm>
              <a:off x="5387975" y="5032375"/>
              <a:ext cx="309563" cy="177800"/>
            </a:xfrm>
            <a:custGeom>
              <a:avLst/>
              <a:gdLst>
                <a:gd name="T0" fmla="*/ 117 w 117"/>
                <a:gd name="T1" fmla="*/ 8 h 67"/>
                <a:gd name="T2" fmla="*/ 58 w 117"/>
                <a:gd name="T3" fmla="*/ 67 h 67"/>
                <a:gd name="T4" fmla="*/ 0 w 117"/>
                <a:gd name="T5" fmla="*/ 8 h 67"/>
                <a:gd name="T6" fmla="*/ 0 w 117"/>
                <a:gd name="T7" fmla="*/ 0 h 67"/>
                <a:gd name="T8" fmla="*/ 58 w 117"/>
                <a:gd name="T9" fmla="*/ 50 h 67"/>
                <a:gd name="T10" fmla="*/ 117 w 117"/>
                <a:gd name="T11" fmla="*/ 0 h 67"/>
                <a:gd name="T12" fmla="*/ 117 w 117"/>
                <a:gd name="T13" fmla="*/ 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67">
                  <a:moveTo>
                    <a:pt x="117" y="8"/>
                  </a:moveTo>
                  <a:cubicBezTo>
                    <a:pt x="117" y="41"/>
                    <a:pt x="91" y="67"/>
                    <a:pt x="58" y="67"/>
                  </a:cubicBezTo>
                  <a:cubicBezTo>
                    <a:pt x="26" y="67"/>
                    <a:pt x="0" y="41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  <a:cubicBezTo>
                    <a:pt x="4" y="28"/>
                    <a:pt x="29" y="50"/>
                    <a:pt x="58" y="50"/>
                  </a:cubicBezTo>
                  <a:cubicBezTo>
                    <a:pt x="88" y="50"/>
                    <a:pt x="113" y="28"/>
                    <a:pt x="117" y="0"/>
                  </a:cubicBezTo>
                  <a:cubicBezTo>
                    <a:pt x="117" y="3"/>
                    <a:pt x="117" y="5"/>
                    <a:pt x="117" y="8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3" name="ïṩ1íḋé">
              <a:extLst>
                <a:ext uri="{FF2B5EF4-FFF2-40B4-BE49-F238E27FC236}">
                  <a16:creationId xmlns:a16="http://schemas.microsoft.com/office/drawing/2014/main" id="{D2564FE4-A153-4F22-BA63-69F41240A476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4" name="í$lïde">
              <a:extLst>
                <a:ext uri="{FF2B5EF4-FFF2-40B4-BE49-F238E27FC236}">
                  <a16:creationId xmlns:a16="http://schemas.microsoft.com/office/drawing/2014/main" id="{72F2BD48-BC50-4310-B72A-EFE402D90DB8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custGeom>
              <a:avLst/>
              <a:gdLst>
                <a:gd name="T0" fmla="*/ 0 w 565"/>
                <a:gd name="T1" fmla="*/ 91 h 91"/>
                <a:gd name="T2" fmla="*/ 565 w 565"/>
                <a:gd name="T3" fmla="*/ 0 h 91"/>
                <a:gd name="T4" fmla="*/ 0 w 565"/>
                <a:gd name="T5" fmla="*/ 0 h 91"/>
                <a:gd name="T6" fmla="*/ 0 w 565"/>
                <a:gd name="T7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91">
                  <a:moveTo>
                    <a:pt x="0" y="91"/>
                  </a:moveTo>
                  <a:lnTo>
                    <a:pt x="565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5" name="íṧ1íḑé">
              <a:extLst>
                <a:ext uri="{FF2B5EF4-FFF2-40B4-BE49-F238E27FC236}">
                  <a16:creationId xmlns:a16="http://schemas.microsoft.com/office/drawing/2014/main" id="{CAF5F313-57A5-40E3-9E31-3203F11BEC4D}"/>
                </a:ext>
              </a:extLst>
            </p:cNvPr>
            <p:cNvSpPr/>
            <p:nvPr/>
          </p:nvSpPr>
          <p:spPr bwMode="auto">
            <a:xfrm>
              <a:off x="5035550" y="5588000"/>
              <a:ext cx="1006475" cy="53975"/>
            </a:xfrm>
            <a:prstGeom prst="rect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6" name="isḻîďé">
              <a:extLst>
                <a:ext uri="{FF2B5EF4-FFF2-40B4-BE49-F238E27FC236}">
                  <a16:creationId xmlns:a16="http://schemas.microsoft.com/office/drawing/2014/main" id="{5A49CA1A-67FB-492C-BD21-621B4DCFD536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249238"/>
            </a:xfrm>
            <a:custGeom>
              <a:avLst/>
              <a:gdLst>
                <a:gd name="T0" fmla="*/ 142 w 147"/>
                <a:gd name="T1" fmla="*/ 157 h 157"/>
                <a:gd name="T2" fmla="*/ 7 w 147"/>
                <a:gd name="T3" fmla="*/ 157 h 157"/>
                <a:gd name="T4" fmla="*/ 0 w 147"/>
                <a:gd name="T5" fmla="*/ 0 h 157"/>
                <a:gd name="T6" fmla="*/ 147 w 147"/>
                <a:gd name="T7" fmla="*/ 0 h 157"/>
                <a:gd name="T8" fmla="*/ 142 w 147"/>
                <a:gd name="T9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7">
                  <a:moveTo>
                    <a:pt x="142" y="157"/>
                  </a:moveTo>
                  <a:lnTo>
                    <a:pt x="7" y="157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7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7" name="îṣḷîḋé">
              <a:extLst>
                <a:ext uri="{FF2B5EF4-FFF2-40B4-BE49-F238E27FC236}">
                  <a16:creationId xmlns:a16="http://schemas.microsoft.com/office/drawing/2014/main" id="{E25F0C7E-D155-4626-98E8-6BD1BCAD3637}"/>
                </a:ext>
              </a:extLst>
            </p:cNvPr>
            <p:cNvSpPr/>
            <p:nvPr/>
          </p:nvSpPr>
          <p:spPr bwMode="auto">
            <a:xfrm>
              <a:off x="3875088" y="5392738"/>
              <a:ext cx="225425" cy="249238"/>
            </a:xfrm>
            <a:custGeom>
              <a:avLst/>
              <a:gdLst>
                <a:gd name="T0" fmla="*/ 0 w 85"/>
                <a:gd name="T1" fmla="*/ 0 h 94"/>
                <a:gd name="T2" fmla="*/ 32 w 85"/>
                <a:gd name="T3" fmla="*/ 74 h 94"/>
                <a:gd name="T4" fmla="*/ 85 w 85"/>
                <a:gd name="T5" fmla="*/ 74 h 94"/>
                <a:gd name="T6" fmla="*/ 85 w 85"/>
                <a:gd name="T7" fmla="*/ 94 h 94"/>
                <a:gd name="T8" fmla="*/ 4 w 85"/>
                <a:gd name="T9" fmla="*/ 94 h 94"/>
                <a:gd name="T10" fmla="*/ 0 w 85"/>
                <a:gd name="T11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4">
                  <a:moveTo>
                    <a:pt x="0" y="0"/>
                  </a:moveTo>
                  <a:cubicBezTo>
                    <a:pt x="0" y="0"/>
                    <a:pt x="3" y="55"/>
                    <a:pt x="32" y="74"/>
                  </a:cubicBezTo>
                  <a:cubicBezTo>
                    <a:pt x="61" y="94"/>
                    <a:pt x="85" y="74"/>
                    <a:pt x="85" y="74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4" y="94"/>
                    <a:pt x="4" y="94"/>
                    <a:pt x="4" y="9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8" name="ïslíḓe">
              <a:extLst>
                <a:ext uri="{FF2B5EF4-FFF2-40B4-BE49-F238E27FC236}">
                  <a16:creationId xmlns:a16="http://schemas.microsoft.com/office/drawing/2014/main" id="{29C868C1-3009-422B-AF69-AFB2C25B27C8}"/>
                </a:ext>
              </a:extLst>
            </p:cNvPr>
            <p:cNvSpPr/>
            <p:nvPr/>
          </p:nvSpPr>
          <p:spPr bwMode="auto">
            <a:xfrm>
              <a:off x="3943350" y="5411788"/>
              <a:ext cx="26988" cy="25400"/>
            </a:xfrm>
            <a:custGeom>
              <a:avLst/>
              <a:gdLst>
                <a:gd name="T0" fmla="*/ 0 w 10"/>
                <a:gd name="T1" fmla="*/ 5 h 10"/>
                <a:gd name="T2" fmla="*/ 5 w 10"/>
                <a:gd name="T3" fmla="*/ 1 h 10"/>
                <a:gd name="T4" fmla="*/ 9 w 10"/>
                <a:gd name="T5" fmla="*/ 6 h 10"/>
                <a:gd name="T6" fmla="*/ 4 w 10"/>
                <a:gd name="T7" fmla="*/ 10 h 10"/>
                <a:gd name="T8" fmla="*/ 0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5"/>
                  </a:moveTo>
                  <a:cubicBezTo>
                    <a:pt x="0" y="2"/>
                    <a:pt x="3" y="0"/>
                    <a:pt x="5" y="1"/>
                  </a:cubicBezTo>
                  <a:cubicBezTo>
                    <a:pt x="8" y="1"/>
                    <a:pt x="10" y="3"/>
                    <a:pt x="9" y="6"/>
                  </a:cubicBezTo>
                  <a:cubicBezTo>
                    <a:pt x="9" y="8"/>
                    <a:pt x="7" y="10"/>
                    <a:pt x="4" y="10"/>
                  </a:cubicBezTo>
                  <a:cubicBezTo>
                    <a:pt x="2" y="10"/>
                    <a:pt x="0" y="7"/>
                    <a:pt x="0" y="5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9" name="íSļîḋe">
              <a:extLst>
                <a:ext uri="{FF2B5EF4-FFF2-40B4-BE49-F238E27FC236}">
                  <a16:creationId xmlns:a16="http://schemas.microsoft.com/office/drawing/2014/main" id="{33D22A43-2DC0-43BD-9981-3A364F73FEE0}"/>
                </a:ext>
              </a:extLst>
            </p:cNvPr>
            <p:cNvSpPr/>
            <p:nvPr/>
          </p:nvSpPr>
          <p:spPr bwMode="auto">
            <a:xfrm>
              <a:off x="3957638" y="5424488"/>
              <a:ext cx="171450" cy="123825"/>
            </a:xfrm>
            <a:custGeom>
              <a:avLst/>
              <a:gdLst>
                <a:gd name="T0" fmla="*/ 0 w 65"/>
                <a:gd name="T1" fmla="*/ 0 h 47"/>
                <a:gd name="T2" fmla="*/ 65 w 65"/>
                <a:gd name="T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7">
                  <a:moveTo>
                    <a:pt x="0" y="0"/>
                  </a:moveTo>
                  <a:cubicBezTo>
                    <a:pt x="12" y="17"/>
                    <a:pt x="34" y="41"/>
                    <a:pt x="65" y="47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0" name="íŝľiḍe">
              <a:extLst>
                <a:ext uri="{FF2B5EF4-FFF2-40B4-BE49-F238E27FC236}">
                  <a16:creationId xmlns:a16="http://schemas.microsoft.com/office/drawing/2014/main" id="{11713F6C-B7FF-4E2F-A4A2-5AF6DDF7AF75}"/>
                </a:ext>
              </a:extLst>
            </p:cNvPr>
            <p:cNvSpPr/>
            <p:nvPr/>
          </p:nvSpPr>
          <p:spPr bwMode="auto">
            <a:xfrm>
              <a:off x="4105275" y="5535613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6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2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3"/>
                    <a:pt x="14" y="4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1" name="íṡļïḍe">
              <a:extLst>
                <a:ext uri="{FF2B5EF4-FFF2-40B4-BE49-F238E27FC236}">
                  <a16:creationId xmlns:a16="http://schemas.microsoft.com/office/drawing/2014/main" id="{CA55C231-15FC-4A1D-8C19-5ED00883D96F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6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6"/>
                  </a:cubicBezTo>
                  <a:cubicBezTo>
                    <a:pt x="87" y="26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2" name="iṡļíḑé">
              <a:extLst>
                <a:ext uri="{FF2B5EF4-FFF2-40B4-BE49-F238E27FC236}">
                  <a16:creationId xmlns:a16="http://schemas.microsoft.com/office/drawing/2014/main" id="{ABEDC04F-4C5F-4B64-8EBA-CFA160A1B68E}"/>
                </a:ext>
              </a:extLst>
            </p:cNvPr>
            <p:cNvSpPr/>
            <p:nvPr/>
          </p:nvSpPr>
          <p:spPr bwMode="auto">
            <a:xfrm>
              <a:off x="4049713" y="5392738"/>
              <a:ext cx="19050" cy="68263"/>
            </a:xfrm>
            <a:custGeom>
              <a:avLst/>
              <a:gdLst>
                <a:gd name="T0" fmla="*/ 3 w 7"/>
                <a:gd name="T1" fmla="*/ 26 h 26"/>
                <a:gd name="T2" fmla="*/ 3 w 7"/>
                <a:gd name="T3" fmla="*/ 26 h 26"/>
                <a:gd name="T4" fmla="*/ 0 w 7"/>
                <a:gd name="T5" fmla="*/ 22 h 26"/>
                <a:gd name="T6" fmla="*/ 0 w 7"/>
                <a:gd name="T7" fmla="*/ 0 h 26"/>
                <a:gd name="T8" fmla="*/ 7 w 7"/>
                <a:gd name="T9" fmla="*/ 0 h 26"/>
                <a:gd name="T10" fmla="*/ 7 w 7"/>
                <a:gd name="T11" fmla="*/ 22 h 26"/>
                <a:gd name="T12" fmla="*/ 3 w 7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6"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5" y="26"/>
                    <a:pt x="3" y="26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3" name="iṣ1îde">
              <a:extLst>
                <a:ext uri="{FF2B5EF4-FFF2-40B4-BE49-F238E27FC236}">
                  <a16:creationId xmlns:a16="http://schemas.microsoft.com/office/drawing/2014/main" id="{ACD087E8-9F3C-4B56-B1DE-5590F1F46004}"/>
                </a:ext>
              </a:extLst>
            </p:cNvPr>
            <p:cNvSpPr/>
            <p:nvPr/>
          </p:nvSpPr>
          <p:spPr bwMode="auto">
            <a:xfrm>
              <a:off x="3870325" y="5384800"/>
              <a:ext cx="242888" cy="7938"/>
            </a:xfrm>
            <a:custGeom>
              <a:avLst/>
              <a:gdLst>
                <a:gd name="T0" fmla="*/ 90 w 92"/>
                <a:gd name="T1" fmla="*/ 0 h 3"/>
                <a:gd name="T2" fmla="*/ 2 w 92"/>
                <a:gd name="T3" fmla="*/ 0 h 3"/>
                <a:gd name="T4" fmla="*/ 0 w 92"/>
                <a:gd name="T5" fmla="*/ 2 h 3"/>
                <a:gd name="T6" fmla="*/ 0 w 92"/>
                <a:gd name="T7" fmla="*/ 2 h 3"/>
                <a:gd name="T8" fmla="*/ 2 w 92"/>
                <a:gd name="T9" fmla="*/ 3 h 3"/>
                <a:gd name="T10" fmla="*/ 90 w 92"/>
                <a:gd name="T11" fmla="*/ 3 h 3"/>
                <a:gd name="T12" fmla="*/ 92 w 92"/>
                <a:gd name="T13" fmla="*/ 2 h 3"/>
                <a:gd name="T14" fmla="*/ 92 w 92"/>
                <a:gd name="T15" fmla="*/ 2 h 3"/>
                <a:gd name="T16" fmla="*/ 90 w 9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">
                  <a:moveTo>
                    <a:pt x="9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2" y="2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4" name="ïş1ïďé">
              <a:extLst>
                <a:ext uri="{FF2B5EF4-FFF2-40B4-BE49-F238E27FC236}">
                  <a16:creationId xmlns:a16="http://schemas.microsoft.com/office/drawing/2014/main" id="{DDCBEEDB-923A-4C2C-9F33-ED767AEF73CF}"/>
                </a:ext>
              </a:extLst>
            </p:cNvPr>
            <p:cNvSpPr/>
            <p:nvPr/>
          </p:nvSpPr>
          <p:spPr bwMode="auto">
            <a:xfrm>
              <a:off x="4049713" y="5468938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5" name="ïṥḻïḋe">
              <a:extLst>
                <a:ext uri="{FF2B5EF4-FFF2-40B4-BE49-F238E27FC236}">
                  <a16:creationId xmlns:a16="http://schemas.microsoft.com/office/drawing/2014/main" id="{98ABC332-584B-4BB9-A4F9-7DADD3FA38D9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244475"/>
            </a:xfrm>
            <a:custGeom>
              <a:avLst/>
              <a:gdLst>
                <a:gd name="T0" fmla="*/ 142 w 147"/>
                <a:gd name="T1" fmla="*/ 154 h 154"/>
                <a:gd name="T2" fmla="*/ 7 w 147"/>
                <a:gd name="T3" fmla="*/ 154 h 154"/>
                <a:gd name="T4" fmla="*/ 0 w 147"/>
                <a:gd name="T5" fmla="*/ 0 h 154"/>
                <a:gd name="T6" fmla="*/ 147 w 147"/>
                <a:gd name="T7" fmla="*/ 0 h 154"/>
                <a:gd name="T8" fmla="*/ 142 w 147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4">
                  <a:moveTo>
                    <a:pt x="142" y="154"/>
                  </a:moveTo>
                  <a:lnTo>
                    <a:pt x="7" y="154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6" name="íṥlîḋê">
              <a:extLst>
                <a:ext uri="{FF2B5EF4-FFF2-40B4-BE49-F238E27FC236}">
                  <a16:creationId xmlns:a16="http://schemas.microsoft.com/office/drawing/2014/main" id="{2D2F06CF-DE40-4924-8D4E-3ABACDA7C064}"/>
                </a:ext>
              </a:extLst>
            </p:cNvPr>
            <p:cNvSpPr/>
            <p:nvPr/>
          </p:nvSpPr>
          <p:spPr bwMode="auto">
            <a:xfrm>
              <a:off x="4759325" y="4724400"/>
              <a:ext cx="225425" cy="244475"/>
            </a:xfrm>
            <a:custGeom>
              <a:avLst/>
              <a:gdLst>
                <a:gd name="T0" fmla="*/ 0 w 85"/>
                <a:gd name="T1" fmla="*/ 0 h 93"/>
                <a:gd name="T2" fmla="*/ 32 w 85"/>
                <a:gd name="T3" fmla="*/ 74 h 93"/>
                <a:gd name="T4" fmla="*/ 85 w 85"/>
                <a:gd name="T5" fmla="*/ 74 h 93"/>
                <a:gd name="T6" fmla="*/ 85 w 85"/>
                <a:gd name="T7" fmla="*/ 93 h 93"/>
                <a:gd name="T8" fmla="*/ 4 w 85"/>
                <a:gd name="T9" fmla="*/ 93 h 93"/>
                <a:gd name="T10" fmla="*/ 0 w 85"/>
                <a:gd name="T1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3">
                  <a:moveTo>
                    <a:pt x="0" y="0"/>
                  </a:moveTo>
                  <a:cubicBezTo>
                    <a:pt x="0" y="0"/>
                    <a:pt x="3" y="54"/>
                    <a:pt x="32" y="74"/>
                  </a:cubicBezTo>
                  <a:cubicBezTo>
                    <a:pt x="61" y="93"/>
                    <a:pt x="85" y="74"/>
                    <a:pt x="85" y="74"/>
                  </a:cubicBezTo>
                  <a:cubicBezTo>
                    <a:pt x="85" y="93"/>
                    <a:pt x="85" y="93"/>
                    <a:pt x="85" y="93"/>
                  </a:cubicBezTo>
                  <a:cubicBezTo>
                    <a:pt x="4" y="93"/>
                    <a:pt x="4" y="93"/>
                    <a:pt x="4" y="9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7" name="işḷiḋè">
              <a:extLst>
                <a:ext uri="{FF2B5EF4-FFF2-40B4-BE49-F238E27FC236}">
                  <a16:creationId xmlns:a16="http://schemas.microsoft.com/office/drawing/2014/main" id="{1A65A147-B113-4C90-94FE-3E0B5B339D0D}"/>
                </a:ext>
              </a:extLst>
            </p:cNvPr>
            <p:cNvSpPr/>
            <p:nvPr/>
          </p:nvSpPr>
          <p:spPr bwMode="auto">
            <a:xfrm>
              <a:off x="4829175" y="4741863"/>
              <a:ext cx="25400" cy="23813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0 h 9"/>
                <a:gd name="T4" fmla="*/ 10 w 10"/>
                <a:gd name="T5" fmla="*/ 5 h 9"/>
                <a:gd name="T6" fmla="*/ 4 w 10"/>
                <a:gd name="T7" fmla="*/ 9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1" y="1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9" y="8"/>
                    <a:pt x="7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8" name="îSľïḑé">
              <a:extLst>
                <a:ext uri="{FF2B5EF4-FFF2-40B4-BE49-F238E27FC236}">
                  <a16:creationId xmlns:a16="http://schemas.microsoft.com/office/drawing/2014/main" id="{5227F7FF-1A7E-4F09-A456-C0374A4305F6}"/>
                </a:ext>
              </a:extLst>
            </p:cNvPr>
            <p:cNvSpPr/>
            <p:nvPr/>
          </p:nvSpPr>
          <p:spPr bwMode="auto">
            <a:xfrm>
              <a:off x="4841875" y="4756150"/>
              <a:ext cx="171450" cy="120650"/>
            </a:xfrm>
            <a:custGeom>
              <a:avLst/>
              <a:gdLst>
                <a:gd name="T0" fmla="*/ 0 w 65"/>
                <a:gd name="T1" fmla="*/ 0 h 46"/>
                <a:gd name="T2" fmla="*/ 65 w 65"/>
                <a:gd name="T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6">
                  <a:moveTo>
                    <a:pt x="0" y="0"/>
                  </a:moveTo>
                  <a:cubicBezTo>
                    <a:pt x="12" y="16"/>
                    <a:pt x="34" y="40"/>
                    <a:pt x="65" y="46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9" name="ïṧļíḍè">
              <a:extLst>
                <a:ext uri="{FF2B5EF4-FFF2-40B4-BE49-F238E27FC236}">
                  <a16:creationId xmlns:a16="http://schemas.microsoft.com/office/drawing/2014/main" id="{7A4564F7-2137-4E5F-9AAB-D2771A975695}"/>
                </a:ext>
              </a:extLst>
            </p:cNvPr>
            <p:cNvSpPr/>
            <p:nvPr/>
          </p:nvSpPr>
          <p:spPr bwMode="auto">
            <a:xfrm>
              <a:off x="4989513" y="4864100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7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3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5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3" y="0"/>
                    <a:pt x="4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0" name="ïṩľïďê">
              <a:extLst>
                <a:ext uri="{FF2B5EF4-FFF2-40B4-BE49-F238E27FC236}">
                  <a16:creationId xmlns:a16="http://schemas.microsoft.com/office/drawing/2014/main" id="{40028441-771B-4FD4-85F5-5694ECE1D47A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5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5"/>
                  </a:cubicBezTo>
                  <a:cubicBezTo>
                    <a:pt x="87" y="25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1" name="ís1íďe">
              <a:extLst>
                <a:ext uri="{FF2B5EF4-FFF2-40B4-BE49-F238E27FC236}">
                  <a16:creationId xmlns:a16="http://schemas.microsoft.com/office/drawing/2014/main" id="{B39118C1-4347-4283-90D4-9AD647C4C423}"/>
                </a:ext>
              </a:extLst>
            </p:cNvPr>
            <p:cNvSpPr/>
            <p:nvPr/>
          </p:nvSpPr>
          <p:spPr bwMode="auto">
            <a:xfrm>
              <a:off x="4933950" y="4724400"/>
              <a:ext cx="19050" cy="65088"/>
            </a:xfrm>
            <a:custGeom>
              <a:avLst/>
              <a:gdLst>
                <a:gd name="T0" fmla="*/ 3 w 7"/>
                <a:gd name="T1" fmla="*/ 25 h 25"/>
                <a:gd name="T2" fmla="*/ 3 w 7"/>
                <a:gd name="T3" fmla="*/ 25 h 25"/>
                <a:gd name="T4" fmla="*/ 0 w 7"/>
                <a:gd name="T5" fmla="*/ 22 h 25"/>
                <a:gd name="T6" fmla="*/ 0 w 7"/>
                <a:gd name="T7" fmla="*/ 0 h 25"/>
                <a:gd name="T8" fmla="*/ 7 w 7"/>
                <a:gd name="T9" fmla="*/ 0 h 25"/>
                <a:gd name="T10" fmla="*/ 7 w 7"/>
                <a:gd name="T11" fmla="*/ 22 h 25"/>
                <a:gd name="T12" fmla="*/ 3 w 7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5">
                  <a:moveTo>
                    <a:pt x="3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1" y="25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6" y="25"/>
                    <a:pt x="3" y="25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2" name="íślíḑe">
              <a:extLst>
                <a:ext uri="{FF2B5EF4-FFF2-40B4-BE49-F238E27FC236}">
                  <a16:creationId xmlns:a16="http://schemas.microsoft.com/office/drawing/2014/main" id="{408AAAFD-3C44-4979-8ADC-58A09DF036A7}"/>
                </a:ext>
              </a:extLst>
            </p:cNvPr>
            <p:cNvSpPr/>
            <p:nvPr/>
          </p:nvSpPr>
          <p:spPr bwMode="auto">
            <a:xfrm>
              <a:off x="4757738" y="4713288"/>
              <a:ext cx="239713" cy="11113"/>
            </a:xfrm>
            <a:custGeom>
              <a:avLst/>
              <a:gdLst>
                <a:gd name="T0" fmla="*/ 89 w 91"/>
                <a:gd name="T1" fmla="*/ 0 h 4"/>
                <a:gd name="T2" fmla="*/ 1 w 91"/>
                <a:gd name="T3" fmla="*/ 0 h 4"/>
                <a:gd name="T4" fmla="*/ 0 w 91"/>
                <a:gd name="T5" fmla="*/ 2 h 4"/>
                <a:gd name="T6" fmla="*/ 0 w 91"/>
                <a:gd name="T7" fmla="*/ 2 h 4"/>
                <a:gd name="T8" fmla="*/ 1 w 91"/>
                <a:gd name="T9" fmla="*/ 4 h 4"/>
                <a:gd name="T10" fmla="*/ 89 w 91"/>
                <a:gd name="T11" fmla="*/ 4 h 4"/>
                <a:gd name="T12" fmla="*/ 91 w 91"/>
                <a:gd name="T13" fmla="*/ 2 h 4"/>
                <a:gd name="T14" fmla="*/ 91 w 91"/>
                <a:gd name="T15" fmla="*/ 2 h 4"/>
                <a:gd name="T16" fmla="*/ 89 w 9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4">
                  <a:moveTo>
                    <a:pt x="8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0" y="4"/>
                    <a:pt x="91" y="3"/>
                    <a:pt x="91" y="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0" y="0"/>
                    <a:pt x="8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3" name="íṧļïḋê">
              <a:extLst>
                <a:ext uri="{FF2B5EF4-FFF2-40B4-BE49-F238E27FC236}">
                  <a16:creationId xmlns:a16="http://schemas.microsoft.com/office/drawing/2014/main" id="{1F48A8E5-8F49-42AE-9AC5-77371B0D7568}"/>
                </a:ext>
              </a:extLst>
            </p:cNvPr>
            <p:cNvSpPr/>
            <p:nvPr/>
          </p:nvSpPr>
          <p:spPr bwMode="auto">
            <a:xfrm>
              <a:off x="4933950" y="4797425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4" name="iSḻíďè">
              <a:extLst>
                <a:ext uri="{FF2B5EF4-FFF2-40B4-BE49-F238E27FC236}">
                  <a16:creationId xmlns:a16="http://schemas.microsoft.com/office/drawing/2014/main" id="{17AAC21D-5892-4E84-BEE1-DAB1DBAE444E}"/>
                </a:ext>
              </a:extLst>
            </p:cNvPr>
            <p:cNvSpPr/>
            <p:nvPr/>
          </p:nvSpPr>
          <p:spPr bwMode="auto">
            <a:xfrm>
              <a:off x="4240213" y="5610225"/>
              <a:ext cx="79375" cy="31750"/>
            </a:xfrm>
            <a:prstGeom prst="rect">
              <a:avLst/>
            </a:pr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5" name="îSlïḓê">
              <a:extLst>
                <a:ext uri="{FF2B5EF4-FFF2-40B4-BE49-F238E27FC236}">
                  <a16:creationId xmlns:a16="http://schemas.microsoft.com/office/drawing/2014/main" id="{9397DA82-6FC3-4571-913B-DB9BDD58BEEE}"/>
                </a:ext>
              </a:extLst>
            </p:cNvPr>
            <p:cNvSpPr/>
            <p:nvPr/>
          </p:nvSpPr>
          <p:spPr bwMode="auto">
            <a:xfrm>
              <a:off x="4319588" y="5610225"/>
              <a:ext cx="79375" cy="31750"/>
            </a:xfrm>
            <a:custGeom>
              <a:avLst/>
              <a:gdLst>
                <a:gd name="T0" fmla="*/ 26 w 30"/>
                <a:gd name="T1" fmla="*/ 0 h 12"/>
                <a:gd name="T2" fmla="*/ 0 w 30"/>
                <a:gd name="T3" fmla="*/ 0 h 12"/>
                <a:gd name="T4" fmla="*/ 0 w 30"/>
                <a:gd name="T5" fmla="*/ 12 h 12"/>
                <a:gd name="T6" fmla="*/ 26 w 30"/>
                <a:gd name="T7" fmla="*/ 12 h 12"/>
                <a:gd name="T8" fmla="*/ 30 w 30"/>
                <a:gd name="T9" fmla="*/ 8 h 12"/>
                <a:gd name="T10" fmla="*/ 30 w 30"/>
                <a:gd name="T11" fmla="*/ 4 h 12"/>
                <a:gd name="T12" fmla="*/ 26 w 3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9" y="12"/>
                    <a:pt x="30" y="10"/>
                    <a:pt x="30" y="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2"/>
                    <a:pt x="29" y="0"/>
                    <a:pt x="26" y="0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6" name="ís1ïḓe">
              <a:extLst>
                <a:ext uri="{FF2B5EF4-FFF2-40B4-BE49-F238E27FC236}">
                  <a16:creationId xmlns:a16="http://schemas.microsoft.com/office/drawing/2014/main" id="{6E93EE6E-596D-447E-AA05-50B34EBEE62F}"/>
                </a:ext>
              </a:extLst>
            </p:cNvPr>
            <p:cNvSpPr/>
            <p:nvPr/>
          </p:nvSpPr>
          <p:spPr bwMode="auto">
            <a:xfrm>
              <a:off x="4240213" y="5626100"/>
              <a:ext cx="79375" cy="15875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7" name="iś1íḍè">
              <a:extLst>
                <a:ext uri="{FF2B5EF4-FFF2-40B4-BE49-F238E27FC236}">
                  <a16:creationId xmlns:a16="http://schemas.microsoft.com/office/drawing/2014/main" id="{7CE93240-5FDB-43BA-B388-9C6917753D04}"/>
                </a:ext>
              </a:extLst>
            </p:cNvPr>
            <p:cNvSpPr/>
            <p:nvPr/>
          </p:nvSpPr>
          <p:spPr bwMode="auto">
            <a:xfrm>
              <a:off x="4319588" y="5626100"/>
              <a:ext cx="79375" cy="15875"/>
            </a:xfrm>
            <a:custGeom>
              <a:avLst/>
              <a:gdLst>
                <a:gd name="T0" fmla="*/ 30 w 30"/>
                <a:gd name="T1" fmla="*/ 0 h 6"/>
                <a:gd name="T2" fmla="*/ 0 w 30"/>
                <a:gd name="T3" fmla="*/ 0 h 6"/>
                <a:gd name="T4" fmla="*/ 0 w 30"/>
                <a:gd name="T5" fmla="*/ 6 h 6"/>
                <a:gd name="T6" fmla="*/ 26 w 30"/>
                <a:gd name="T7" fmla="*/ 6 h 6"/>
                <a:gd name="T8" fmla="*/ 30 w 30"/>
                <a:gd name="T9" fmla="*/ 2 h 6"/>
                <a:gd name="T10" fmla="*/ 30 w 3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9" y="6"/>
                    <a:pt x="30" y="4"/>
                    <a:pt x="30" y="2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8" name="íŝlíďé">
              <a:extLst>
                <a:ext uri="{FF2B5EF4-FFF2-40B4-BE49-F238E27FC236}">
                  <a16:creationId xmlns:a16="http://schemas.microsoft.com/office/drawing/2014/main" id="{6334D236-3372-4324-A78F-C7BBF2DB7A78}"/>
                </a:ext>
              </a:extLst>
            </p:cNvPr>
            <p:cNvSpPr/>
            <p:nvPr/>
          </p:nvSpPr>
          <p:spPr bwMode="auto">
            <a:xfrm>
              <a:off x="4398963" y="5619750"/>
              <a:ext cx="22225" cy="14288"/>
            </a:xfrm>
            <a:prstGeom prst="rect">
              <a:avLst/>
            </a:pr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9" name="ï$líďê">
              <a:extLst>
                <a:ext uri="{FF2B5EF4-FFF2-40B4-BE49-F238E27FC236}">
                  <a16:creationId xmlns:a16="http://schemas.microsoft.com/office/drawing/2014/main" id="{30DC902C-743B-4BA4-8578-342385CD71A9}"/>
                </a:ext>
              </a:extLst>
            </p:cNvPr>
            <p:cNvSpPr/>
            <p:nvPr/>
          </p:nvSpPr>
          <p:spPr bwMode="auto">
            <a:xfrm>
              <a:off x="4421188" y="5619750"/>
              <a:ext cx="80963" cy="14288"/>
            </a:xfrm>
            <a:custGeom>
              <a:avLst/>
              <a:gdLst>
                <a:gd name="T0" fmla="*/ 29 w 31"/>
                <a:gd name="T1" fmla="*/ 5 h 5"/>
                <a:gd name="T2" fmla="*/ 0 w 31"/>
                <a:gd name="T3" fmla="*/ 5 h 5"/>
                <a:gd name="T4" fmla="*/ 0 w 31"/>
                <a:gd name="T5" fmla="*/ 0 h 5"/>
                <a:gd name="T6" fmla="*/ 29 w 31"/>
                <a:gd name="T7" fmla="*/ 0 h 5"/>
                <a:gd name="T8" fmla="*/ 31 w 31"/>
                <a:gd name="T9" fmla="*/ 2 h 5"/>
                <a:gd name="T10" fmla="*/ 31 w 31"/>
                <a:gd name="T11" fmla="*/ 2 h 5"/>
                <a:gd name="T12" fmla="*/ 29 w 31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">
                  <a:moveTo>
                    <a:pt x="29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4"/>
                    <a:pt x="30" y="5"/>
                    <a:pt x="29" y="5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0" name="işlîḓê">
              <a:extLst>
                <a:ext uri="{FF2B5EF4-FFF2-40B4-BE49-F238E27FC236}">
                  <a16:creationId xmlns:a16="http://schemas.microsoft.com/office/drawing/2014/main" id="{75105E11-C002-48D2-81F7-6140D8E4A037}"/>
                </a:ext>
              </a:extLst>
            </p:cNvPr>
            <p:cNvSpPr/>
            <p:nvPr/>
          </p:nvSpPr>
          <p:spPr bwMode="auto">
            <a:xfrm>
              <a:off x="4398963" y="5626100"/>
              <a:ext cx="22225" cy="7938"/>
            </a:xfrm>
            <a:prstGeom prst="rect">
              <a:avLst/>
            </a:pr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1" name="ïŝļíďè">
              <a:extLst>
                <a:ext uri="{FF2B5EF4-FFF2-40B4-BE49-F238E27FC236}">
                  <a16:creationId xmlns:a16="http://schemas.microsoft.com/office/drawing/2014/main" id="{AF3E1E0B-6DD4-4107-B3B4-5A56A52F2812}"/>
                </a:ext>
              </a:extLst>
            </p:cNvPr>
            <p:cNvSpPr/>
            <p:nvPr/>
          </p:nvSpPr>
          <p:spPr bwMode="auto">
            <a:xfrm>
              <a:off x="4421188" y="5626100"/>
              <a:ext cx="80963" cy="7938"/>
            </a:xfrm>
            <a:custGeom>
              <a:avLst/>
              <a:gdLst>
                <a:gd name="T0" fmla="*/ 31 w 31"/>
                <a:gd name="T1" fmla="*/ 0 h 3"/>
                <a:gd name="T2" fmla="*/ 31 w 31"/>
                <a:gd name="T3" fmla="*/ 0 h 3"/>
                <a:gd name="T4" fmla="*/ 0 w 31"/>
                <a:gd name="T5" fmla="*/ 0 h 3"/>
                <a:gd name="T6" fmla="*/ 0 w 31"/>
                <a:gd name="T7" fmla="*/ 3 h 3"/>
                <a:gd name="T8" fmla="*/ 29 w 31"/>
                <a:gd name="T9" fmla="*/ 3 h 3"/>
                <a:gd name="T10" fmla="*/ 31 w 31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3"/>
                    <a:pt x="31" y="2"/>
                    <a:pt x="31" y="0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2" name="iṥ1îḑê">
              <a:extLst>
                <a:ext uri="{FF2B5EF4-FFF2-40B4-BE49-F238E27FC236}">
                  <a16:creationId xmlns:a16="http://schemas.microsoft.com/office/drawing/2014/main" id="{29997ACF-9D79-4D89-B58A-6535BBD63ACC}"/>
                </a:ext>
              </a:extLst>
            </p:cNvPr>
            <p:cNvSpPr/>
            <p:nvPr/>
          </p:nvSpPr>
          <p:spPr bwMode="auto">
            <a:xfrm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3" name="ïṧļîde">
              <a:extLst>
                <a:ext uri="{FF2B5EF4-FFF2-40B4-BE49-F238E27FC236}">
                  <a16:creationId xmlns:a16="http://schemas.microsoft.com/office/drawing/2014/main" id="{0B85B9D3-276B-4B02-916D-053624577935}"/>
                </a:ext>
              </a:extLst>
            </p:cNvPr>
            <p:cNvSpPr/>
            <p:nvPr/>
          </p:nvSpPr>
          <p:spPr bwMode="auto">
            <a:xfrm flipH="1"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4" name="is1îďé">
              <a:extLst>
                <a:ext uri="{FF2B5EF4-FFF2-40B4-BE49-F238E27FC236}">
                  <a16:creationId xmlns:a16="http://schemas.microsoft.com/office/drawing/2014/main" id="{F61D14AE-002A-4210-9C3B-3B70B425724A}"/>
                </a:ext>
              </a:extLst>
            </p:cNvPr>
            <p:cNvSpPr/>
            <p:nvPr/>
          </p:nvSpPr>
          <p:spPr bwMode="auto">
            <a:xfrm>
              <a:off x="6118225" y="3565525"/>
              <a:ext cx="1235075" cy="115888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5" name="îşliḓé">
              <a:extLst>
                <a:ext uri="{FF2B5EF4-FFF2-40B4-BE49-F238E27FC236}">
                  <a16:creationId xmlns:a16="http://schemas.microsoft.com/office/drawing/2014/main" id="{4063C4A3-CF02-409F-B06A-F76622E4CD8F}"/>
                </a:ext>
              </a:extLst>
            </p:cNvPr>
            <p:cNvSpPr/>
            <p:nvPr/>
          </p:nvSpPr>
          <p:spPr bwMode="auto">
            <a:xfrm>
              <a:off x="6121400" y="3622675"/>
              <a:ext cx="1231900" cy="58738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6" name="ïṩļiḍê">
              <a:extLst>
                <a:ext uri="{FF2B5EF4-FFF2-40B4-BE49-F238E27FC236}">
                  <a16:creationId xmlns:a16="http://schemas.microsoft.com/office/drawing/2014/main" id="{08AD2B9D-21FD-46C8-9FF6-B217648FCF2A}"/>
                </a:ext>
              </a:extLst>
            </p:cNvPr>
            <p:cNvSpPr/>
            <p:nvPr/>
          </p:nvSpPr>
          <p:spPr bwMode="auto">
            <a:xfrm>
              <a:off x="6189663" y="3681413"/>
              <a:ext cx="93663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7" name="îṧḻïḍè">
              <a:extLst>
                <a:ext uri="{FF2B5EF4-FFF2-40B4-BE49-F238E27FC236}">
                  <a16:creationId xmlns:a16="http://schemas.microsoft.com/office/drawing/2014/main" id="{FFBEF4F4-9301-4F5E-A8CF-85658D20D9D8}"/>
                </a:ext>
              </a:extLst>
            </p:cNvPr>
            <p:cNvSpPr/>
            <p:nvPr/>
          </p:nvSpPr>
          <p:spPr bwMode="auto">
            <a:xfrm>
              <a:off x="7191375" y="3681413"/>
              <a:ext cx="92075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8" name="îśļíḑe">
              <a:extLst>
                <a:ext uri="{FF2B5EF4-FFF2-40B4-BE49-F238E27FC236}">
                  <a16:creationId xmlns:a16="http://schemas.microsoft.com/office/drawing/2014/main" id="{14980F14-C338-4AF5-8C7B-4ADB70E570C0}"/>
                </a:ext>
              </a:extLst>
            </p:cNvPr>
            <p:cNvSpPr/>
            <p:nvPr/>
          </p:nvSpPr>
          <p:spPr bwMode="auto">
            <a:xfrm>
              <a:off x="6283325" y="4078288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9" name="iṥḻïḑé">
              <a:extLst>
                <a:ext uri="{FF2B5EF4-FFF2-40B4-BE49-F238E27FC236}">
                  <a16:creationId xmlns:a16="http://schemas.microsoft.com/office/drawing/2014/main" id="{78C71DB4-B8C7-4BF3-AC9B-99B86C27D29C}"/>
                </a:ext>
              </a:extLst>
            </p:cNvPr>
            <p:cNvSpPr/>
            <p:nvPr/>
          </p:nvSpPr>
          <p:spPr bwMode="auto">
            <a:xfrm>
              <a:off x="6356350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0" name="ïśḷiďê">
              <a:extLst>
                <a:ext uri="{FF2B5EF4-FFF2-40B4-BE49-F238E27FC236}">
                  <a16:creationId xmlns:a16="http://schemas.microsoft.com/office/drawing/2014/main" id="{B2CFEF42-A6E5-4334-8032-0D9A2C359E22}"/>
                </a:ext>
              </a:extLst>
            </p:cNvPr>
            <p:cNvSpPr/>
            <p:nvPr/>
          </p:nvSpPr>
          <p:spPr bwMode="auto">
            <a:xfrm>
              <a:off x="65373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1" name="işḻíḑe">
              <a:extLst>
                <a:ext uri="{FF2B5EF4-FFF2-40B4-BE49-F238E27FC236}">
                  <a16:creationId xmlns:a16="http://schemas.microsoft.com/office/drawing/2014/main" id="{0019FCCB-A555-4F78-A40E-2F517590D32A}"/>
                </a:ext>
              </a:extLst>
            </p:cNvPr>
            <p:cNvSpPr/>
            <p:nvPr/>
          </p:nvSpPr>
          <p:spPr bwMode="auto">
            <a:xfrm>
              <a:off x="6719888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2" name="íšľïḓe">
              <a:extLst>
                <a:ext uri="{FF2B5EF4-FFF2-40B4-BE49-F238E27FC236}">
                  <a16:creationId xmlns:a16="http://schemas.microsoft.com/office/drawing/2014/main" id="{18B4DE7B-7D1C-4F65-968C-62EFF0E92297}"/>
                </a:ext>
              </a:extLst>
            </p:cNvPr>
            <p:cNvSpPr/>
            <p:nvPr/>
          </p:nvSpPr>
          <p:spPr bwMode="auto">
            <a:xfrm>
              <a:off x="6899275" y="4106863"/>
              <a:ext cx="38100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3" name="íṡḷîdé">
              <a:extLst>
                <a:ext uri="{FF2B5EF4-FFF2-40B4-BE49-F238E27FC236}">
                  <a16:creationId xmlns:a16="http://schemas.microsoft.com/office/drawing/2014/main" id="{364EFD09-7E65-45A6-A519-D20FC6921C96}"/>
                </a:ext>
              </a:extLst>
            </p:cNvPr>
            <p:cNvSpPr/>
            <p:nvPr/>
          </p:nvSpPr>
          <p:spPr bwMode="auto">
            <a:xfrm>
              <a:off x="70834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4" name="ïṡľide">
              <a:extLst>
                <a:ext uri="{FF2B5EF4-FFF2-40B4-BE49-F238E27FC236}">
                  <a16:creationId xmlns:a16="http://schemas.microsoft.com/office/drawing/2014/main" id="{23731BA6-336F-411A-8AFD-47129F36729A}"/>
                </a:ext>
              </a:extLst>
            </p:cNvPr>
            <p:cNvSpPr/>
            <p:nvPr/>
          </p:nvSpPr>
          <p:spPr bwMode="auto">
            <a:xfrm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5" name="ïşḻïḋe">
              <a:extLst>
                <a:ext uri="{FF2B5EF4-FFF2-40B4-BE49-F238E27FC236}">
                  <a16:creationId xmlns:a16="http://schemas.microsoft.com/office/drawing/2014/main" id="{1DFF9A24-7177-40EF-9E2D-E7D391701E08}"/>
                </a:ext>
              </a:extLst>
            </p:cNvPr>
            <p:cNvSpPr/>
            <p:nvPr/>
          </p:nvSpPr>
          <p:spPr bwMode="auto">
            <a:xfrm flipH="1"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6" name="iṣḻïḑè">
              <a:extLst>
                <a:ext uri="{FF2B5EF4-FFF2-40B4-BE49-F238E27FC236}">
                  <a16:creationId xmlns:a16="http://schemas.microsoft.com/office/drawing/2014/main" id="{3C223B6B-7204-49AD-8F8B-7007014A1D95}"/>
                </a:ext>
              </a:extLst>
            </p:cNvPr>
            <p:cNvSpPr/>
            <p:nvPr/>
          </p:nvSpPr>
          <p:spPr bwMode="auto">
            <a:xfrm>
              <a:off x="6283325" y="457041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7" name="î$ḷíďé">
              <a:extLst>
                <a:ext uri="{FF2B5EF4-FFF2-40B4-BE49-F238E27FC236}">
                  <a16:creationId xmlns:a16="http://schemas.microsoft.com/office/drawing/2014/main" id="{8C04C025-936A-449D-A523-77E927EF31D2}"/>
                </a:ext>
              </a:extLst>
            </p:cNvPr>
            <p:cNvSpPr/>
            <p:nvPr/>
          </p:nvSpPr>
          <p:spPr bwMode="auto">
            <a:xfrm>
              <a:off x="6356350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8" name="îśḷïḑe">
              <a:extLst>
                <a:ext uri="{FF2B5EF4-FFF2-40B4-BE49-F238E27FC236}">
                  <a16:creationId xmlns:a16="http://schemas.microsoft.com/office/drawing/2014/main" id="{4875B503-8668-4DF9-8066-EDD0F1DD1661}"/>
                </a:ext>
              </a:extLst>
            </p:cNvPr>
            <p:cNvSpPr/>
            <p:nvPr/>
          </p:nvSpPr>
          <p:spPr bwMode="auto">
            <a:xfrm>
              <a:off x="65373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9" name="ï$lïḋè">
              <a:extLst>
                <a:ext uri="{FF2B5EF4-FFF2-40B4-BE49-F238E27FC236}">
                  <a16:creationId xmlns:a16="http://schemas.microsoft.com/office/drawing/2014/main" id="{7D25754C-6D3E-46B4-A375-DE11C5ED5765}"/>
                </a:ext>
              </a:extLst>
            </p:cNvPr>
            <p:cNvSpPr/>
            <p:nvPr/>
          </p:nvSpPr>
          <p:spPr bwMode="auto">
            <a:xfrm>
              <a:off x="6719888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0" name="íSḻîḑé">
              <a:extLst>
                <a:ext uri="{FF2B5EF4-FFF2-40B4-BE49-F238E27FC236}">
                  <a16:creationId xmlns:a16="http://schemas.microsoft.com/office/drawing/2014/main" id="{73832A55-7E77-41B7-83CE-8517957C36FE}"/>
                </a:ext>
              </a:extLst>
            </p:cNvPr>
            <p:cNvSpPr/>
            <p:nvPr/>
          </p:nvSpPr>
          <p:spPr bwMode="auto">
            <a:xfrm>
              <a:off x="6899275" y="4597400"/>
              <a:ext cx="38100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1" name="iṡļiḓe">
              <a:extLst>
                <a:ext uri="{FF2B5EF4-FFF2-40B4-BE49-F238E27FC236}">
                  <a16:creationId xmlns:a16="http://schemas.microsoft.com/office/drawing/2014/main" id="{4922490F-AB65-41D3-9EAD-B928D09878D5}"/>
                </a:ext>
              </a:extLst>
            </p:cNvPr>
            <p:cNvSpPr/>
            <p:nvPr/>
          </p:nvSpPr>
          <p:spPr bwMode="auto">
            <a:xfrm>
              <a:off x="70834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2" name="íṡḷídê">
              <a:extLst>
                <a:ext uri="{FF2B5EF4-FFF2-40B4-BE49-F238E27FC236}">
                  <a16:creationId xmlns:a16="http://schemas.microsoft.com/office/drawing/2014/main" id="{26CEED95-C7A2-4344-A27D-59D4C560A723}"/>
                </a:ext>
              </a:extLst>
            </p:cNvPr>
            <p:cNvSpPr/>
            <p:nvPr/>
          </p:nvSpPr>
          <p:spPr bwMode="auto">
            <a:xfrm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3" name="iṡľïḍé">
              <a:extLst>
                <a:ext uri="{FF2B5EF4-FFF2-40B4-BE49-F238E27FC236}">
                  <a16:creationId xmlns:a16="http://schemas.microsoft.com/office/drawing/2014/main" id="{EC9691ED-768A-4E48-90BE-2EEACDAB634E}"/>
                </a:ext>
              </a:extLst>
            </p:cNvPr>
            <p:cNvSpPr/>
            <p:nvPr/>
          </p:nvSpPr>
          <p:spPr bwMode="auto">
            <a:xfrm flipH="1"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4" name="íSľïdê">
              <a:extLst>
                <a:ext uri="{FF2B5EF4-FFF2-40B4-BE49-F238E27FC236}">
                  <a16:creationId xmlns:a16="http://schemas.microsoft.com/office/drawing/2014/main" id="{1060E4BA-D598-4EEB-8AC6-63EB79EC43DD}"/>
                </a:ext>
              </a:extLst>
            </p:cNvPr>
            <p:cNvSpPr/>
            <p:nvPr/>
          </p:nvSpPr>
          <p:spPr bwMode="auto">
            <a:xfrm>
              <a:off x="6283325" y="505936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5" name="ïSľíḑé">
              <a:extLst>
                <a:ext uri="{FF2B5EF4-FFF2-40B4-BE49-F238E27FC236}">
                  <a16:creationId xmlns:a16="http://schemas.microsoft.com/office/drawing/2014/main" id="{3996CDA7-9B40-499B-81F5-8BF1600452A1}"/>
                </a:ext>
              </a:extLst>
            </p:cNvPr>
            <p:cNvSpPr/>
            <p:nvPr/>
          </p:nvSpPr>
          <p:spPr bwMode="auto">
            <a:xfrm>
              <a:off x="6356350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6" name="îşḷiḋé">
              <a:extLst>
                <a:ext uri="{FF2B5EF4-FFF2-40B4-BE49-F238E27FC236}">
                  <a16:creationId xmlns:a16="http://schemas.microsoft.com/office/drawing/2014/main" id="{F1A6EE6B-CCC3-4C92-8109-7D956D2CAA32}"/>
                </a:ext>
              </a:extLst>
            </p:cNvPr>
            <p:cNvSpPr/>
            <p:nvPr/>
          </p:nvSpPr>
          <p:spPr bwMode="auto">
            <a:xfrm>
              <a:off x="65373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7" name="iṥľîḍe">
              <a:extLst>
                <a:ext uri="{FF2B5EF4-FFF2-40B4-BE49-F238E27FC236}">
                  <a16:creationId xmlns:a16="http://schemas.microsoft.com/office/drawing/2014/main" id="{4AF8C5C1-717D-4B7F-8C23-CCBFFFCF5331}"/>
                </a:ext>
              </a:extLst>
            </p:cNvPr>
            <p:cNvSpPr/>
            <p:nvPr/>
          </p:nvSpPr>
          <p:spPr bwMode="auto">
            <a:xfrm>
              <a:off x="6719888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8" name="íṥ1íďê">
              <a:extLst>
                <a:ext uri="{FF2B5EF4-FFF2-40B4-BE49-F238E27FC236}">
                  <a16:creationId xmlns:a16="http://schemas.microsoft.com/office/drawing/2014/main" id="{E6884545-0687-4ECD-A7F3-6CE8ED4677DE}"/>
                </a:ext>
              </a:extLst>
            </p:cNvPr>
            <p:cNvSpPr/>
            <p:nvPr/>
          </p:nvSpPr>
          <p:spPr bwMode="auto">
            <a:xfrm>
              <a:off x="6899275" y="5087938"/>
              <a:ext cx="38100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9" name="iṣļiḋé">
              <a:extLst>
                <a:ext uri="{FF2B5EF4-FFF2-40B4-BE49-F238E27FC236}">
                  <a16:creationId xmlns:a16="http://schemas.microsoft.com/office/drawing/2014/main" id="{1BC1AA29-B544-4947-BE9F-5937BF595089}"/>
                </a:ext>
              </a:extLst>
            </p:cNvPr>
            <p:cNvSpPr/>
            <p:nvPr/>
          </p:nvSpPr>
          <p:spPr bwMode="auto">
            <a:xfrm>
              <a:off x="70834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0" name="íślîḋê">
              <a:extLst>
                <a:ext uri="{FF2B5EF4-FFF2-40B4-BE49-F238E27FC236}">
                  <a16:creationId xmlns:a16="http://schemas.microsoft.com/office/drawing/2014/main" id="{55933BC2-FB90-4CAB-AEE1-D287E47972EC}"/>
                </a:ext>
              </a:extLst>
            </p:cNvPr>
            <p:cNvSpPr/>
            <p:nvPr/>
          </p:nvSpPr>
          <p:spPr bwMode="auto">
            <a:xfrm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1" name="îṧḻiḓe">
              <a:extLst>
                <a:ext uri="{FF2B5EF4-FFF2-40B4-BE49-F238E27FC236}">
                  <a16:creationId xmlns:a16="http://schemas.microsoft.com/office/drawing/2014/main" id="{BB64666F-9B6A-4EAD-9DC9-97F012075404}"/>
                </a:ext>
              </a:extLst>
            </p:cNvPr>
            <p:cNvSpPr/>
            <p:nvPr/>
          </p:nvSpPr>
          <p:spPr bwMode="auto">
            <a:xfrm flipH="1"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2" name="iş1ïḓê">
              <a:extLst>
                <a:ext uri="{FF2B5EF4-FFF2-40B4-BE49-F238E27FC236}">
                  <a16:creationId xmlns:a16="http://schemas.microsoft.com/office/drawing/2014/main" id="{6A85EDED-FC29-49F1-BECD-F94D138EFCA8}"/>
                </a:ext>
              </a:extLst>
            </p:cNvPr>
            <p:cNvSpPr/>
            <p:nvPr/>
          </p:nvSpPr>
          <p:spPr bwMode="auto">
            <a:xfrm>
              <a:off x="6283325" y="5548313"/>
              <a:ext cx="908050" cy="93663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3" name="iṧļiḑè">
              <a:extLst>
                <a:ext uri="{FF2B5EF4-FFF2-40B4-BE49-F238E27FC236}">
                  <a16:creationId xmlns:a16="http://schemas.microsoft.com/office/drawing/2014/main" id="{83792892-EAFE-4132-AF61-DDFD87E2231D}"/>
                </a:ext>
              </a:extLst>
            </p:cNvPr>
            <p:cNvSpPr/>
            <p:nvPr/>
          </p:nvSpPr>
          <p:spPr bwMode="auto">
            <a:xfrm>
              <a:off x="6356350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4" name="ïṣ1îḍê">
              <a:extLst>
                <a:ext uri="{FF2B5EF4-FFF2-40B4-BE49-F238E27FC236}">
                  <a16:creationId xmlns:a16="http://schemas.microsoft.com/office/drawing/2014/main" id="{00E91DF8-A600-40D8-B44F-C3567CA47C56}"/>
                </a:ext>
              </a:extLst>
            </p:cNvPr>
            <p:cNvSpPr/>
            <p:nvPr/>
          </p:nvSpPr>
          <p:spPr bwMode="auto">
            <a:xfrm>
              <a:off x="65373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5" name="ïśḷiḓê">
              <a:extLst>
                <a:ext uri="{FF2B5EF4-FFF2-40B4-BE49-F238E27FC236}">
                  <a16:creationId xmlns:a16="http://schemas.microsoft.com/office/drawing/2014/main" id="{61E97DD7-5521-4D4F-B08B-31F8845D58A7}"/>
                </a:ext>
              </a:extLst>
            </p:cNvPr>
            <p:cNvSpPr/>
            <p:nvPr/>
          </p:nvSpPr>
          <p:spPr bwMode="auto">
            <a:xfrm>
              <a:off x="6719888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6" name="iṡlîďé">
              <a:extLst>
                <a:ext uri="{FF2B5EF4-FFF2-40B4-BE49-F238E27FC236}">
                  <a16:creationId xmlns:a16="http://schemas.microsoft.com/office/drawing/2014/main" id="{8DA7F7D8-91AF-4EB6-A6D2-E14348DE7A4E}"/>
                </a:ext>
              </a:extLst>
            </p:cNvPr>
            <p:cNvSpPr/>
            <p:nvPr/>
          </p:nvSpPr>
          <p:spPr bwMode="auto">
            <a:xfrm>
              <a:off x="6899275" y="5578475"/>
              <a:ext cx="38100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7" name="íSḷïde">
              <a:extLst>
                <a:ext uri="{FF2B5EF4-FFF2-40B4-BE49-F238E27FC236}">
                  <a16:creationId xmlns:a16="http://schemas.microsoft.com/office/drawing/2014/main" id="{07F42A09-85EA-40C4-AF09-C323CFB55077}"/>
                </a:ext>
              </a:extLst>
            </p:cNvPr>
            <p:cNvSpPr/>
            <p:nvPr/>
          </p:nvSpPr>
          <p:spPr bwMode="auto">
            <a:xfrm>
              <a:off x="70834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8" name="îSḻîdè">
              <a:extLst>
                <a:ext uri="{FF2B5EF4-FFF2-40B4-BE49-F238E27FC236}">
                  <a16:creationId xmlns:a16="http://schemas.microsoft.com/office/drawing/2014/main" id="{CADB6879-E92F-4CC4-AAE3-BF8B777A3A55}"/>
                </a:ext>
              </a:extLst>
            </p:cNvPr>
            <p:cNvSpPr/>
            <p:nvPr/>
          </p:nvSpPr>
          <p:spPr bwMode="auto">
            <a:xfrm>
              <a:off x="5229225" y="3236913"/>
              <a:ext cx="71438" cy="84138"/>
            </a:xfrm>
            <a:custGeom>
              <a:avLst/>
              <a:gdLst>
                <a:gd name="T0" fmla="*/ 0 w 45"/>
                <a:gd name="T1" fmla="*/ 42 h 53"/>
                <a:gd name="T2" fmla="*/ 28 w 45"/>
                <a:gd name="T3" fmla="*/ 0 h 53"/>
                <a:gd name="T4" fmla="*/ 45 w 45"/>
                <a:gd name="T5" fmla="*/ 12 h 53"/>
                <a:gd name="T6" fmla="*/ 16 w 45"/>
                <a:gd name="T7" fmla="*/ 53 h 53"/>
                <a:gd name="T8" fmla="*/ 0 w 4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3">
                  <a:moveTo>
                    <a:pt x="0" y="42"/>
                  </a:moveTo>
                  <a:lnTo>
                    <a:pt x="28" y="0"/>
                  </a:lnTo>
                  <a:lnTo>
                    <a:pt x="45" y="12"/>
                  </a:lnTo>
                  <a:lnTo>
                    <a:pt x="16" y="53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9" name="ïsḷïḓé">
              <a:extLst>
                <a:ext uri="{FF2B5EF4-FFF2-40B4-BE49-F238E27FC236}">
                  <a16:creationId xmlns:a16="http://schemas.microsoft.com/office/drawing/2014/main" id="{B2EEF2FD-3B4D-4099-B120-471EA19E1C34}"/>
                </a:ext>
              </a:extLst>
            </p:cNvPr>
            <p:cNvSpPr/>
            <p:nvPr/>
          </p:nvSpPr>
          <p:spPr bwMode="auto">
            <a:xfrm>
              <a:off x="5186363" y="3303588"/>
              <a:ext cx="68263" cy="80963"/>
            </a:xfrm>
            <a:custGeom>
              <a:avLst/>
              <a:gdLst>
                <a:gd name="T0" fmla="*/ 1 w 26"/>
                <a:gd name="T1" fmla="*/ 21 h 31"/>
                <a:gd name="T2" fmla="*/ 16 w 26"/>
                <a:gd name="T3" fmla="*/ 0 h 31"/>
                <a:gd name="T4" fmla="*/ 26 w 26"/>
                <a:gd name="T5" fmla="*/ 7 h 31"/>
                <a:gd name="T6" fmla="*/ 11 w 26"/>
                <a:gd name="T7" fmla="*/ 28 h 31"/>
                <a:gd name="T8" fmla="*/ 5 w 26"/>
                <a:gd name="T9" fmla="*/ 29 h 31"/>
                <a:gd name="T10" fmla="*/ 2 w 26"/>
                <a:gd name="T11" fmla="*/ 27 h 31"/>
                <a:gd name="T12" fmla="*/ 1 w 26"/>
                <a:gd name="T1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1">
                  <a:moveTo>
                    <a:pt x="1" y="21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9" y="30"/>
                    <a:pt x="7" y="31"/>
                    <a:pt x="5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6"/>
                    <a:pt x="0" y="23"/>
                    <a:pt x="1" y="21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0" name="îSľiḋè">
              <a:extLst>
                <a:ext uri="{FF2B5EF4-FFF2-40B4-BE49-F238E27FC236}">
                  <a16:creationId xmlns:a16="http://schemas.microsoft.com/office/drawing/2014/main" id="{622EDE9C-8162-48CB-99EF-B3997E6F81D0}"/>
                </a:ext>
              </a:extLst>
            </p:cNvPr>
            <p:cNvSpPr/>
            <p:nvPr/>
          </p:nvSpPr>
          <p:spPr bwMode="auto">
            <a:xfrm>
              <a:off x="5241925" y="3248025"/>
              <a:ext cx="58738" cy="73025"/>
            </a:xfrm>
            <a:custGeom>
              <a:avLst/>
              <a:gdLst>
                <a:gd name="T0" fmla="*/ 0 w 37"/>
                <a:gd name="T1" fmla="*/ 40 h 46"/>
                <a:gd name="T2" fmla="*/ 28 w 37"/>
                <a:gd name="T3" fmla="*/ 0 h 46"/>
                <a:gd name="T4" fmla="*/ 37 w 37"/>
                <a:gd name="T5" fmla="*/ 5 h 46"/>
                <a:gd name="T6" fmla="*/ 8 w 37"/>
                <a:gd name="T7" fmla="*/ 46 h 46"/>
                <a:gd name="T8" fmla="*/ 0 w 37"/>
                <a:gd name="T9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6">
                  <a:moveTo>
                    <a:pt x="0" y="40"/>
                  </a:moveTo>
                  <a:lnTo>
                    <a:pt x="28" y="0"/>
                  </a:lnTo>
                  <a:lnTo>
                    <a:pt x="37" y="5"/>
                  </a:lnTo>
                  <a:lnTo>
                    <a:pt x="8" y="46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1" name="íS1iḓè">
              <a:extLst>
                <a:ext uri="{FF2B5EF4-FFF2-40B4-BE49-F238E27FC236}">
                  <a16:creationId xmlns:a16="http://schemas.microsoft.com/office/drawing/2014/main" id="{7B132FDE-6F8A-439A-9428-092FCD3B55FD}"/>
                </a:ext>
              </a:extLst>
            </p:cNvPr>
            <p:cNvSpPr/>
            <p:nvPr/>
          </p:nvSpPr>
          <p:spPr bwMode="auto">
            <a:xfrm>
              <a:off x="5194300" y="3311525"/>
              <a:ext cx="60325" cy="73025"/>
            </a:xfrm>
            <a:custGeom>
              <a:avLst/>
              <a:gdLst>
                <a:gd name="T0" fmla="*/ 0 w 23"/>
                <a:gd name="T1" fmla="*/ 25 h 28"/>
                <a:gd name="T2" fmla="*/ 18 w 23"/>
                <a:gd name="T3" fmla="*/ 0 h 28"/>
                <a:gd name="T4" fmla="*/ 23 w 23"/>
                <a:gd name="T5" fmla="*/ 4 h 28"/>
                <a:gd name="T6" fmla="*/ 8 w 23"/>
                <a:gd name="T7" fmla="*/ 25 h 28"/>
                <a:gd name="T8" fmla="*/ 2 w 23"/>
                <a:gd name="T9" fmla="*/ 26 h 28"/>
                <a:gd name="T10" fmla="*/ 0 w 23"/>
                <a:gd name="T11" fmla="*/ 2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8">
                  <a:moveTo>
                    <a:pt x="0" y="25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6" y="27"/>
                    <a:pt x="4" y="28"/>
                    <a:pt x="2" y="26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2" name="îṩḷïďè">
              <a:extLst>
                <a:ext uri="{FF2B5EF4-FFF2-40B4-BE49-F238E27FC236}">
                  <a16:creationId xmlns:a16="http://schemas.microsoft.com/office/drawing/2014/main" id="{1498D65B-BE1B-46FC-843A-815186FC727D}"/>
                </a:ext>
              </a:extLst>
            </p:cNvPr>
            <p:cNvSpPr/>
            <p:nvPr/>
          </p:nvSpPr>
          <p:spPr bwMode="auto">
            <a:xfrm>
              <a:off x="5178425" y="3375025"/>
              <a:ext cx="23813" cy="23813"/>
            </a:xfrm>
            <a:custGeom>
              <a:avLst/>
              <a:gdLst>
                <a:gd name="T0" fmla="*/ 8 w 15"/>
                <a:gd name="T1" fmla="*/ 15 h 15"/>
                <a:gd name="T2" fmla="*/ 15 w 15"/>
                <a:gd name="T3" fmla="*/ 5 h 15"/>
                <a:gd name="T4" fmla="*/ 8 w 15"/>
                <a:gd name="T5" fmla="*/ 0 h 15"/>
                <a:gd name="T6" fmla="*/ 0 w 15"/>
                <a:gd name="T7" fmla="*/ 10 h 15"/>
                <a:gd name="T8" fmla="*/ 8 w 1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8" y="15"/>
                  </a:moveTo>
                  <a:lnTo>
                    <a:pt x="15" y="5"/>
                  </a:lnTo>
                  <a:lnTo>
                    <a:pt x="8" y="0"/>
                  </a:lnTo>
                  <a:lnTo>
                    <a:pt x="0" y="10"/>
                  </a:lnTo>
                  <a:lnTo>
                    <a:pt x="8" y="15"/>
                  </a:lnTo>
                  <a:close/>
                </a:path>
              </a:pathLst>
            </a:cu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3" name="îşļidè">
              <a:extLst>
                <a:ext uri="{FF2B5EF4-FFF2-40B4-BE49-F238E27FC236}">
                  <a16:creationId xmlns:a16="http://schemas.microsoft.com/office/drawing/2014/main" id="{1949BB1D-6E98-4B76-8402-F7BD9D8447CA}"/>
                </a:ext>
              </a:extLst>
            </p:cNvPr>
            <p:cNvSpPr/>
            <p:nvPr/>
          </p:nvSpPr>
          <p:spPr bwMode="auto">
            <a:xfrm>
              <a:off x="5133975" y="3390900"/>
              <a:ext cx="57150" cy="73025"/>
            </a:xfrm>
            <a:custGeom>
              <a:avLst/>
              <a:gdLst>
                <a:gd name="T0" fmla="*/ 5 w 22"/>
                <a:gd name="T1" fmla="*/ 27 h 28"/>
                <a:gd name="T2" fmla="*/ 22 w 22"/>
                <a:gd name="T3" fmla="*/ 3 h 28"/>
                <a:gd name="T4" fmla="*/ 17 w 22"/>
                <a:gd name="T5" fmla="*/ 0 h 28"/>
                <a:gd name="T6" fmla="*/ 1 w 22"/>
                <a:gd name="T7" fmla="*/ 24 h 28"/>
                <a:gd name="T8" fmla="*/ 1 w 22"/>
                <a:gd name="T9" fmla="*/ 27 h 28"/>
                <a:gd name="T10" fmla="*/ 1 w 22"/>
                <a:gd name="T11" fmla="*/ 27 h 28"/>
                <a:gd name="T12" fmla="*/ 5 w 22"/>
                <a:gd name="T13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5" y="27"/>
                  </a:moveTo>
                  <a:cubicBezTo>
                    <a:pt x="22" y="3"/>
                    <a:pt x="22" y="3"/>
                    <a:pt x="22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5"/>
                    <a:pt x="0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3" y="28"/>
                    <a:pt x="4" y="28"/>
                    <a:pt x="5" y="27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4" name="ï$líḋé">
              <a:extLst>
                <a:ext uri="{FF2B5EF4-FFF2-40B4-BE49-F238E27FC236}">
                  <a16:creationId xmlns:a16="http://schemas.microsoft.com/office/drawing/2014/main" id="{232D2721-D53B-468A-9EAF-B7ADB9D94279}"/>
                </a:ext>
              </a:extLst>
            </p:cNvPr>
            <p:cNvSpPr/>
            <p:nvPr/>
          </p:nvSpPr>
          <p:spPr bwMode="auto">
            <a:xfrm>
              <a:off x="5183188" y="3376613"/>
              <a:ext cx="19050" cy="22225"/>
            </a:xfrm>
            <a:custGeom>
              <a:avLst/>
              <a:gdLst>
                <a:gd name="T0" fmla="*/ 7 w 12"/>
                <a:gd name="T1" fmla="*/ 0 h 14"/>
                <a:gd name="T2" fmla="*/ 0 w 12"/>
                <a:gd name="T3" fmla="*/ 10 h 14"/>
                <a:gd name="T4" fmla="*/ 5 w 12"/>
                <a:gd name="T5" fmla="*/ 14 h 14"/>
                <a:gd name="T6" fmla="*/ 12 w 12"/>
                <a:gd name="T7" fmla="*/ 4 h 14"/>
                <a:gd name="T8" fmla="*/ 7 w 12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7" y="0"/>
                  </a:moveTo>
                  <a:lnTo>
                    <a:pt x="0" y="10"/>
                  </a:lnTo>
                  <a:lnTo>
                    <a:pt x="5" y="14"/>
                  </a:lnTo>
                  <a:lnTo>
                    <a:pt x="12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5" name="iṡļídê">
              <a:extLst>
                <a:ext uri="{FF2B5EF4-FFF2-40B4-BE49-F238E27FC236}">
                  <a16:creationId xmlns:a16="http://schemas.microsoft.com/office/drawing/2014/main" id="{3399FDCF-1A75-438B-BE29-E6C1FCED2B4D}"/>
                </a:ext>
              </a:extLst>
            </p:cNvPr>
            <p:cNvSpPr/>
            <p:nvPr/>
          </p:nvSpPr>
          <p:spPr bwMode="auto">
            <a:xfrm>
              <a:off x="5135563" y="3392488"/>
              <a:ext cx="55563" cy="71438"/>
            </a:xfrm>
            <a:custGeom>
              <a:avLst/>
              <a:gdLst>
                <a:gd name="T0" fmla="*/ 0 w 21"/>
                <a:gd name="T1" fmla="*/ 26 h 27"/>
                <a:gd name="T2" fmla="*/ 0 w 21"/>
                <a:gd name="T3" fmla="*/ 26 h 27"/>
                <a:gd name="T4" fmla="*/ 18 w 21"/>
                <a:gd name="T5" fmla="*/ 0 h 27"/>
                <a:gd name="T6" fmla="*/ 21 w 21"/>
                <a:gd name="T7" fmla="*/ 2 h 27"/>
                <a:gd name="T8" fmla="*/ 4 w 21"/>
                <a:gd name="T9" fmla="*/ 26 h 27"/>
                <a:gd name="T10" fmla="*/ 0 w 21"/>
                <a:gd name="T1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7">
                  <a:moveTo>
                    <a:pt x="0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7"/>
                    <a:pt x="2" y="27"/>
                    <a:pt x="0" y="26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6" name="íśḷíḍê">
              <a:extLst>
                <a:ext uri="{FF2B5EF4-FFF2-40B4-BE49-F238E27FC236}">
                  <a16:creationId xmlns:a16="http://schemas.microsoft.com/office/drawing/2014/main" id="{65F8A47A-E2A6-41FE-94A0-ACBC23899B78}"/>
                </a:ext>
              </a:extLst>
            </p:cNvPr>
            <p:cNvSpPr/>
            <p:nvPr/>
          </p:nvSpPr>
          <p:spPr bwMode="auto">
            <a:xfrm>
              <a:off x="4600575" y="4141788"/>
              <a:ext cx="177800" cy="762000"/>
            </a:xfrm>
            <a:custGeom>
              <a:avLst/>
              <a:gdLst>
                <a:gd name="T0" fmla="*/ 0 w 112"/>
                <a:gd name="T1" fmla="*/ 0 h 480"/>
                <a:gd name="T2" fmla="*/ 22 w 112"/>
                <a:gd name="T3" fmla="*/ 235 h 480"/>
                <a:gd name="T4" fmla="*/ 17 w 112"/>
                <a:gd name="T5" fmla="*/ 480 h 480"/>
                <a:gd name="T6" fmla="*/ 54 w 112"/>
                <a:gd name="T7" fmla="*/ 480 h 480"/>
                <a:gd name="T8" fmla="*/ 105 w 112"/>
                <a:gd name="T9" fmla="*/ 237 h 480"/>
                <a:gd name="T10" fmla="*/ 112 w 112"/>
                <a:gd name="T11" fmla="*/ 0 h 480"/>
                <a:gd name="T12" fmla="*/ 0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0" y="0"/>
                  </a:moveTo>
                  <a:lnTo>
                    <a:pt x="22" y="235"/>
                  </a:lnTo>
                  <a:lnTo>
                    <a:pt x="17" y="480"/>
                  </a:lnTo>
                  <a:lnTo>
                    <a:pt x="54" y="480"/>
                  </a:lnTo>
                  <a:lnTo>
                    <a:pt x="105" y="237"/>
                  </a:lnTo>
                  <a:lnTo>
                    <a:pt x="1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7" name="ïṥlîďé">
              <a:extLst>
                <a:ext uri="{FF2B5EF4-FFF2-40B4-BE49-F238E27FC236}">
                  <a16:creationId xmlns:a16="http://schemas.microsoft.com/office/drawing/2014/main" id="{793F4CEF-B44F-4D6A-9533-21017B444C96}"/>
                </a:ext>
              </a:extLst>
            </p:cNvPr>
            <p:cNvSpPr/>
            <p:nvPr/>
          </p:nvSpPr>
          <p:spPr bwMode="auto">
            <a:xfrm>
              <a:off x="4614863" y="4141788"/>
              <a:ext cx="303213" cy="762000"/>
            </a:xfrm>
            <a:custGeom>
              <a:avLst/>
              <a:gdLst>
                <a:gd name="T0" fmla="*/ 128 w 191"/>
                <a:gd name="T1" fmla="*/ 0 h 480"/>
                <a:gd name="T2" fmla="*/ 191 w 191"/>
                <a:gd name="T3" fmla="*/ 220 h 480"/>
                <a:gd name="T4" fmla="*/ 118 w 191"/>
                <a:gd name="T5" fmla="*/ 480 h 480"/>
                <a:gd name="T6" fmla="*/ 81 w 191"/>
                <a:gd name="T7" fmla="*/ 480 h 480"/>
                <a:gd name="T8" fmla="*/ 110 w 191"/>
                <a:gd name="T9" fmla="*/ 230 h 480"/>
                <a:gd name="T10" fmla="*/ 0 w 191"/>
                <a:gd name="T11" fmla="*/ 0 h 480"/>
                <a:gd name="T12" fmla="*/ 128 w 191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480">
                  <a:moveTo>
                    <a:pt x="128" y="0"/>
                  </a:moveTo>
                  <a:lnTo>
                    <a:pt x="191" y="220"/>
                  </a:lnTo>
                  <a:lnTo>
                    <a:pt x="118" y="480"/>
                  </a:lnTo>
                  <a:lnTo>
                    <a:pt x="81" y="480"/>
                  </a:lnTo>
                  <a:lnTo>
                    <a:pt x="110" y="230"/>
                  </a:lnTo>
                  <a:lnTo>
                    <a:pt x="0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8" name="îslídê">
              <a:extLst>
                <a:ext uri="{FF2B5EF4-FFF2-40B4-BE49-F238E27FC236}">
                  <a16:creationId xmlns:a16="http://schemas.microsoft.com/office/drawing/2014/main" id="{29B53A95-3FFE-4F37-9B8C-3CD17579BFEE}"/>
                </a:ext>
              </a:extLst>
            </p:cNvPr>
            <p:cNvSpPr/>
            <p:nvPr/>
          </p:nvSpPr>
          <p:spPr bwMode="auto">
            <a:xfrm>
              <a:off x="4733925" y="4903788"/>
              <a:ext cx="215900" cy="65088"/>
            </a:xfrm>
            <a:custGeom>
              <a:avLst/>
              <a:gdLst>
                <a:gd name="T0" fmla="*/ 4 w 82"/>
                <a:gd name="T1" fmla="*/ 0 h 25"/>
                <a:gd name="T2" fmla="*/ 0 w 82"/>
                <a:gd name="T3" fmla="*/ 25 h 25"/>
                <a:gd name="T4" fmla="*/ 79 w 82"/>
                <a:gd name="T5" fmla="*/ 25 h 25"/>
                <a:gd name="T6" fmla="*/ 82 w 82"/>
                <a:gd name="T7" fmla="*/ 17 h 25"/>
                <a:gd name="T8" fmla="*/ 29 w 82"/>
                <a:gd name="T9" fmla="*/ 4 h 25"/>
                <a:gd name="T10" fmla="*/ 26 w 82"/>
                <a:gd name="T11" fmla="*/ 0 h 25"/>
                <a:gd name="T12" fmla="*/ 4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1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9" name="iŝ1ïde">
              <a:extLst>
                <a:ext uri="{FF2B5EF4-FFF2-40B4-BE49-F238E27FC236}">
                  <a16:creationId xmlns:a16="http://schemas.microsoft.com/office/drawing/2014/main" id="{A4EF147C-03A1-4E3A-8733-1F74AE381EA9}"/>
                </a:ext>
              </a:extLst>
            </p:cNvPr>
            <p:cNvSpPr/>
            <p:nvPr/>
          </p:nvSpPr>
          <p:spPr bwMode="auto">
            <a:xfrm>
              <a:off x="4616450" y="4903788"/>
              <a:ext cx="220663" cy="65088"/>
            </a:xfrm>
            <a:custGeom>
              <a:avLst/>
              <a:gdLst>
                <a:gd name="T0" fmla="*/ 4 w 83"/>
                <a:gd name="T1" fmla="*/ 0 h 25"/>
                <a:gd name="T2" fmla="*/ 0 w 83"/>
                <a:gd name="T3" fmla="*/ 25 h 25"/>
                <a:gd name="T4" fmla="*/ 79 w 83"/>
                <a:gd name="T5" fmla="*/ 25 h 25"/>
                <a:gd name="T6" fmla="*/ 83 w 83"/>
                <a:gd name="T7" fmla="*/ 17 h 25"/>
                <a:gd name="T8" fmla="*/ 29 w 83"/>
                <a:gd name="T9" fmla="*/ 4 h 25"/>
                <a:gd name="T10" fmla="*/ 26 w 83"/>
                <a:gd name="T11" fmla="*/ 0 h 25"/>
                <a:gd name="T12" fmla="*/ 4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2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0" name="isḻíďè">
              <a:extLst>
                <a:ext uri="{FF2B5EF4-FFF2-40B4-BE49-F238E27FC236}">
                  <a16:creationId xmlns:a16="http://schemas.microsoft.com/office/drawing/2014/main" id="{038720FD-BF98-4978-9E88-DAA04207FBB0}"/>
                </a:ext>
              </a:extLst>
            </p:cNvPr>
            <p:cNvSpPr/>
            <p:nvPr/>
          </p:nvSpPr>
          <p:spPr bwMode="auto">
            <a:xfrm>
              <a:off x="4608513" y="3629025"/>
              <a:ext cx="106363" cy="128588"/>
            </a:xfrm>
            <a:custGeom>
              <a:avLst/>
              <a:gdLst>
                <a:gd name="T0" fmla="*/ 11 w 40"/>
                <a:gd name="T1" fmla="*/ 0 h 49"/>
                <a:gd name="T2" fmla="*/ 0 w 40"/>
                <a:gd name="T3" fmla="*/ 33 h 49"/>
                <a:gd name="T4" fmla="*/ 29 w 40"/>
                <a:gd name="T5" fmla="*/ 46 h 49"/>
                <a:gd name="T6" fmla="*/ 40 w 40"/>
                <a:gd name="T7" fmla="*/ 11 h 49"/>
                <a:gd name="T8" fmla="*/ 11 w 40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9">
                  <a:moveTo>
                    <a:pt x="11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2" y="38"/>
                    <a:pt x="11" y="49"/>
                    <a:pt x="29" y="46"/>
                  </a:cubicBezTo>
                  <a:cubicBezTo>
                    <a:pt x="30" y="43"/>
                    <a:pt x="40" y="11"/>
                    <a:pt x="40" y="11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1" name="î$ľïḑé">
              <a:extLst>
                <a:ext uri="{FF2B5EF4-FFF2-40B4-BE49-F238E27FC236}">
                  <a16:creationId xmlns:a16="http://schemas.microsoft.com/office/drawing/2014/main" id="{0F3BB526-CD70-4049-BCC2-8934217E716A}"/>
                </a:ext>
              </a:extLst>
            </p:cNvPr>
            <p:cNvSpPr/>
            <p:nvPr/>
          </p:nvSpPr>
          <p:spPr bwMode="auto">
            <a:xfrm>
              <a:off x="4576763" y="3427413"/>
              <a:ext cx="220663" cy="249238"/>
            </a:xfrm>
            <a:custGeom>
              <a:avLst/>
              <a:gdLst>
                <a:gd name="T0" fmla="*/ 61 w 83"/>
                <a:gd name="T1" fmla="*/ 87 h 94"/>
                <a:gd name="T2" fmla="*/ 61 w 83"/>
                <a:gd name="T3" fmla="*/ 87 h 94"/>
                <a:gd name="T4" fmla="*/ 18 w 83"/>
                <a:gd name="T5" fmla="*/ 72 h 94"/>
                <a:gd name="T6" fmla="*/ 8 w 83"/>
                <a:gd name="T7" fmla="*/ 50 h 94"/>
                <a:gd name="T8" fmla="*/ 23 w 83"/>
                <a:gd name="T9" fmla="*/ 8 h 94"/>
                <a:gd name="T10" fmla="*/ 23 w 83"/>
                <a:gd name="T11" fmla="*/ 8 h 94"/>
                <a:gd name="T12" fmla="*/ 65 w 83"/>
                <a:gd name="T13" fmla="*/ 23 h 94"/>
                <a:gd name="T14" fmla="*/ 76 w 83"/>
                <a:gd name="T15" fmla="*/ 44 h 94"/>
                <a:gd name="T16" fmla="*/ 61 w 83"/>
                <a:gd name="T17" fmla="*/ 8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94">
                  <a:moveTo>
                    <a:pt x="61" y="87"/>
                  </a:moveTo>
                  <a:cubicBezTo>
                    <a:pt x="61" y="87"/>
                    <a:pt x="61" y="87"/>
                    <a:pt x="61" y="87"/>
                  </a:cubicBezTo>
                  <a:cubicBezTo>
                    <a:pt x="45" y="94"/>
                    <a:pt x="26" y="88"/>
                    <a:pt x="18" y="72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0" y="35"/>
                    <a:pt x="7" y="16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39" y="0"/>
                    <a:pt x="58" y="7"/>
                    <a:pt x="65" y="2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83" y="60"/>
                    <a:pt x="77" y="79"/>
                    <a:pt x="61" y="87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2" name="îṡľîdè">
              <a:extLst>
                <a:ext uri="{FF2B5EF4-FFF2-40B4-BE49-F238E27FC236}">
                  <a16:creationId xmlns:a16="http://schemas.microsoft.com/office/drawing/2014/main" id="{EB3320E2-93EE-4CF9-8CD4-A5711270CCE0}"/>
                </a:ext>
              </a:extLst>
            </p:cNvPr>
            <p:cNvSpPr/>
            <p:nvPr/>
          </p:nvSpPr>
          <p:spPr bwMode="auto">
            <a:xfrm>
              <a:off x="4573588" y="3665538"/>
              <a:ext cx="260350" cy="512763"/>
            </a:xfrm>
            <a:custGeom>
              <a:avLst/>
              <a:gdLst>
                <a:gd name="T0" fmla="*/ 0 w 164"/>
                <a:gd name="T1" fmla="*/ 0 h 323"/>
                <a:gd name="T2" fmla="*/ 112 w 164"/>
                <a:gd name="T3" fmla="*/ 72 h 323"/>
                <a:gd name="T4" fmla="*/ 164 w 164"/>
                <a:gd name="T5" fmla="*/ 302 h 323"/>
                <a:gd name="T6" fmla="*/ 10 w 164"/>
                <a:gd name="T7" fmla="*/ 323 h 323"/>
                <a:gd name="T8" fmla="*/ 0 w 164"/>
                <a:gd name="T9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323">
                  <a:moveTo>
                    <a:pt x="0" y="0"/>
                  </a:moveTo>
                  <a:lnTo>
                    <a:pt x="112" y="72"/>
                  </a:lnTo>
                  <a:lnTo>
                    <a:pt x="164" y="302"/>
                  </a:lnTo>
                  <a:lnTo>
                    <a:pt x="10" y="3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3" name="iṩlïḓe">
              <a:extLst>
                <a:ext uri="{FF2B5EF4-FFF2-40B4-BE49-F238E27FC236}">
                  <a16:creationId xmlns:a16="http://schemas.microsoft.com/office/drawing/2014/main" id="{D1405692-8EC7-4184-8E26-07A9812D8E77}"/>
                </a:ext>
              </a:extLst>
            </p:cNvPr>
            <p:cNvSpPr/>
            <p:nvPr/>
          </p:nvSpPr>
          <p:spPr bwMode="auto">
            <a:xfrm>
              <a:off x="4525963" y="3387725"/>
              <a:ext cx="223838" cy="246063"/>
            </a:xfrm>
            <a:custGeom>
              <a:avLst/>
              <a:gdLst>
                <a:gd name="T0" fmla="*/ 41 w 84"/>
                <a:gd name="T1" fmla="*/ 93 h 93"/>
                <a:gd name="T2" fmla="*/ 57 w 84"/>
                <a:gd name="T3" fmla="*/ 41 h 93"/>
                <a:gd name="T4" fmla="*/ 84 w 84"/>
                <a:gd name="T5" fmla="*/ 0 h 93"/>
                <a:gd name="T6" fmla="*/ 23 w 84"/>
                <a:gd name="T7" fmla="*/ 31 h 93"/>
                <a:gd name="T8" fmla="*/ 41 w 84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93">
                  <a:moveTo>
                    <a:pt x="41" y="93"/>
                  </a:moveTo>
                  <a:cubicBezTo>
                    <a:pt x="41" y="93"/>
                    <a:pt x="71" y="78"/>
                    <a:pt x="57" y="41"/>
                  </a:cubicBezTo>
                  <a:cubicBezTo>
                    <a:pt x="57" y="41"/>
                    <a:pt x="82" y="29"/>
                    <a:pt x="84" y="0"/>
                  </a:cubicBezTo>
                  <a:cubicBezTo>
                    <a:pt x="84" y="0"/>
                    <a:pt x="30" y="27"/>
                    <a:pt x="23" y="31"/>
                  </a:cubicBezTo>
                  <a:cubicBezTo>
                    <a:pt x="15" y="35"/>
                    <a:pt x="0" y="51"/>
                    <a:pt x="41" y="93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4" name="íšlïḍè">
              <a:extLst>
                <a:ext uri="{FF2B5EF4-FFF2-40B4-BE49-F238E27FC236}">
                  <a16:creationId xmlns:a16="http://schemas.microsoft.com/office/drawing/2014/main" id="{FD5DEC19-C240-4EE4-93E0-2F43FA57CF43}"/>
                </a:ext>
              </a:extLst>
            </p:cNvPr>
            <p:cNvSpPr/>
            <p:nvPr/>
          </p:nvSpPr>
          <p:spPr bwMode="auto">
            <a:xfrm>
              <a:off x="4635500" y="3538538"/>
              <a:ext cx="60325" cy="60325"/>
            </a:xfrm>
            <a:custGeom>
              <a:avLst/>
              <a:gdLst>
                <a:gd name="T0" fmla="*/ 2 w 23"/>
                <a:gd name="T1" fmla="*/ 16 h 23"/>
                <a:gd name="T2" fmla="*/ 7 w 23"/>
                <a:gd name="T3" fmla="*/ 2 h 23"/>
                <a:gd name="T4" fmla="*/ 21 w 23"/>
                <a:gd name="T5" fmla="*/ 7 h 23"/>
                <a:gd name="T6" fmla="*/ 16 w 23"/>
                <a:gd name="T7" fmla="*/ 21 h 23"/>
                <a:gd name="T8" fmla="*/ 2 w 23"/>
                <a:gd name="T9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16"/>
                  </a:moveTo>
                  <a:cubicBezTo>
                    <a:pt x="0" y="11"/>
                    <a:pt x="2" y="5"/>
                    <a:pt x="7" y="2"/>
                  </a:cubicBezTo>
                  <a:cubicBezTo>
                    <a:pt x="12" y="0"/>
                    <a:pt x="18" y="2"/>
                    <a:pt x="21" y="7"/>
                  </a:cubicBezTo>
                  <a:cubicBezTo>
                    <a:pt x="23" y="12"/>
                    <a:pt x="21" y="18"/>
                    <a:pt x="16" y="21"/>
                  </a:cubicBezTo>
                  <a:cubicBezTo>
                    <a:pt x="11" y="23"/>
                    <a:pt x="5" y="21"/>
                    <a:pt x="2" y="16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5" name="ïṡlîdè">
              <a:extLst>
                <a:ext uri="{FF2B5EF4-FFF2-40B4-BE49-F238E27FC236}">
                  <a16:creationId xmlns:a16="http://schemas.microsoft.com/office/drawing/2014/main" id="{B3DBD825-A213-439F-AA8E-6260F4A99884}"/>
                </a:ext>
              </a:extLst>
            </p:cNvPr>
            <p:cNvSpPr/>
            <p:nvPr/>
          </p:nvSpPr>
          <p:spPr bwMode="auto">
            <a:xfrm>
              <a:off x="4702175" y="3463925"/>
              <a:ext cx="373063" cy="368300"/>
            </a:xfrm>
            <a:custGeom>
              <a:avLst/>
              <a:gdLst>
                <a:gd name="T0" fmla="*/ 1 w 235"/>
                <a:gd name="T1" fmla="*/ 177 h 232"/>
                <a:gd name="T2" fmla="*/ 126 w 235"/>
                <a:gd name="T3" fmla="*/ 119 h 232"/>
                <a:gd name="T4" fmla="*/ 215 w 235"/>
                <a:gd name="T5" fmla="*/ 0 h 232"/>
                <a:gd name="T6" fmla="*/ 235 w 235"/>
                <a:gd name="T7" fmla="*/ 24 h 232"/>
                <a:gd name="T8" fmla="*/ 151 w 235"/>
                <a:gd name="T9" fmla="*/ 162 h 232"/>
                <a:gd name="T10" fmla="*/ 0 w 235"/>
                <a:gd name="T11" fmla="*/ 232 h 232"/>
                <a:gd name="T12" fmla="*/ 1 w 235"/>
                <a:gd name="T13" fmla="*/ 17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2">
                  <a:moveTo>
                    <a:pt x="1" y="177"/>
                  </a:moveTo>
                  <a:lnTo>
                    <a:pt x="126" y="119"/>
                  </a:lnTo>
                  <a:lnTo>
                    <a:pt x="215" y="0"/>
                  </a:lnTo>
                  <a:lnTo>
                    <a:pt x="235" y="24"/>
                  </a:lnTo>
                  <a:lnTo>
                    <a:pt x="151" y="162"/>
                  </a:lnTo>
                  <a:lnTo>
                    <a:pt x="0" y="232"/>
                  </a:lnTo>
                  <a:lnTo>
                    <a:pt x="1" y="177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6" name="iṩļïďê">
              <a:extLst>
                <a:ext uri="{FF2B5EF4-FFF2-40B4-BE49-F238E27FC236}">
                  <a16:creationId xmlns:a16="http://schemas.microsoft.com/office/drawing/2014/main" id="{4D1AF733-9436-493A-A239-B6C0D6AEF95D}"/>
                </a:ext>
              </a:extLst>
            </p:cNvPr>
            <p:cNvSpPr/>
            <p:nvPr/>
          </p:nvSpPr>
          <p:spPr bwMode="auto">
            <a:xfrm>
              <a:off x="4608513" y="3694113"/>
              <a:ext cx="217488" cy="173038"/>
            </a:xfrm>
            <a:custGeom>
              <a:avLst/>
              <a:gdLst>
                <a:gd name="T0" fmla="*/ 0 w 137"/>
                <a:gd name="T1" fmla="*/ 27 h 109"/>
                <a:gd name="T2" fmla="*/ 117 w 137"/>
                <a:gd name="T3" fmla="*/ 0 h 109"/>
                <a:gd name="T4" fmla="*/ 137 w 137"/>
                <a:gd name="T5" fmla="*/ 62 h 109"/>
                <a:gd name="T6" fmla="*/ 40 w 137"/>
                <a:gd name="T7" fmla="*/ 109 h 109"/>
                <a:gd name="T8" fmla="*/ 0 w 137"/>
                <a:gd name="T9" fmla="*/ 2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09">
                  <a:moveTo>
                    <a:pt x="0" y="27"/>
                  </a:moveTo>
                  <a:lnTo>
                    <a:pt x="117" y="0"/>
                  </a:lnTo>
                  <a:lnTo>
                    <a:pt x="137" y="62"/>
                  </a:lnTo>
                  <a:lnTo>
                    <a:pt x="40" y="109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C6D7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7" name="iŝļîḑé">
              <a:extLst>
                <a:ext uri="{FF2B5EF4-FFF2-40B4-BE49-F238E27FC236}">
                  <a16:creationId xmlns:a16="http://schemas.microsoft.com/office/drawing/2014/main" id="{60294188-9A3B-4515-9AD7-A1110F5FE85B}"/>
                </a:ext>
              </a:extLst>
            </p:cNvPr>
            <p:cNvSpPr/>
            <p:nvPr/>
          </p:nvSpPr>
          <p:spPr bwMode="auto">
            <a:xfrm>
              <a:off x="5043488" y="3406775"/>
              <a:ext cx="161925" cy="95250"/>
            </a:xfrm>
            <a:custGeom>
              <a:avLst/>
              <a:gdLst>
                <a:gd name="T0" fmla="*/ 0 w 61"/>
                <a:gd name="T1" fmla="*/ 22 h 36"/>
                <a:gd name="T2" fmla="*/ 36 w 61"/>
                <a:gd name="T3" fmla="*/ 4 h 36"/>
                <a:gd name="T4" fmla="*/ 53 w 61"/>
                <a:gd name="T5" fmla="*/ 22 h 36"/>
                <a:gd name="T6" fmla="*/ 12 w 61"/>
                <a:gd name="T7" fmla="*/ 36 h 36"/>
                <a:gd name="T8" fmla="*/ 0 w 61"/>
                <a:gd name="T9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6">
                  <a:moveTo>
                    <a:pt x="0" y="22"/>
                  </a:moveTo>
                  <a:cubicBezTo>
                    <a:pt x="13" y="5"/>
                    <a:pt x="21" y="0"/>
                    <a:pt x="36" y="4"/>
                  </a:cubicBezTo>
                  <a:cubicBezTo>
                    <a:pt x="52" y="9"/>
                    <a:pt x="61" y="8"/>
                    <a:pt x="53" y="22"/>
                  </a:cubicBezTo>
                  <a:cubicBezTo>
                    <a:pt x="45" y="36"/>
                    <a:pt x="34" y="36"/>
                    <a:pt x="12" y="36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8" name="íṥļîďé">
              <a:extLst>
                <a:ext uri="{FF2B5EF4-FFF2-40B4-BE49-F238E27FC236}">
                  <a16:creationId xmlns:a16="http://schemas.microsoft.com/office/drawing/2014/main" id="{01068F34-70CA-4D2C-BF8D-7A386D2BFF8E}"/>
                </a:ext>
              </a:extLst>
            </p:cNvPr>
            <p:cNvSpPr/>
            <p:nvPr/>
          </p:nvSpPr>
          <p:spPr bwMode="auto">
            <a:xfrm>
              <a:off x="4516438" y="3382963"/>
              <a:ext cx="163513" cy="187325"/>
            </a:xfrm>
            <a:custGeom>
              <a:avLst/>
              <a:gdLst>
                <a:gd name="T0" fmla="*/ 20 w 62"/>
                <a:gd name="T1" fmla="*/ 71 h 71"/>
                <a:gd name="T2" fmla="*/ 12 w 62"/>
                <a:gd name="T3" fmla="*/ 22 h 71"/>
                <a:gd name="T4" fmla="*/ 62 w 62"/>
                <a:gd name="T5" fmla="*/ 7 h 71"/>
                <a:gd name="T6" fmla="*/ 20 w 62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71">
                  <a:moveTo>
                    <a:pt x="20" y="71"/>
                  </a:moveTo>
                  <a:cubicBezTo>
                    <a:pt x="6" y="62"/>
                    <a:pt x="0" y="42"/>
                    <a:pt x="12" y="22"/>
                  </a:cubicBezTo>
                  <a:cubicBezTo>
                    <a:pt x="24" y="2"/>
                    <a:pt x="46" y="0"/>
                    <a:pt x="62" y="7"/>
                  </a:cubicBezTo>
                  <a:lnTo>
                    <a:pt x="20" y="71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9" name="ïṩľïďe">
              <a:extLst>
                <a:ext uri="{FF2B5EF4-FFF2-40B4-BE49-F238E27FC236}">
                  <a16:creationId xmlns:a16="http://schemas.microsoft.com/office/drawing/2014/main" id="{79303CD2-31B1-474D-AAAE-867C4D93F2A7}"/>
                </a:ext>
              </a:extLst>
            </p:cNvPr>
            <p:cNvSpPr/>
            <p:nvPr/>
          </p:nvSpPr>
          <p:spPr bwMode="auto">
            <a:xfrm>
              <a:off x="4564063" y="3367088"/>
              <a:ext cx="153988" cy="219075"/>
            </a:xfrm>
            <a:custGeom>
              <a:avLst/>
              <a:gdLst>
                <a:gd name="T0" fmla="*/ 10 w 97"/>
                <a:gd name="T1" fmla="*/ 138 h 138"/>
                <a:gd name="T2" fmla="*/ 97 w 97"/>
                <a:gd name="T3" fmla="*/ 8 h 138"/>
                <a:gd name="T4" fmla="*/ 87 w 97"/>
                <a:gd name="T5" fmla="*/ 0 h 138"/>
                <a:gd name="T6" fmla="*/ 0 w 97"/>
                <a:gd name="T7" fmla="*/ 130 h 138"/>
                <a:gd name="T8" fmla="*/ 10 w 97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38">
                  <a:moveTo>
                    <a:pt x="10" y="138"/>
                  </a:moveTo>
                  <a:lnTo>
                    <a:pt x="97" y="8"/>
                  </a:lnTo>
                  <a:lnTo>
                    <a:pt x="87" y="0"/>
                  </a:lnTo>
                  <a:lnTo>
                    <a:pt x="0" y="130"/>
                  </a:lnTo>
                  <a:lnTo>
                    <a:pt x="10" y="13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0" name="iṧḻiďe">
              <a:extLst>
                <a:ext uri="{FF2B5EF4-FFF2-40B4-BE49-F238E27FC236}">
                  <a16:creationId xmlns:a16="http://schemas.microsoft.com/office/drawing/2014/main" id="{0BF96DE0-E336-464A-BD47-3B3E18AC5C33}"/>
                </a:ext>
              </a:extLst>
            </p:cNvPr>
            <p:cNvSpPr/>
            <p:nvPr/>
          </p:nvSpPr>
          <p:spPr bwMode="auto">
            <a:xfrm>
              <a:off x="6521450" y="2736850"/>
              <a:ext cx="177800" cy="762000"/>
            </a:xfrm>
            <a:custGeom>
              <a:avLst/>
              <a:gdLst>
                <a:gd name="T0" fmla="*/ 112 w 112"/>
                <a:gd name="T1" fmla="*/ 0 h 480"/>
                <a:gd name="T2" fmla="*/ 88 w 112"/>
                <a:gd name="T3" fmla="*/ 235 h 480"/>
                <a:gd name="T4" fmla="*/ 95 w 112"/>
                <a:gd name="T5" fmla="*/ 480 h 480"/>
                <a:gd name="T6" fmla="*/ 58 w 112"/>
                <a:gd name="T7" fmla="*/ 480 h 480"/>
                <a:gd name="T8" fmla="*/ 6 w 112"/>
                <a:gd name="T9" fmla="*/ 237 h 480"/>
                <a:gd name="T10" fmla="*/ 0 w 112"/>
                <a:gd name="T11" fmla="*/ 0 h 480"/>
                <a:gd name="T12" fmla="*/ 112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112" y="0"/>
                  </a:moveTo>
                  <a:lnTo>
                    <a:pt x="88" y="235"/>
                  </a:lnTo>
                  <a:lnTo>
                    <a:pt x="95" y="480"/>
                  </a:lnTo>
                  <a:lnTo>
                    <a:pt x="58" y="480"/>
                  </a:lnTo>
                  <a:lnTo>
                    <a:pt x="6" y="237"/>
                  </a:lnTo>
                  <a:lnTo>
                    <a:pt x="0" y="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1" name="íSliḍé">
              <a:extLst>
                <a:ext uri="{FF2B5EF4-FFF2-40B4-BE49-F238E27FC236}">
                  <a16:creationId xmlns:a16="http://schemas.microsoft.com/office/drawing/2014/main" id="{2025F94A-81A3-4B03-AA40-7F94D6565487}"/>
                </a:ext>
              </a:extLst>
            </p:cNvPr>
            <p:cNvSpPr/>
            <p:nvPr/>
          </p:nvSpPr>
          <p:spPr bwMode="auto">
            <a:xfrm>
              <a:off x="6380163" y="2736850"/>
              <a:ext cx="304800" cy="762000"/>
            </a:xfrm>
            <a:custGeom>
              <a:avLst/>
              <a:gdLst>
                <a:gd name="T0" fmla="*/ 64 w 192"/>
                <a:gd name="T1" fmla="*/ 0 h 480"/>
                <a:gd name="T2" fmla="*/ 0 w 192"/>
                <a:gd name="T3" fmla="*/ 220 h 480"/>
                <a:gd name="T4" fmla="*/ 74 w 192"/>
                <a:gd name="T5" fmla="*/ 480 h 480"/>
                <a:gd name="T6" fmla="*/ 110 w 192"/>
                <a:gd name="T7" fmla="*/ 480 h 480"/>
                <a:gd name="T8" fmla="*/ 82 w 192"/>
                <a:gd name="T9" fmla="*/ 230 h 480"/>
                <a:gd name="T10" fmla="*/ 192 w 192"/>
                <a:gd name="T11" fmla="*/ 0 h 480"/>
                <a:gd name="T12" fmla="*/ 64 w 19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80">
                  <a:moveTo>
                    <a:pt x="64" y="0"/>
                  </a:moveTo>
                  <a:lnTo>
                    <a:pt x="0" y="220"/>
                  </a:lnTo>
                  <a:lnTo>
                    <a:pt x="74" y="480"/>
                  </a:lnTo>
                  <a:lnTo>
                    <a:pt x="110" y="480"/>
                  </a:lnTo>
                  <a:lnTo>
                    <a:pt x="82" y="230"/>
                  </a:lnTo>
                  <a:lnTo>
                    <a:pt x="192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2" name="ïsļíḓe">
              <a:extLst>
                <a:ext uri="{FF2B5EF4-FFF2-40B4-BE49-F238E27FC236}">
                  <a16:creationId xmlns:a16="http://schemas.microsoft.com/office/drawing/2014/main" id="{92A834E0-DC1D-4074-A349-9CC66F9FFB2B}"/>
                </a:ext>
              </a:extLst>
            </p:cNvPr>
            <p:cNvSpPr/>
            <p:nvPr/>
          </p:nvSpPr>
          <p:spPr bwMode="auto">
            <a:xfrm>
              <a:off x="6348413" y="3498850"/>
              <a:ext cx="217488" cy="66675"/>
            </a:xfrm>
            <a:custGeom>
              <a:avLst/>
              <a:gdLst>
                <a:gd name="T0" fmla="*/ 78 w 82"/>
                <a:gd name="T1" fmla="*/ 0 h 25"/>
                <a:gd name="T2" fmla="*/ 82 w 82"/>
                <a:gd name="T3" fmla="*/ 25 h 25"/>
                <a:gd name="T4" fmla="*/ 3 w 82"/>
                <a:gd name="T5" fmla="*/ 25 h 25"/>
                <a:gd name="T6" fmla="*/ 0 w 82"/>
                <a:gd name="T7" fmla="*/ 18 h 25"/>
                <a:gd name="T8" fmla="*/ 53 w 82"/>
                <a:gd name="T9" fmla="*/ 4 h 25"/>
                <a:gd name="T10" fmla="*/ 56 w 82"/>
                <a:gd name="T11" fmla="*/ 0 h 25"/>
                <a:gd name="T12" fmla="*/ 78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78" y="0"/>
                  </a:moveTo>
                  <a:cubicBezTo>
                    <a:pt x="82" y="25"/>
                    <a:pt x="82" y="25"/>
                    <a:pt x="8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3" y="4"/>
                    <a:pt x="53" y="4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78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3" name="íṧľîḑê">
              <a:extLst>
                <a:ext uri="{FF2B5EF4-FFF2-40B4-BE49-F238E27FC236}">
                  <a16:creationId xmlns:a16="http://schemas.microsoft.com/office/drawing/2014/main" id="{C2F7DC94-4B0E-4B3F-BC4F-B6D02D27B734}"/>
                </a:ext>
              </a:extLst>
            </p:cNvPr>
            <p:cNvSpPr/>
            <p:nvPr/>
          </p:nvSpPr>
          <p:spPr bwMode="auto">
            <a:xfrm>
              <a:off x="6462713" y="3498850"/>
              <a:ext cx="220663" cy="66675"/>
            </a:xfrm>
            <a:custGeom>
              <a:avLst/>
              <a:gdLst>
                <a:gd name="T0" fmla="*/ 79 w 83"/>
                <a:gd name="T1" fmla="*/ 0 h 25"/>
                <a:gd name="T2" fmla="*/ 83 w 83"/>
                <a:gd name="T3" fmla="*/ 25 h 25"/>
                <a:gd name="T4" fmla="*/ 4 w 83"/>
                <a:gd name="T5" fmla="*/ 25 h 25"/>
                <a:gd name="T6" fmla="*/ 0 w 83"/>
                <a:gd name="T7" fmla="*/ 18 h 25"/>
                <a:gd name="T8" fmla="*/ 54 w 83"/>
                <a:gd name="T9" fmla="*/ 4 h 25"/>
                <a:gd name="T10" fmla="*/ 57 w 83"/>
                <a:gd name="T11" fmla="*/ 0 h 25"/>
                <a:gd name="T12" fmla="*/ 79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79" y="0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4" y="4"/>
                    <a:pt x="54" y="4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4" name="îṩļîďé">
              <a:extLst>
                <a:ext uri="{FF2B5EF4-FFF2-40B4-BE49-F238E27FC236}">
                  <a16:creationId xmlns:a16="http://schemas.microsoft.com/office/drawing/2014/main" id="{725A7303-13D1-4BEB-ADCB-54F3A58AB583}"/>
                </a:ext>
              </a:extLst>
            </p:cNvPr>
            <p:cNvSpPr/>
            <p:nvPr/>
          </p:nvSpPr>
          <p:spPr bwMode="auto">
            <a:xfrm>
              <a:off x="6227763" y="2343150"/>
              <a:ext cx="447675" cy="249238"/>
            </a:xfrm>
            <a:custGeom>
              <a:avLst/>
              <a:gdLst>
                <a:gd name="T0" fmla="*/ 218 w 282"/>
                <a:gd name="T1" fmla="*/ 0 h 157"/>
                <a:gd name="T2" fmla="*/ 136 w 282"/>
                <a:gd name="T3" fmla="*/ 95 h 157"/>
                <a:gd name="T4" fmla="*/ 21 w 282"/>
                <a:gd name="T5" fmla="*/ 53 h 157"/>
                <a:gd name="T6" fmla="*/ 0 w 282"/>
                <a:gd name="T7" fmla="*/ 73 h 157"/>
                <a:gd name="T8" fmla="*/ 143 w 282"/>
                <a:gd name="T9" fmla="*/ 157 h 157"/>
                <a:gd name="T10" fmla="*/ 282 w 282"/>
                <a:gd name="T11" fmla="*/ 17 h 157"/>
                <a:gd name="T12" fmla="*/ 218 w 282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" h="157">
                  <a:moveTo>
                    <a:pt x="218" y="0"/>
                  </a:moveTo>
                  <a:lnTo>
                    <a:pt x="136" y="95"/>
                  </a:lnTo>
                  <a:lnTo>
                    <a:pt x="21" y="53"/>
                  </a:lnTo>
                  <a:lnTo>
                    <a:pt x="0" y="73"/>
                  </a:lnTo>
                  <a:lnTo>
                    <a:pt x="143" y="157"/>
                  </a:lnTo>
                  <a:lnTo>
                    <a:pt x="282" y="17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5" name="ïśľíďe">
              <a:extLst>
                <a:ext uri="{FF2B5EF4-FFF2-40B4-BE49-F238E27FC236}">
                  <a16:creationId xmlns:a16="http://schemas.microsoft.com/office/drawing/2014/main" id="{DC841D5A-7AAB-4D71-88AA-2183A79C60E0}"/>
                </a:ext>
              </a:extLst>
            </p:cNvPr>
            <p:cNvSpPr/>
            <p:nvPr/>
          </p:nvSpPr>
          <p:spPr bwMode="auto">
            <a:xfrm>
              <a:off x="6145213" y="2335213"/>
              <a:ext cx="115888" cy="123825"/>
            </a:xfrm>
            <a:custGeom>
              <a:avLst/>
              <a:gdLst>
                <a:gd name="T0" fmla="*/ 31 w 44"/>
                <a:gd name="T1" fmla="*/ 47 h 47"/>
                <a:gd name="T2" fmla="*/ 9 w 44"/>
                <a:gd name="T3" fmla="*/ 30 h 47"/>
                <a:gd name="T4" fmla="*/ 1 w 44"/>
                <a:gd name="T5" fmla="*/ 15 h 47"/>
                <a:gd name="T6" fmla="*/ 14 w 44"/>
                <a:gd name="T7" fmla="*/ 3 h 47"/>
                <a:gd name="T8" fmla="*/ 27 w 44"/>
                <a:gd name="T9" fmla="*/ 19 h 47"/>
                <a:gd name="T10" fmla="*/ 26 w 44"/>
                <a:gd name="T11" fmla="*/ 6 h 47"/>
                <a:gd name="T12" fmla="*/ 32 w 44"/>
                <a:gd name="T13" fmla="*/ 10 h 47"/>
                <a:gd name="T14" fmla="*/ 44 w 44"/>
                <a:gd name="T15" fmla="*/ 35 h 47"/>
                <a:gd name="T16" fmla="*/ 31 w 44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7">
                  <a:moveTo>
                    <a:pt x="31" y="47"/>
                  </a:moveTo>
                  <a:cubicBezTo>
                    <a:pt x="24" y="42"/>
                    <a:pt x="9" y="30"/>
                    <a:pt x="9" y="30"/>
                  </a:cubicBezTo>
                  <a:cubicBezTo>
                    <a:pt x="9" y="30"/>
                    <a:pt x="0" y="21"/>
                    <a:pt x="1" y="15"/>
                  </a:cubicBezTo>
                  <a:cubicBezTo>
                    <a:pt x="1" y="9"/>
                    <a:pt x="12" y="0"/>
                    <a:pt x="14" y="3"/>
                  </a:cubicBezTo>
                  <a:cubicBezTo>
                    <a:pt x="16" y="4"/>
                    <a:pt x="27" y="19"/>
                    <a:pt x="27" y="19"/>
                  </a:cubicBezTo>
                  <a:cubicBezTo>
                    <a:pt x="27" y="19"/>
                    <a:pt x="24" y="7"/>
                    <a:pt x="26" y="6"/>
                  </a:cubicBezTo>
                  <a:cubicBezTo>
                    <a:pt x="29" y="5"/>
                    <a:pt x="30" y="9"/>
                    <a:pt x="32" y="10"/>
                  </a:cubicBezTo>
                  <a:cubicBezTo>
                    <a:pt x="33" y="12"/>
                    <a:pt x="44" y="35"/>
                    <a:pt x="44" y="35"/>
                  </a:cubicBezTo>
                  <a:lnTo>
                    <a:pt x="31" y="47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6" name="ïšḷíḍé">
              <a:extLst>
                <a:ext uri="{FF2B5EF4-FFF2-40B4-BE49-F238E27FC236}">
                  <a16:creationId xmlns:a16="http://schemas.microsoft.com/office/drawing/2014/main" id="{B9465CE5-63B0-44B5-9B85-3C4278845855}"/>
                </a:ext>
              </a:extLst>
            </p:cNvPr>
            <p:cNvSpPr/>
            <p:nvPr/>
          </p:nvSpPr>
          <p:spPr bwMode="auto">
            <a:xfrm>
              <a:off x="6565900" y="2171700"/>
              <a:ext cx="106363" cy="142875"/>
            </a:xfrm>
            <a:custGeom>
              <a:avLst/>
              <a:gdLst>
                <a:gd name="T0" fmla="*/ 25 w 40"/>
                <a:gd name="T1" fmla="*/ 0 h 54"/>
                <a:gd name="T2" fmla="*/ 40 w 40"/>
                <a:gd name="T3" fmla="*/ 39 h 54"/>
                <a:gd name="T4" fmla="*/ 12 w 40"/>
                <a:gd name="T5" fmla="*/ 51 h 54"/>
                <a:gd name="T6" fmla="*/ 0 w 40"/>
                <a:gd name="T7" fmla="*/ 20 h 54"/>
                <a:gd name="T8" fmla="*/ 25 w 40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4">
                  <a:moveTo>
                    <a:pt x="25" y="0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37" y="44"/>
                    <a:pt x="31" y="54"/>
                    <a:pt x="12" y="51"/>
                  </a:cubicBezTo>
                  <a:cubicBezTo>
                    <a:pt x="11" y="48"/>
                    <a:pt x="0" y="20"/>
                    <a:pt x="0" y="2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7" name="í$1ïḑé">
              <a:extLst>
                <a:ext uri="{FF2B5EF4-FFF2-40B4-BE49-F238E27FC236}">
                  <a16:creationId xmlns:a16="http://schemas.microsoft.com/office/drawing/2014/main" id="{DD157050-D0E0-4C40-854F-2890506ED189}"/>
                </a:ext>
              </a:extLst>
            </p:cNvPr>
            <p:cNvSpPr/>
            <p:nvPr/>
          </p:nvSpPr>
          <p:spPr bwMode="auto">
            <a:xfrm>
              <a:off x="6486525" y="1993900"/>
              <a:ext cx="193675" cy="250825"/>
            </a:xfrm>
            <a:custGeom>
              <a:avLst/>
              <a:gdLst>
                <a:gd name="T0" fmla="*/ 32 w 73"/>
                <a:gd name="T1" fmla="*/ 93 h 95"/>
                <a:gd name="T2" fmla="*/ 32 w 73"/>
                <a:gd name="T3" fmla="*/ 93 h 95"/>
                <a:gd name="T4" fmla="*/ 68 w 73"/>
                <a:gd name="T5" fmla="*/ 64 h 95"/>
                <a:gd name="T6" fmla="*/ 71 w 73"/>
                <a:gd name="T7" fmla="*/ 39 h 95"/>
                <a:gd name="T8" fmla="*/ 41 w 73"/>
                <a:gd name="T9" fmla="*/ 2 h 95"/>
                <a:gd name="T10" fmla="*/ 41 w 73"/>
                <a:gd name="T11" fmla="*/ 2 h 95"/>
                <a:gd name="T12" fmla="*/ 5 w 73"/>
                <a:gd name="T13" fmla="*/ 32 h 95"/>
                <a:gd name="T14" fmla="*/ 2 w 73"/>
                <a:gd name="T15" fmla="*/ 57 h 95"/>
                <a:gd name="T16" fmla="*/ 32 w 73"/>
                <a:gd name="T17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95">
                  <a:moveTo>
                    <a:pt x="32" y="93"/>
                  </a:moveTo>
                  <a:cubicBezTo>
                    <a:pt x="32" y="93"/>
                    <a:pt x="32" y="93"/>
                    <a:pt x="32" y="93"/>
                  </a:cubicBezTo>
                  <a:cubicBezTo>
                    <a:pt x="50" y="95"/>
                    <a:pt x="67" y="82"/>
                    <a:pt x="68" y="64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3" y="20"/>
                    <a:pt x="60" y="4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23" y="0"/>
                    <a:pt x="7" y="13"/>
                    <a:pt x="5" y="32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0" y="75"/>
                    <a:pt x="14" y="91"/>
                    <a:pt x="32" y="9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8" name="iṡḷíḍe">
              <a:extLst>
                <a:ext uri="{FF2B5EF4-FFF2-40B4-BE49-F238E27FC236}">
                  <a16:creationId xmlns:a16="http://schemas.microsoft.com/office/drawing/2014/main" id="{AD2A1C9C-9659-43C6-AD81-C64714E75514}"/>
                </a:ext>
              </a:extLst>
            </p:cNvPr>
            <p:cNvSpPr/>
            <p:nvPr/>
          </p:nvSpPr>
          <p:spPr bwMode="auto">
            <a:xfrm>
              <a:off x="6459538" y="2252663"/>
              <a:ext cx="257175" cy="498475"/>
            </a:xfrm>
            <a:custGeom>
              <a:avLst/>
              <a:gdLst>
                <a:gd name="T0" fmla="*/ 156 w 162"/>
                <a:gd name="T1" fmla="*/ 0 h 314"/>
                <a:gd name="T2" fmla="*/ 40 w 162"/>
                <a:gd name="T3" fmla="*/ 59 h 314"/>
                <a:gd name="T4" fmla="*/ 0 w 162"/>
                <a:gd name="T5" fmla="*/ 314 h 314"/>
                <a:gd name="T6" fmla="*/ 162 w 162"/>
                <a:gd name="T7" fmla="*/ 314 h 314"/>
                <a:gd name="T8" fmla="*/ 142 w 162"/>
                <a:gd name="T9" fmla="*/ 199 h 314"/>
                <a:gd name="T10" fmla="*/ 156 w 162"/>
                <a:gd name="T1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314">
                  <a:moveTo>
                    <a:pt x="156" y="0"/>
                  </a:moveTo>
                  <a:lnTo>
                    <a:pt x="40" y="59"/>
                  </a:lnTo>
                  <a:lnTo>
                    <a:pt x="0" y="314"/>
                  </a:lnTo>
                  <a:lnTo>
                    <a:pt x="162" y="314"/>
                  </a:lnTo>
                  <a:lnTo>
                    <a:pt x="142" y="199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9" name="îṩliḍè">
              <a:extLst>
                <a:ext uri="{FF2B5EF4-FFF2-40B4-BE49-F238E27FC236}">
                  <a16:creationId xmlns:a16="http://schemas.microsoft.com/office/drawing/2014/main" id="{6120AEE9-96EC-4341-85F1-14CD980114AC}"/>
                </a:ext>
              </a:extLst>
            </p:cNvPr>
            <p:cNvSpPr/>
            <p:nvPr/>
          </p:nvSpPr>
          <p:spPr bwMode="auto">
            <a:xfrm>
              <a:off x="6619875" y="2284413"/>
              <a:ext cx="211138" cy="452438"/>
            </a:xfrm>
            <a:custGeom>
              <a:avLst/>
              <a:gdLst>
                <a:gd name="T0" fmla="*/ 6 w 133"/>
                <a:gd name="T1" fmla="*/ 55 h 285"/>
                <a:gd name="T2" fmla="*/ 73 w 133"/>
                <a:gd name="T3" fmla="*/ 162 h 285"/>
                <a:gd name="T4" fmla="*/ 0 w 133"/>
                <a:gd name="T5" fmla="*/ 259 h 285"/>
                <a:gd name="T6" fmla="*/ 11 w 133"/>
                <a:gd name="T7" fmla="*/ 285 h 285"/>
                <a:gd name="T8" fmla="*/ 133 w 133"/>
                <a:gd name="T9" fmla="*/ 175 h 285"/>
                <a:gd name="T10" fmla="*/ 41 w 133"/>
                <a:gd name="T11" fmla="*/ 0 h 285"/>
                <a:gd name="T12" fmla="*/ 6 w 133"/>
                <a:gd name="T13" fmla="*/ 5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285">
                  <a:moveTo>
                    <a:pt x="6" y="55"/>
                  </a:moveTo>
                  <a:lnTo>
                    <a:pt x="73" y="162"/>
                  </a:lnTo>
                  <a:lnTo>
                    <a:pt x="0" y="259"/>
                  </a:lnTo>
                  <a:lnTo>
                    <a:pt x="11" y="285"/>
                  </a:lnTo>
                  <a:lnTo>
                    <a:pt x="133" y="175"/>
                  </a:lnTo>
                  <a:lnTo>
                    <a:pt x="41" y="0"/>
                  </a:lnTo>
                  <a:lnTo>
                    <a:pt x="6" y="55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0" name="îṣlîḋe">
              <a:extLst>
                <a:ext uri="{FF2B5EF4-FFF2-40B4-BE49-F238E27FC236}">
                  <a16:creationId xmlns:a16="http://schemas.microsoft.com/office/drawing/2014/main" id="{0FADB29D-6ECC-4FE1-9257-AF0BEB40425C}"/>
                </a:ext>
              </a:extLst>
            </p:cNvPr>
            <p:cNvSpPr/>
            <p:nvPr/>
          </p:nvSpPr>
          <p:spPr bwMode="auto">
            <a:xfrm>
              <a:off x="6502400" y="2695575"/>
              <a:ext cx="134938" cy="100013"/>
            </a:xfrm>
            <a:custGeom>
              <a:avLst/>
              <a:gdLst>
                <a:gd name="T0" fmla="*/ 51 w 51"/>
                <a:gd name="T1" fmla="*/ 16 h 38"/>
                <a:gd name="T2" fmla="*/ 28 w 51"/>
                <a:gd name="T3" fmla="*/ 33 h 38"/>
                <a:gd name="T4" fmla="*/ 12 w 51"/>
                <a:gd name="T5" fmla="*/ 36 h 38"/>
                <a:gd name="T6" fmla="*/ 4 w 51"/>
                <a:gd name="T7" fmla="*/ 19 h 38"/>
                <a:gd name="T8" fmla="*/ 23 w 51"/>
                <a:gd name="T9" fmla="*/ 12 h 38"/>
                <a:gd name="T10" fmla="*/ 10 w 51"/>
                <a:gd name="T11" fmla="*/ 9 h 38"/>
                <a:gd name="T12" fmla="*/ 16 w 51"/>
                <a:gd name="T13" fmla="*/ 5 h 38"/>
                <a:gd name="T14" fmla="*/ 44 w 51"/>
                <a:gd name="T15" fmla="*/ 0 h 38"/>
                <a:gd name="T16" fmla="*/ 51 w 51"/>
                <a:gd name="T17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8">
                  <a:moveTo>
                    <a:pt x="51" y="16"/>
                  </a:moveTo>
                  <a:cubicBezTo>
                    <a:pt x="44" y="21"/>
                    <a:pt x="28" y="33"/>
                    <a:pt x="28" y="33"/>
                  </a:cubicBezTo>
                  <a:cubicBezTo>
                    <a:pt x="28" y="33"/>
                    <a:pt x="17" y="38"/>
                    <a:pt x="12" y="36"/>
                  </a:cubicBezTo>
                  <a:cubicBezTo>
                    <a:pt x="6" y="33"/>
                    <a:pt x="0" y="21"/>
                    <a:pt x="4" y="19"/>
                  </a:cubicBezTo>
                  <a:cubicBezTo>
                    <a:pt x="6" y="18"/>
                    <a:pt x="23" y="12"/>
                    <a:pt x="23" y="12"/>
                  </a:cubicBezTo>
                  <a:cubicBezTo>
                    <a:pt x="23" y="12"/>
                    <a:pt x="11" y="11"/>
                    <a:pt x="10" y="9"/>
                  </a:cubicBezTo>
                  <a:cubicBezTo>
                    <a:pt x="10" y="6"/>
                    <a:pt x="14" y="5"/>
                    <a:pt x="16" y="5"/>
                  </a:cubicBezTo>
                  <a:cubicBezTo>
                    <a:pt x="19" y="4"/>
                    <a:pt x="44" y="0"/>
                    <a:pt x="44" y="0"/>
                  </a:cubicBezTo>
                  <a:lnTo>
                    <a:pt x="51" y="16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1" name="iṩlíḑê">
              <a:extLst>
                <a:ext uri="{FF2B5EF4-FFF2-40B4-BE49-F238E27FC236}">
                  <a16:creationId xmlns:a16="http://schemas.microsoft.com/office/drawing/2014/main" id="{C6BDA9BF-E646-4E97-BA57-D31A662E89BC}"/>
                </a:ext>
              </a:extLst>
            </p:cNvPr>
            <p:cNvSpPr/>
            <p:nvPr/>
          </p:nvSpPr>
          <p:spPr bwMode="auto">
            <a:xfrm>
              <a:off x="6478588" y="1954213"/>
              <a:ext cx="254000" cy="227013"/>
            </a:xfrm>
            <a:custGeom>
              <a:avLst/>
              <a:gdLst>
                <a:gd name="T0" fmla="*/ 70 w 96"/>
                <a:gd name="T1" fmla="*/ 86 h 86"/>
                <a:gd name="T2" fmla="*/ 36 w 96"/>
                <a:gd name="T3" fmla="*/ 40 h 86"/>
                <a:gd name="T4" fmla="*/ 26 w 96"/>
                <a:gd name="T5" fmla="*/ 55 h 86"/>
                <a:gd name="T6" fmla="*/ 0 w 96"/>
                <a:gd name="T7" fmla="*/ 52 h 86"/>
                <a:gd name="T8" fmla="*/ 58 w 96"/>
                <a:gd name="T9" fmla="*/ 17 h 86"/>
                <a:gd name="T10" fmla="*/ 70 w 96"/>
                <a:gd name="T1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86">
                  <a:moveTo>
                    <a:pt x="70" y="86"/>
                  </a:moveTo>
                  <a:cubicBezTo>
                    <a:pt x="70" y="86"/>
                    <a:pt x="36" y="82"/>
                    <a:pt x="36" y="40"/>
                  </a:cubicBezTo>
                  <a:cubicBezTo>
                    <a:pt x="36" y="40"/>
                    <a:pt x="34" y="50"/>
                    <a:pt x="26" y="55"/>
                  </a:cubicBezTo>
                  <a:cubicBezTo>
                    <a:pt x="19" y="59"/>
                    <a:pt x="5" y="58"/>
                    <a:pt x="0" y="52"/>
                  </a:cubicBezTo>
                  <a:cubicBezTo>
                    <a:pt x="0" y="52"/>
                    <a:pt x="7" y="0"/>
                    <a:pt x="58" y="17"/>
                  </a:cubicBezTo>
                  <a:cubicBezTo>
                    <a:pt x="66" y="20"/>
                    <a:pt x="96" y="30"/>
                    <a:pt x="70" y="86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2" name="işľïdè">
              <a:extLst>
                <a:ext uri="{FF2B5EF4-FFF2-40B4-BE49-F238E27FC236}">
                  <a16:creationId xmlns:a16="http://schemas.microsoft.com/office/drawing/2014/main" id="{BF557A67-4957-4026-BF4C-4DC4656D56A4}"/>
                </a:ext>
              </a:extLst>
            </p:cNvPr>
            <p:cNvSpPr/>
            <p:nvPr/>
          </p:nvSpPr>
          <p:spPr bwMode="auto">
            <a:xfrm>
              <a:off x="6581775" y="2097088"/>
              <a:ext cx="61913" cy="60325"/>
            </a:xfrm>
            <a:custGeom>
              <a:avLst/>
              <a:gdLst>
                <a:gd name="T0" fmla="*/ 22 w 23"/>
                <a:gd name="T1" fmla="*/ 13 h 23"/>
                <a:gd name="T2" fmla="*/ 12 w 23"/>
                <a:gd name="T3" fmla="*/ 1 h 23"/>
                <a:gd name="T4" fmla="*/ 0 w 23"/>
                <a:gd name="T5" fmla="*/ 11 h 23"/>
                <a:gd name="T6" fmla="*/ 10 w 23"/>
                <a:gd name="T7" fmla="*/ 23 h 23"/>
                <a:gd name="T8" fmla="*/ 22 w 23"/>
                <a:gd name="T9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2" y="13"/>
                  </a:moveTo>
                  <a:cubicBezTo>
                    <a:pt x="23" y="7"/>
                    <a:pt x="18" y="2"/>
                    <a:pt x="12" y="1"/>
                  </a:cubicBezTo>
                  <a:cubicBezTo>
                    <a:pt x="7" y="0"/>
                    <a:pt x="1" y="5"/>
                    <a:pt x="0" y="11"/>
                  </a:cubicBezTo>
                  <a:cubicBezTo>
                    <a:pt x="0" y="16"/>
                    <a:pt x="4" y="22"/>
                    <a:pt x="10" y="23"/>
                  </a:cubicBezTo>
                  <a:cubicBezTo>
                    <a:pt x="16" y="23"/>
                    <a:pt x="21" y="19"/>
                    <a:pt x="22" y="1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3" name="îṧḻïḑé">
              <a:extLst>
                <a:ext uri="{FF2B5EF4-FFF2-40B4-BE49-F238E27FC236}">
                  <a16:creationId xmlns:a16="http://schemas.microsoft.com/office/drawing/2014/main" id="{41B93126-DA0A-4EA6-AD76-A503CEE96C15}"/>
                </a:ext>
              </a:extLst>
            </p:cNvPr>
            <p:cNvSpPr/>
            <p:nvPr/>
          </p:nvSpPr>
          <p:spPr bwMode="auto">
            <a:xfrm>
              <a:off x="6648450" y="2124075"/>
              <a:ext cx="206375" cy="187325"/>
            </a:xfrm>
            <a:custGeom>
              <a:avLst/>
              <a:gdLst>
                <a:gd name="T0" fmla="*/ 9 w 78"/>
                <a:gd name="T1" fmla="*/ 7 h 71"/>
                <a:gd name="T2" fmla="*/ 29 w 78"/>
                <a:gd name="T3" fmla="*/ 2 h 71"/>
                <a:gd name="T4" fmla="*/ 52 w 78"/>
                <a:gd name="T5" fmla="*/ 36 h 71"/>
                <a:gd name="T6" fmla="*/ 77 w 78"/>
                <a:gd name="T7" fmla="*/ 53 h 71"/>
                <a:gd name="T8" fmla="*/ 59 w 78"/>
                <a:gd name="T9" fmla="*/ 70 h 71"/>
                <a:gd name="T10" fmla="*/ 29 w 78"/>
                <a:gd name="T11" fmla="*/ 47 h 71"/>
                <a:gd name="T12" fmla="*/ 10 w 78"/>
                <a:gd name="T13" fmla="*/ 12 h 71"/>
                <a:gd name="T14" fmla="*/ 9 w 78"/>
                <a:gd name="T15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1">
                  <a:moveTo>
                    <a:pt x="9" y="7"/>
                  </a:moveTo>
                  <a:cubicBezTo>
                    <a:pt x="9" y="7"/>
                    <a:pt x="16" y="0"/>
                    <a:pt x="29" y="2"/>
                  </a:cubicBezTo>
                  <a:cubicBezTo>
                    <a:pt x="42" y="5"/>
                    <a:pt x="48" y="23"/>
                    <a:pt x="52" y="36"/>
                  </a:cubicBezTo>
                  <a:cubicBezTo>
                    <a:pt x="56" y="49"/>
                    <a:pt x="66" y="58"/>
                    <a:pt x="77" y="53"/>
                  </a:cubicBezTo>
                  <a:cubicBezTo>
                    <a:pt x="77" y="53"/>
                    <a:pt x="78" y="69"/>
                    <a:pt x="59" y="70"/>
                  </a:cubicBezTo>
                  <a:cubicBezTo>
                    <a:pt x="40" y="71"/>
                    <a:pt x="34" y="58"/>
                    <a:pt x="29" y="47"/>
                  </a:cubicBezTo>
                  <a:cubicBezTo>
                    <a:pt x="25" y="36"/>
                    <a:pt x="20" y="9"/>
                    <a:pt x="10" y="12"/>
                  </a:cubicBezTo>
                  <a:cubicBezTo>
                    <a:pt x="0" y="16"/>
                    <a:pt x="9" y="7"/>
                    <a:pt x="9" y="7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4" name="ïṣḻiḓè">
              <a:extLst>
                <a:ext uri="{FF2B5EF4-FFF2-40B4-BE49-F238E27FC236}">
                  <a16:creationId xmlns:a16="http://schemas.microsoft.com/office/drawing/2014/main" id="{4A1FE2CE-47B2-4ED2-9A69-99B59F5FC1EA}"/>
                </a:ext>
              </a:extLst>
            </p:cNvPr>
            <p:cNvSpPr/>
            <p:nvPr/>
          </p:nvSpPr>
          <p:spPr bwMode="auto">
            <a:xfrm>
              <a:off x="6521450" y="1935163"/>
              <a:ext cx="201613" cy="153988"/>
            </a:xfrm>
            <a:custGeom>
              <a:avLst/>
              <a:gdLst>
                <a:gd name="T0" fmla="*/ 68 w 76"/>
                <a:gd name="T1" fmla="*/ 58 h 58"/>
                <a:gd name="T2" fmla="*/ 51 w 76"/>
                <a:gd name="T3" fmla="*/ 11 h 58"/>
                <a:gd name="T4" fmla="*/ 0 w 76"/>
                <a:gd name="T5" fmla="*/ 23 h 58"/>
                <a:gd name="T6" fmla="*/ 68 w 76"/>
                <a:gd name="T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58">
                  <a:moveTo>
                    <a:pt x="68" y="58"/>
                  </a:moveTo>
                  <a:cubicBezTo>
                    <a:pt x="76" y="44"/>
                    <a:pt x="71" y="23"/>
                    <a:pt x="51" y="11"/>
                  </a:cubicBezTo>
                  <a:cubicBezTo>
                    <a:pt x="30" y="0"/>
                    <a:pt x="10" y="9"/>
                    <a:pt x="0" y="23"/>
                  </a:cubicBezTo>
                  <a:lnTo>
                    <a:pt x="68" y="5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5" name="ïṧľíďé">
              <a:extLst>
                <a:ext uri="{FF2B5EF4-FFF2-40B4-BE49-F238E27FC236}">
                  <a16:creationId xmlns:a16="http://schemas.microsoft.com/office/drawing/2014/main" id="{30A071C0-EFAB-4812-BDAA-B7E8854F72F4}"/>
                </a:ext>
              </a:extLst>
            </p:cNvPr>
            <p:cNvSpPr/>
            <p:nvPr/>
          </p:nvSpPr>
          <p:spPr bwMode="auto">
            <a:xfrm>
              <a:off x="6478588" y="1974850"/>
              <a:ext cx="230188" cy="133350"/>
            </a:xfrm>
            <a:custGeom>
              <a:avLst/>
              <a:gdLst>
                <a:gd name="T0" fmla="*/ 140 w 145"/>
                <a:gd name="T1" fmla="*/ 84 h 84"/>
                <a:gd name="T2" fmla="*/ 0 w 145"/>
                <a:gd name="T3" fmla="*/ 12 h 84"/>
                <a:gd name="T4" fmla="*/ 5 w 145"/>
                <a:gd name="T5" fmla="*/ 0 h 84"/>
                <a:gd name="T6" fmla="*/ 145 w 145"/>
                <a:gd name="T7" fmla="*/ 72 h 84"/>
                <a:gd name="T8" fmla="*/ 140 w 145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84">
                  <a:moveTo>
                    <a:pt x="140" y="84"/>
                  </a:moveTo>
                  <a:lnTo>
                    <a:pt x="0" y="12"/>
                  </a:lnTo>
                  <a:lnTo>
                    <a:pt x="5" y="0"/>
                  </a:lnTo>
                  <a:lnTo>
                    <a:pt x="145" y="72"/>
                  </a:lnTo>
                  <a:lnTo>
                    <a:pt x="140" y="84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6" name="íš1ïḓe">
              <a:extLst>
                <a:ext uri="{FF2B5EF4-FFF2-40B4-BE49-F238E27FC236}">
                  <a16:creationId xmlns:a16="http://schemas.microsoft.com/office/drawing/2014/main" id="{72405520-BCAC-4918-AD06-2418CF4A16D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220663"/>
            </a:xfrm>
            <a:custGeom>
              <a:avLst/>
              <a:gdLst>
                <a:gd name="T0" fmla="*/ 159 w 173"/>
                <a:gd name="T1" fmla="*/ 83 h 83"/>
                <a:gd name="T2" fmla="*/ 15 w 173"/>
                <a:gd name="T3" fmla="*/ 83 h 83"/>
                <a:gd name="T4" fmla="*/ 0 w 173"/>
                <a:gd name="T5" fmla="*/ 69 h 83"/>
                <a:gd name="T6" fmla="*/ 0 w 173"/>
                <a:gd name="T7" fmla="*/ 0 h 83"/>
                <a:gd name="T8" fmla="*/ 173 w 173"/>
                <a:gd name="T9" fmla="*/ 0 h 83"/>
                <a:gd name="T10" fmla="*/ 173 w 173"/>
                <a:gd name="T11" fmla="*/ 69 h 83"/>
                <a:gd name="T12" fmla="*/ 159 w 173"/>
                <a:gd name="T1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83">
                  <a:moveTo>
                    <a:pt x="159" y="83"/>
                  </a:moveTo>
                  <a:cubicBezTo>
                    <a:pt x="15" y="83"/>
                    <a:pt x="15" y="83"/>
                    <a:pt x="15" y="83"/>
                  </a:cubicBezTo>
                  <a:cubicBezTo>
                    <a:pt x="7" y="83"/>
                    <a:pt x="0" y="77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3" y="69"/>
                    <a:pt x="173" y="69"/>
                    <a:pt x="173" y="69"/>
                  </a:cubicBezTo>
                  <a:cubicBezTo>
                    <a:pt x="173" y="77"/>
                    <a:pt x="166" y="83"/>
                    <a:pt x="159" y="8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7" name="íṥḷïdè">
              <a:extLst>
                <a:ext uri="{FF2B5EF4-FFF2-40B4-BE49-F238E27FC236}">
                  <a16:creationId xmlns:a16="http://schemas.microsoft.com/office/drawing/2014/main" id="{93F28E53-17BE-472F-9089-7943C776E63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19050"/>
            </a:xfrm>
            <a:prstGeom prst="rect">
              <a:avLst/>
            </a:pr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8" name="ïşľiḍé">
              <a:extLst>
                <a:ext uri="{FF2B5EF4-FFF2-40B4-BE49-F238E27FC236}">
                  <a16:creationId xmlns:a16="http://schemas.microsoft.com/office/drawing/2014/main" id="{A7FE82EF-645A-42E2-BF97-B39C12AB04B3}"/>
                </a:ext>
              </a:extLst>
            </p:cNvPr>
            <p:cNvSpPr/>
            <p:nvPr/>
          </p:nvSpPr>
          <p:spPr bwMode="auto">
            <a:xfrm>
              <a:off x="7037388" y="3328988"/>
              <a:ext cx="61913" cy="42863"/>
            </a:xfrm>
            <a:custGeom>
              <a:avLst/>
              <a:gdLst>
                <a:gd name="T0" fmla="*/ 0 w 23"/>
                <a:gd name="T1" fmla="*/ 0 h 16"/>
                <a:gd name="T2" fmla="*/ 23 w 23"/>
                <a:gd name="T3" fmla="*/ 0 h 16"/>
                <a:gd name="T4" fmla="*/ 22 w 23"/>
                <a:gd name="T5" fmla="*/ 14 h 16"/>
                <a:gd name="T6" fmla="*/ 19 w 23"/>
                <a:gd name="T7" fmla="*/ 16 h 16"/>
                <a:gd name="T8" fmla="*/ 4 w 23"/>
                <a:gd name="T9" fmla="*/ 16 h 16"/>
                <a:gd name="T10" fmla="*/ 1 w 23"/>
                <a:gd name="T11" fmla="*/ 14 h 16"/>
                <a:gd name="T12" fmla="*/ 0 w 2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1" y="16"/>
                    <a:pt x="19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5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9" name="îš1îḓé">
              <a:extLst>
                <a:ext uri="{FF2B5EF4-FFF2-40B4-BE49-F238E27FC236}">
                  <a16:creationId xmlns:a16="http://schemas.microsoft.com/office/drawing/2014/main" id="{AB8E1BAA-BB47-4068-B5EC-4239C6A55EE9}"/>
                </a:ext>
              </a:extLst>
            </p:cNvPr>
            <p:cNvSpPr/>
            <p:nvPr/>
          </p:nvSpPr>
          <p:spPr bwMode="auto">
            <a:xfrm>
              <a:off x="6831013" y="3248025"/>
              <a:ext cx="476250" cy="96838"/>
            </a:xfrm>
            <a:custGeom>
              <a:avLst/>
              <a:gdLst>
                <a:gd name="T0" fmla="*/ 9 w 180"/>
                <a:gd name="T1" fmla="*/ 0 h 37"/>
                <a:gd name="T2" fmla="*/ 170 w 180"/>
                <a:gd name="T3" fmla="*/ 0 h 37"/>
                <a:gd name="T4" fmla="*/ 180 w 180"/>
                <a:gd name="T5" fmla="*/ 9 h 37"/>
                <a:gd name="T6" fmla="*/ 180 w 180"/>
                <a:gd name="T7" fmla="*/ 37 h 37"/>
                <a:gd name="T8" fmla="*/ 0 w 180"/>
                <a:gd name="T9" fmla="*/ 37 h 37"/>
                <a:gd name="T10" fmla="*/ 0 w 180"/>
                <a:gd name="T11" fmla="*/ 9 h 37"/>
                <a:gd name="T12" fmla="*/ 9 w 18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37">
                  <a:moveTo>
                    <a:pt x="9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5" y="0"/>
                    <a:pt x="180" y="4"/>
                    <a:pt x="180" y="9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0" name="işḷïḓé">
              <a:extLst>
                <a:ext uri="{FF2B5EF4-FFF2-40B4-BE49-F238E27FC236}">
                  <a16:creationId xmlns:a16="http://schemas.microsoft.com/office/drawing/2014/main" id="{57C71467-BE38-481A-AE6F-5858A07F033D}"/>
                </a:ext>
              </a:extLst>
            </p:cNvPr>
            <p:cNvSpPr/>
            <p:nvPr/>
          </p:nvSpPr>
          <p:spPr bwMode="auto">
            <a:xfrm>
              <a:off x="685958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1" name="íṧ1îḍe">
              <a:extLst>
                <a:ext uri="{FF2B5EF4-FFF2-40B4-BE49-F238E27FC236}">
                  <a16:creationId xmlns:a16="http://schemas.microsoft.com/office/drawing/2014/main" id="{27A29A62-FEBF-4BC8-9789-F8105268CF10}"/>
                </a:ext>
              </a:extLst>
            </p:cNvPr>
            <p:cNvSpPr/>
            <p:nvPr/>
          </p:nvSpPr>
          <p:spPr bwMode="auto">
            <a:xfrm>
              <a:off x="6897688" y="3382963"/>
              <a:ext cx="15875" cy="168275"/>
            </a:xfrm>
            <a:custGeom>
              <a:avLst/>
              <a:gdLst>
                <a:gd name="T0" fmla="*/ 3 w 6"/>
                <a:gd name="T1" fmla="*/ 64 h 64"/>
                <a:gd name="T2" fmla="*/ 3 w 6"/>
                <a:gd name="T3" fmla="*/ 64 h 64"/>
                <a:gd name="T4" fmla="*/ 0 w 6"/>
                <a:gd name="T5" fmla="*/ 60 h 64"/>
                <a:gd name="T6" fmla="*/ 0 w 6"/>
                <a:gd name="T7" fmla="*/ 4 h 64"/>
                <a:gd name="T8" fmla="*/ 3 w 6"/>
                <a:gd name="T9" fmla="*/ 0 h 64"/>
                <a:gd name="T10" fmla="*/ 3 w 6"/>
                <a:gd name="T11" fmla="*/ 0 h 64"/>
                <a:gd name="T12" fmla="*/ 6 w 6"/>
                <a:gd name="T13" fmla="*/ 4 h 64"/>
                <a:gd name="T14" fmla="*/ 6 w 6"/>
                <a:gd name="T15" fmla="*/ 60 h 64"/>
                <a:gd name="T16" fmla="*/ 3 w 6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2" name="íŝ1îḋe">
              <a:extLst>
                <a:ext uri="{FF2B5EF4-FFF2-40B4-BE49-F238E27FC236}">
                  <a16:creationId xmlns:a16="http://schemas.microsoft.com/office/drawing/2014/main" id="{7392A10B-F0C1-4DE6-88E2-EC82F4E7DEEA}"/>
                </a:ext>
              </a:extLst>
            </p:cNvPr>
            <p:cNvSpPr/>
            <p:nvPr/>
          </p:nvSpPr>
          <p:spPr bwMode="auto">
            <a:xfrm>
              <a:off x="6931025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3" name="îşľîḍê">
              <a:extLst>
                <a:ext uri="{FF2B5EF4-FFF2-40B4-BE49-F238E27FC236}">
                  <a16:creationId xmlns:a16="http://schemas.microsoft.com/office/drawing/2014/main" id="{8D0EAE11-E86F-419B-943D-42B728820DAA}"/>
                </a:ext>
              </a:extLst>
            </p:cNvPr>
            <p:cNvSpPr/>
            <p:nvPr/>
          </p:nvSpPr>
          <p:spPr bwMode="auto">
            <a:xfrm>
              <a:off x="696912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4" name="iṧľïḓe">
              <a:extLst>
                <a:ext uri="{FF2B5EF4-FFF2-40B4-BE49-F238E27FC236}">
                  <a16:creationId xmlns:a16="http://schemas.microsoft.com/office/drawing/2014/main" id="{D388FFC9-A0E7-4166-A762-78D24B7C25FC}"/>
                </a:ext>
              </a:extLst>
            </p:cNvPr>
            <p:cNvSpPr/>
            <p:nvPr/>
          </p:nvSpPr>
          <p:spPr bwMode="auto">
            <a:xfrm>
              <a:off x="700563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5" name="îŝ1íḓê">
              <a:extLst>
                <a:ext uri="{FF2B5EF4-FFF2-40B4-BE49-F238E27FC236}">
                  <a16:creationId xmlns:a16="http://schemas.microsoft.com/office/drawing/2014/main" id="{1A6E156D-AB9D-4109-A419-3259B14BFBC7}"/>
                </a:ext>
              </a:extLst>
            </p:cNvPr>
            <p:cNvSpPr/>
            <p:nvPr/>
          </p:nvSpPr>
          <p:spPr bwMode="auto">
            <a:xfrm>
              <a:off x="704056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6" name="íŝḷiḑè">
              <a:extLst>
                <a:ext uri="{FF2B5EF4-FFF2-40B4-BE49-F238E27FC236}">
                  <a16:creationId xmlns:a16="http://schemas.microsoft.com/office/drawing/2014/main" id="{664628F5-42E7-489A-993B-FF22FA872E8E}"/>
                </a:ext>
              </a:extLst>
            </p:cNvPr>
            <p:cNvSpPr/>
            <p:nvPr/>
          </p:nvSpPr>
          <p:spPr bwMode="auto">
            <a:xfrm>
              <a:off x="707707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7" name="í$ľiḓé">
              <a:extLst>
                <a:ext uri="{FF2B5EF4-FFF2-40B4-BE49-F238E27FC236}">
                  <a16:creationId xmlns:a16="http://schemas.microsoft.com/office/drawing/2014/main" id="{6370D9E6-3389-4458-97EA-4930985AE6CC}"/>
                </a:ext>
              </a:extLst>
            </p:cNvPr>
            <p:cNvSpPr/>
            <p:nvPr/>
          </p:nvSpPr>
          <p:spPr bwMode="auto">
            <a:xfrm>
              <a:off x="711517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8" name="îšļiďé">
              <a:extLst>
                <a:ext uri="{FF2B5EF4-FFF2-40B4-BE49-F238E27FC236}">
                  <a16:creationId xmlns:a16="http://schemas.microsoft.com/office/drawing/2014/main" id="{B441541B-B4FE-4C0C-8286-BEE9332F549E}"/>
                </a:ext>
              </a:extLst>
            </p:cNvPr>
            <p:cNvSpPr/>
            <p:nvPr/>
          </p:nvSpPr>
          <p:spPr bwMode="auto">
            <a:xfrm>
              <a:off x="714851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9" name="iŝļïḓê">
              <a:extLst>
                <a:ext uri="{FF2B5EF4-FFF2-40B4-BE49-F238E27FC236}">
                  <a16:creationId xmlns:a16="http://schemas.microsoft.com/office/drawing/2014/main" id="{AF89367F-F860-4225-AD1F-9B82C7E7328C}"/>
                </a:ext>
              </a:extLst>
            </p:cNvPr>
            <p:cNvSpPr/>
            <p:nvPr/>
          </p:nvSpPr>
          <p:spPr bwMode="auto">
            <a:xfrm>
              <a:off x="7186613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0" name="íṩ1idê">
              <a:extLst>
                <a:ext uri="{FF2B5EF4-FFF2-40B4-BE49-F238E27FC236}">
                  <a16:creationId xmlns:a16="http://schemas.microsoft.com/office/drawing/2014/main" id="{D83E3489-93D8-4D98-A29E-621956C06F82}"/>
                </a:ext>
              </a:extLst>
            </p:cNvPr>
            <p:cNvSpPr/>
            <p:nvPr/>
          </p:nvSpPr>
          <p:spPr bwMode="auto">
            <a:xfrm>
              <a:off x="722312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1" name="iṧ1iḋé">
              <a:extLst>
                <a:ext uri="{FF2B5EF4-FFF2-40B4-BE49-F238E27FC236}">
                  <a16:creationId xmlns:a16="http://schemas.microsoft.com/office/drawing/2014/main" id="{328FD554-591A-45F0-B615-0E516D03899C}"/>
                </a:ext>
              </a:extLst>
            </p:cNvPr>
            <p:cNvSpPr/>
            <p:nvPr/>
          </p:nvSpPr>
          <p:spPr bwMode="auto">
            <a:xfrm>
              <a:off x="7258050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2" name="iṣľiḋe">
              <a:extLst>
                <a:ext uri="{FF2B5EF4-FFF2-40B4-BE49-F238E27FC236}">
                  <a16:creationId xmlns:a16="http://schemas.microsoft.com/office/drawing/2014/main" id="{E943221A-9FD7-4D9E-A7C0-1BC4D44F3C90}"/>
                </a:ext>
              </a:extLst>
            </p:cNvPr>
            <p:cNvSpPr/>
            <p:nvPr/>
          </p:nvSpPr>
          <p:spPr bwMode="auto">
            <a:xfrm>
              <a:off x="7178675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6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3" name="íš1îḋê">
              <a:extLst>
                <a:ext uri="{FF2B5EF4-FFF2-40B4-BE49-F238E27FC236}">
                  <a16:creationId xmlns:a16="http://schemas.microsoft.com/office/drawing/2014/main" id="{E60267AA-CDCB-410E-8163-946F66857D8B}"/>
                </a:ext>
              </a:extLst>
            </p:cNvPr>
            <p:cNvSpPr/>
            <p:nvPr/>
          </p:nvSpPr>
          <p:spPr bwMode="auto">
            <a:xfrm>
              <a:off x="6875463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7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4" name="íṣḷíḍê">
              <a:extLst>
                <a:ext uri="{FF2B5EF4-FFF2-40B4-BE49-F238E27FC236}">
                  <a16:creationId xmlns:a16="http://schemas.microsoft.com/office/drawing/2014/main" id="{CDE3BA28-ED32-4C2B-ACB5-A0DFF341A4F9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74613"/>
            </a:xfrm>
            <a:custGeom>
              <a:avLst/>
              <a:gdLst>
                <a:gd name="T0" fmla="*/ 65 w 65"/>
                <a:gd name="T1" fmla="*/ 28 h 28"/>
                <a:gd name="T2" fmla="*/ 57 w 65"/>
                <a:gd name="T3" fmla="*/ 28 h 28"/>
                <a:gd name="T4" fmla="*/ 57 w 65"/>
                <a:gd name="T5" fmla="*/ 11 h 28"/>
                <a:gd name="T6" fmla="*/ 54 w 65"/>
                <a:gd name="T7" fmla="*/ 8 h 28"/>
                <a:gd name="T8" fmla="*/ 11 w 65"/>
                <a:gd name="T9" fmla="*/ 8 h 28"/>
                <a:gd name="T10" fmla="*/ 8 w 65"/>
                <a:gd name="T11" fmla="*/ 11 h 28"/>
                <a:gd name="T12" fmla="*/ 8 w 65"/>
                <a:gd name="T13" fmla="*/ 28 h 28"/>
                <a:gd name="T14" fmla="*/ 0 w 65"/>
                <a:gd name="T15" fmla="*/ 28 h 28"/>
                <a:gd name="T16" fmla="*/ 0 w 65"/>
                <a:gd name="T17" fmla="*/ 11 h 28"/>
                <a:gd name="T18" fmla="*/ 11 w 65"/>
                <a:gd name="T19" fmla="*/ 0 h 28"/>
                <a:gd name="T20" fmla="*/ 54 w 65"/>
                <a:gd name="T21" fmla="*/ 0 h 28"/>
                <a:gd name="T22" fmla="*/ 65 w 65"/>
                <a:gd name="T23" fmla="*/ 11 h 28"/>
                <a:gd name="T24" fmla="*/ 65 w 65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28">
                  <a:moveTo>
                    <a:pt x="65" y="28"/>
                  </a:moveTo>
                  <a:cubicBezTo>
                    <a:pt x="57" y="28"/>
                    <a:pt x="57" y="28"/>
                    <a:pt x="57" y="28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7" y="9"/>
                    <a:pt x="56" y="8"/>
                    <a:pt x="54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8" y="9"/>
                    <a:pt x="8" y="11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0" y="0"/>
                    <a:pt x="65" y="5"/>
                    <a:pt x="65" y="11"/>
                  </a:cubicBezTo>
                  <a:lnTo>
                    <a:pt x="65" y="28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5" name="íṥḻïḓe">
              <a:extLst>
                <a:ext uri="{FF2B5EF4-FFF2-40B4-BE49-F238E27FC236}">
                  <a16:creationId xmlns:a16="http://schemas.microsoft.com/office/drawing/2014/main" id="{9B74D01E-B4FE-4B85-94DF-178387239A09}"/>
                </a:ext>
              </a:extLst>
            </p:cNvPr>
            <p:cNvSpPr/>
            <p:nvPr/>
          </p:nvSpPr>
          <p:spPr bwMode="auto">
            <a:xfrm>
              <a:off x="7132638" y="3236913"/>
              <a:ext cx="22225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6" name="íś1îdê">
              <a:extLst>
                <a:ext uri="{FF2B5EF4-FFF2-40B4-BE49-F238E27FC236}">
                  <a16:creationId xmlns:a16="http://schemas.microsoft.com/office/drawing/2014/main" id="{E280A17F-987F-41AB-8341-0EC7E2A181D0}"/>
                </a:ext>
              </a:extLst>
            </p:cNvPr>
            <p:cNvSpPr/>
            <p:nvPr/>
          </p:nvSpPr>
          <p:spPr bwMode="auto">
            <a:xfrm>
              <a:off x="6981825" y="3236913"/>
              <a:ext cx="20638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7" name="îṩļïḓè">
              <a:extLst>
                <a:ext uri="{FF2B5EF4-FFF2-40B4-BE49-F238E27FC236}">
                  <a16:creationId xmlns:a16="http://schemas.microsoft.com/office/drawing/2014/main" id="{720816F4-642D-469E-822C-9D565F498CDE}"/>
                </a:ext>
              </a:extLst>
            </p:cNvPr>
            <p:cNvSpPr/>
            <p:nvPr/>
          </p:nvSpPr>
          <p:spPr bwMode="auto">
            <a:xfrm>
              <a:off x="6899275" y="3324225"/>
              <a:ext cx="34925" cy="55563"/>
            </a:xfrm>
            <a:custGeom>
              <a:avLst/>
              <a:gdLst>
                <a:gd name="T0" fmla="*/ 4 w 13"/>
                <a:gd name="T1" fmla="*/ 0 h 21"/>
                <a:gd name="T2" fmla="*/ 8 w 13"/>
                <a:gd name="T3" fmla="*/ 0 h 21"/>
                <a:gd name="T4" fmla="*/ 13 w 13"/>
                <a:gd name="T5" fmla="*/ 5 h 21"/>
                <a:gd name="T6" fmla="*/ 13 w 13"/>
                <a:gd name="T7" fmla="*/ 17 h 21"/>
                <a:gd name="T8" fmla="*/ 8 w 13"/>
                <a:gd name="T9" fmla="*/ 21 h 21"/>
                <a:gd name="T10" fmla="*/ 4 w 13"/>
                <a:gd name="T11" fmla="*/ 21 h 21"/>
                <a:gd name="T12" fmla="*/ 0 w 13"/>
                <a:gd name="T13" fmla="*/ 17 h 21"/>
                <a:gd name="T14" fmla="*/ 0 w 13"/>
                <a:gd name="T15" fmla="*/ 5 h 21"/>
                <a:gd name="T16" fmla="*/ 4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5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9"/>
                    <a:pt x="11" y="21"/>
                    <a:pt x="8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2" y="21"/>
                    <a:pt x="0" y="19"/>
                    <a:pt x="0" y="1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8" name="íšļíḑê">
              <a:extLst>
                <a:ext uri="{FF2B5EF4-FFF2-40B4-BE49-F238E27FC236}">
                  <a16:creationId xmlns:a16="http://schemas.microsoft.com/office/drawing/2014/main" id="{F033DDB0-1E10-4486-92E2-514D3D4D2408}"/>
                </a:ext>
              </a:extLst>
            </p:cNvPr>
            <p:cNvSpPr/>
            <p:nvPr/>
          </p:nvSpPr>
          <p:spPr bwMode="auto">
            <a:xfrm>
              <a:off x="6899275" y="3300413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4 h 17"/>
                <a:gd name="T16" fmla="*/ 10 w 13"/>
                <a:gd name="T17" fmla="*/ 14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9" name="ïṣ1iḑè">
              <a:extLst>
                <a:ext uri="{FF2B5EF4-FFF2-40B4-BE49-F238E27FC236}">
                  <a16:creationId xmlns:a16="http://schemas.microsoft.com/office/drawing/2014/main" id="{DAB54A6D-7432-46BC-B02F-13823F86C2C1}"/>
                </a:ext>
              </a:extLst>
            </p:cNvPr>
            <p:cNvSpPr/>
            <p:nvPr/>
          </p:nvSpPr>
          <p:spPr bwMode="auto">
            <a:xfrm>
              <a:off x="6899275" y="3295650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5 h 17"/>
                <a:gd name="T16" fmla="*/ 10 w 13"/>
                <a:gd name="T17" fmla="*/ 15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5"/>
                  </a:moveTo>
                  <a:cubicBezTo>
                    <a:pt x="10" y="15"/>
                    <a:pt x="10" y="15"/>
                    <a:pt x="10" y="1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5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0" name="iŝľiḓé">
              <a:extLst>
                <a:ext uri="{FF2B5EF4-FFF2-40B4-BE49-F238E27FC236}">
                  <a16:creationId xmlns:a16="http://schemas.microsoft.com/office/drawing/2014/main" id="{E8D75979-D35B-4074-BB03-C17CC14AAE1E}"/>
                </a:ext>
              </a:extLst>
            </p:cNvPr>
            <p:cNvSpPr/>
            <p:nvPr/>
          </p:nvSpPr>
          <p:spPr bwMode="auto">
            <a:xfrm>
              <a:off x="6899275" y="3319463"/>
              <a:ext cx="34925" cy="52388"/>
            </a:xfrm>
            <a:custGeom>
              <a:avLst/>
              <a:gdLst>
                <a:gd name="T0" fmla="*/ 4 w 13"/>
                <a:gd name="T1" fmla="*/ 0 h 20"/>
                <a:gd name="T2" fmla="*/ 8 w 13"/>
                <a:gd name="T3" fmla="*/ 0 h 20"/>
                <a:gd name="T4" fmla="*/ 13 w 13"/>
                <a:gd name="T5" fmla="*/ 4 h 20"/>
                <a:gd name="T6" fmla="*/ 13 w 13"/>
                <a:gd name="T7" fmla="*/ 16 h 20"/>
                <a:gd name="T8" fmla="*/ 8 w 13"/>
                <a:gd name="T9" fmla="*/ 20 h 20"/>
                <a:gd name="T10" fmla="*/ 4 w 13"/>
                <a:gd name="T11" fmla="*/ 20 h 20"/>
                <a:gd name="T12" fmla="*/ 0 w 13"/>
                <a:gd name="T13" fmla="*/ 16 h 20"/>
                <a:gd name="T14" fmla="*/ 0 w 13"/>
                <a:gd name="T15" fmla="*/ 4 h 20"/>
                <a:gd name="T16" fmla="*/ 4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8"/>
                    <a:pt x="11" y="20"/>
                    <a:pt x="8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1" name="îṡḻiďê">
              <a:extLst>
                <a:ext uri="{FF2B5EF4-FFF2-40B4-BE49-F238E27FC236}">
                  <a16:creationId xmlns:a16="http://schemas.microsoft.com/office/drawing/2014/main" id="{1A2D7D05-59A5-4954-A4AF-C96CB5E70C13}"/>
                </a:ext>
              </a:extLst>
            </p:cNvPr>
            <p:cNvSpPr/>
            <p:nvPr/>
          </p:nvSpPr>
          <p:spPr bwMode="auto">
            <a:xfrm>
              <a:off x="6910388" y="3344863"/>
              <a:ext cx="23813" cy="26988"/>
            </a:xfrm>
            <a:custGeom>
              <a:avLst/>
              <a:gdLst>
                <a:gd name="T0" fmla="*/ 7 w 9"/>
                <a:gd name="T1" fmla="*/ 8 h 10"/>
                <a:gd name="T2" fmla="*/ 8 w 9"/>
                <a:gd name="T3" fmla="*/ 0 h 10"/>
                <a:gd name="T4" fmla="*/ 9 w 9"/>
                <a:gd name="T5" fmla="*/ 0 h 10"/>
                <a:gd name="T6" fmla="*/ 9 w 9"/>
                <a:gd name="T7" fmla="*/ 6 h 10"/>
                <a:gd name="T8" fmla="*/ 4 w 9"/>
                <a:gd name="T9" fmla="*/ 10 h 10"/>
                <a:gd name="T10" fmla="*/ 0 w 9"/>
                <a:gd name="T11" fmla="*/ 10 h 10"/>
                <a:gd name="T12" fmla="*/ 7 w 9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8"/>
                  </a:moveTo>
                  <a:cubicBezTo>
                    <a:pt x="8" y="7"/>
                    <a:pt x="8" y="5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9"/>
                    <a:pt x="7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6" y="9"/>
                    <a:pt x="7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2" name="iŝḻidê">
              <a:extLst>
                <a:ext uri="{FF2B5EF4-FFF2-40B4-BE49-F238E27FC236}">
                  <a16:creationId xmlns:a16="http://schemas.microsoft.com/office/drawing/2014/main" id="{121FA008-05B4-4883-85D3-F85FEBAC1552}"/>
                </a:ext>
              </a:extLst>
            </p:cNvPr>
            <p:cNvSpPr/>
            <p:nvPr/>
          </p:nvSpPr>
          <p:spPr bwMode="auto">
            <a:xfrm>
              <a:off x="6899275" y="3344863"/>
              <a:ext cx="34925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3" name="íṩḷídè">
              <a:extLst>
                <a:ext uri="{FF2B5EF4-FFF2-40B4-BE49-F238E27FC236}">
                  <a16:creationId xmlns:a16="http://schemas.microsoft.com/office/drawing/2014/main" id="{340738F9-833B-4526-B916-2A5821E3D385}"/>
                </a:ext>
              </a:extLst>
            </p:cNvPr>
            <p:cNvSpPr/>
            <p:nvPr/>
          </p:nvSpPr>
          <p:spPr bwMode="auto">
            <a:xfrm>
              <a:off x="7202488" y="3324225"/>
              <a:ext cx="33338" cy="55563"/>
            </a:xfrm>
            <a:custGeom>
              <a:avLst/>
              <a:gdLst>
                <a:gd name="T0" fmla="*/ 9 w 13"/>
                <a:gd name="T1" fmla="*/ 0 h 21"/>
                <a:gd name="T2" fmla="*/ 5 w 13"/>
                <a:gd name="T3" fmla="*/ 0 h 21"/>
                <a:gd name="T4" fmla="*/ 0 w 13"/>
                <a:gd name="T5" fmla="*/ 5 h 21"/>
                <a:gd name="T6" fmla="*/ 0 w 13"/>
                <a:gd name="T7" fmla="*/ 17 h 21"/>
                <a:gd name="T8" fmla="*/ 5 w 13"/>
                <a:gd name="T9" fmla="*/ 21 h 21"/>
                <a:gd name="T10" fmla="*/ 9 w 13"/>
                <a:gd name="T11" fmla="*/ 21 h 21"/>
                <a:gd name="T12" fmla="*/ 13 w 13"/>
                <a:gd name="T13" fmla="*/ 17 h 21"/>
                <a:gd name="T14" fmla="*/ 13 w 13"/>
                <a:gd name="T15" fmla="*/ 5 h 21"/>
                <a:gd name="T16" fmla="*/ 9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2" y="21"/>
                    <a:pt x="5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1" y="21"/>
                    <a:pt x="13" y="19"/>
                    <a:pt x="13" y="1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4" name="íş1ïďe">
              <a:extLst>
                <a:ext uri="{FF2B5EF4-FFF2-40B4-BE49-F238E27FC236}">
                  <a16:creationId xmlns:a16="http://schemas.microsoft.com/office/drawing/2014/main" id="{65C8DD7D-0FCF-44E5-97FB-944BE9CC4D7A}"/>
                </a:ext>
              </a:extLst>
            </p:cNvPr>
            <p:cNvSpPr/>
            <p:nvPr/>
          </p:nvSpPr>
          <p:spPr bwMode="auto">
            <a:xfrm>
              <a:off x="7202488" y="3300413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4 h 17"/>
                <a:gd name="T24" fmla="*/ 11 w 13"/>
                <a:gd name="T25" fmla="*/ 14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5" name="i$ļîḑè">
              <a:extLst>
                <a:ext uri="{FF2B5EF4-FFF2-40B4-BE49-F238E27FC236}">
                  <a16:creationId xmlns:a16="http://schemas.microsoft.com/office/drawing/2014/main" id="{CFC7D27B-E1EA-4A83-9035-4A2182A2E1CE}"/>
                </a:ext>
              </a:extLst>
            </p:cNvPr>
            <p:cNvSpPr/>
            <p:nvPr/>
          </p:nvSpPr>
          <p:spPr bwMode="auto">
            <a:xfrm>
              <a:off x="7202488" y="3295650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5 h 17"/>
                <a:gd name="T24" fmla="*/ 11 w 13"/>
                <a:gd name="T25" fmla="*/ 15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6" name="íṣļïḋè">
              <a:extLst>
                <a:ext uri="{FF2B5EF4-FFF2-40B4-BE49-F238E27FC236}">
                  <a16:creationId xmlns:a16="http://schemas.microsoft.com/office/drawing/2014/main" id="{149EE908-9823-4F11-9937-47CA3410A891}"/>
                </a:ext>
              </a:extLst>
            </p:cNvPr>
            <p:cNvSpPr/>
            <p:nvPr/>
          </p:nvSpPr>
          <p:spPr bwMode="auto">
            <a:xfrm>
              <a:off x="7202488" y="3319463"/>
              <a:ext cx="33338" cy="52388"/>
            </a:xfrm>
            <a:custGeom>
              <a:avLst/>
              <a:gdLst>
                <a:gd name="T0" fmla="*/ 9 w 13"/>
                <a:gd name="T1" fmla="*/ 0 h 20"/>
                <a:gd name="T2" fmla="*/ 5 w 13"/>
                <a:gd name="T3" fmla="*/ 0 h 20"/>
                <a:gd name="T4" fmla="*/ 0 w 13"/>
                <a:gd name="T5" fmla="*/ 4 h 20"/>
                <a:gd name="T6" fmla="*/ 0 w 13"/>
                <a:gd name="T7" fmla="*/ 16 h 20"/>
                <a:gd name="T8" fmla="*/ 5 w 13"/>
                <a:gd name="T9" fmla="*/ 20 h 20"/>
                <a:gd name="T10" fmla="*/ 9 w 13"/>
                <a:gd name="T11" fmla="*/ 20 h 20"/>
                <a:gd name="T12" fmla="*/ 13 w 13"/>
                <a:gd name="T13" fmla="*/ 16 h 20"/>
                <a:gd name="T14" fmla="*/ 13 w 13"/>
                <a:gd name="T15" fmla="*/ 4 h 20"/>
                <a:gd name="T16" fmla="*/ 9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2" y="20"/>
                    <a:pt x="5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1" y="20"/>
                    <a:pt x="13" y="18"/>
                    <a:pt x="13" y="16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7" name="í$1îḋê">
              <a:extLst>
                <a:ext uri="{FF2B5EF4-FFF2-40B4-BE49-F238E27FC236}">
                  <a16:creationId xmlns:a16="http://schemas.microsoft.com/office/drawing/2014/main" id="{3A80CC29-C674-4C91-8A86-FACB21134338}"/>
                </a:ext>
              </a:extLst>
            </p:cNvPr>
            <p:cNvSpPr/>
            <p:nvPr/>
          </p:nvSpPr>
          <p:spPr bwMode="auto">
            <a:xfrm>
              <a:off x="7037388" y="3316288"/>
              <a:ext cx="61913" cy="44450"/>
            </a:xfrm>
            <a:custGeom>
              <a:avLst/>
              <a:gdLst>
                <a:gd name="T0" fmla="*/ 0 w 23"/>
                <a:gd name="T1" fmla="*/ 0 h 17"/>
                <a:gd name="T2" fmla="*/ 23 w 23"/>
                <a:gd name="T3" fmla="*/ 0 h 17"/>
                <a:gd name="T4" fmla="*/ 22 w 23"/>
                <a:gd name="T5" fmla="*/ 14 h 17"/>
                <a:gd name="T6" fmla="*/ 19 w 23"/>
                <a:gd name="T7" fmla="*/ 17 h 17"/>
                <a:gd name="T8" fmla="*/ 4 w 23"/>
                <a:gd name="T9" fmla="*/ 17 h 17"/>
                <a:gd name="T10" fmla="*/ 1 w 23"/>
                <a:gd name="T11" fmla="*/ 14 h 17"/>
                <a:gd name="T12" fmla="*/ 0 w 23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7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6"/>
                    <a:pt x="21" y="17"/>
                    <a:pt x="19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2" y="16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8" name="iṧļíḓe">
              <a:extLst>
                <a:ext uri="{FF2B5EF4-FFF2-40B4-BE49-F238E27FC236}">
                  <a16:creationId xmlns:a16="http://schemas.microsoft.com/office/drawing/2014/main" id="{7E295338-1861-4B85-BE4C-20E3EA99B75C}"/>
                </a:ext>
              </a:extLst>
            </p:cNvPr>
            <p:cNvSpPr/>
            <p:nvPr/>
          </p:nvSpPr>
          <p:spPr bwMode="auto">
            <a:xfrm>
              <a:off x="7056438" y="3314700"/>
              <a:ext cx="23813" cy="36513"/>
            </a:xfrm>
            <a:custGeom>
              <a:avLst/>
              <a:gdLst>
                <a:gd name="T0" fmla="*/ 9 w 9"/>
                <a:gd name="T1" fmla="*/ 5 h 14"/>
                <a:gd name="T2" fmla="*/ 4 w 9"/>
                <a:gd name="T3" fmla="*/ 1 h 14"/>
                <a:gd name="T4" fmla="*/ 0 w 9"/>
                <a:gd name="T5" fmla="*/ 4 h 14"/>
                <a:gd name="T6" fmla="*/ 3 w 9"/>
                <a:gd name="T7" fmla="*/ 9 h 14"/>
                <a:gd name="T8" fmla="*/ 2 w 9"/>
                <a:gd name="T9" fmla="*/ 13 h 14"/>
                <a:gd name="T10" fmla="*/ 3 w 9"/>
                <a:gd name="T11" fmla="*/ 14 h 14"/>
                <a:gd name="T12" fmla="*/ 7 w 9"/>
                <a:gd name="T13" fmla="*/ 14 h 14"/>
                <a:gd name="T14" fmla="*/ 7 w 9"/>
                <a:gd name="T15" fmla="*/ 13 h 14"/>
                <a:gd name="T16" fmla="*/ 6 w 9"/>
                <a:gd name="T17" fmla="*/ 9 h 14"/>
                <a:gd name="T18" fmla="*/ 9 w 9"/>
                <a:gd name="T1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4">
                  <a:moveTo>
                    <a:pt x="9" y="5"/>
                  </a:moveTo>
                  <a:cubicBezTo>
                    <a:pt x="9" y="2"/>
                    <a:pt x="7" y="0"/>
                    <a:pt x="4" y="1"/>
                  </a:cubicBezTo>
                  <a:cubicBezTo>
                    <a:pt x="2" y="1"/>
                    <a:pt x="1" y="2"/>
                    <a:pt x="0" y="4"/>
                  </a:cubicBezTo>
                  <a:cubicBezTo>
                    <a:pt x="0" y="6"/>
                    <a:pt x="1" y="8"/>
                    <a:pt x="3" y="9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4"/>
                    <a:pt x="3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3"/>
                    <a:pt x="7" y="13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8"/>
                    <a:pt x="9" y="7"/>
                    <a:pt x="9" y="5"/>
                  </a:cubicBezTo>
                  <a:close/>
                </a:path>
              </a:pathLst>
            </a:custGeom>
            <a:solidFill>
              <a:srgbClr val="193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9" name="îṥļïḑê">
              <a:extLst>
                <a:ext uri="{FF2B5EF4-FFF2-40B4-BE49-F238E27FC236}">
                  <a16:creationId xmlns:a16="http://schemas.microsoft.com/office/drawing/2014/main" id="{13832323-EC9B-4A06-80C2-B5F867299CBF}"/>
                </a:ext>
              </a:extLst>
            </p:cNvPr>
            <p:cNvSpPr/>
            <p:nvPr/>
          </p:nvSpPr>
          <p:spPr bwMode="auto">
            <a:xfrm>
              <a:off x="7178675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0" name="îṧľïdé">
              <a:extLst>
                <a:ext uri="{FF2B5EF4-FFF2-40B4-BE49-F238E27FC236}">
                  <a16:creationId xmlns:a16="http://schemas.microsoft.com/office/drawing/2014/main" id="{F880DF02-8966-4DD5-A126-1E143EE5454F}"/>
                </a:ext>
              </a:extLst>
            </p:cNvPr>
            <p:cNvSpPr/>
            <p:nvPr/>
          </p:nvSpPr>
          <p:spPr bwMode="auto">
            <a:xfrm>
              <a:off x="6875463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1" name="íṡ1íḓè">
              <a:extLst>
                <a:ext uri="{FF2B5EF4-FFF2-40B4-BE49-F238E27FC236}">
                  <a16:creationId xmlns:a16="http://schemas.microsoft.com/office/drawing/2014/main" id="{902F0C2E-DC16-4F25-A78E-E63C482C03F0}"/>
                </a:ext>
              </a:extLst>
            </p:cNvPr>
            <p:cNvSpPr/>
            <p:nvPr/>
          </p:nvSpPr>
          <p:spPr bwMode="auto">
            <a:xfrm>
              <a:off x="6854825" y="3248025"/>
              <a:ext cx="452438" cy="96838"/>
            </a:xfrm>
            <a:custGeom>
              <a:avLst/>
              <a:gdLst>
                <a:gd name="T0" fmla="*/ 161 w 171"/>
                <a:gd name="T1" fmla="*/ 0 h 37"/>
                <a:gd name="T2" fmla="*/ 0 w 171"/>
                <a:gd name="T3" fmla="*/ 0 h 37"/>
                <a:gd name="T4" fmla="*/ 160 w 171"/>
                <a:gd name="T5" fmla="*/ 4 h 37"/>
                <a:gd name="T6" fmla="*/ 165 w 171"/>
                <a:gd name="T7" fmla="*/ 9 h 37"/>
                <a:gd name="T8" fmla="*/ 165 w 171"/>
                <a:gd name="T9" fmla="*/ 37 h 37"/>
                <a:gd name="T10" fmla="*/ 171 w 171"/>
                <a:gd name="T11" fmla="*/ 37 h 37"/>
                <a:gd name="T12" fmla="*/ 171 w 171"/>
                <a:gd name="T13" fmla="*/ 9 h 37"/>
                <a:gd name="T14" fmla="*/ 161 w 171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37">
                  <a:moveTo>
                    <a:pt x="16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3" y="4"/>
                    <a:pt x="165" y="6"/>
                    <a:pt x="165" y="9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71" y="9"/>
                    <a:pt x="171" y="9"/>
                    <a:pt x="171" y="9"/>
                  </a:cubicBezTo>
                  <a:cubicBezTo>
                    <a:pt x="171" y="4"/>
                    <a:pt x="166" y="0"/>
                    <a:pt x="161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2" name="iślídê">
              <a:extLst>
                <a:ext uri="{FF2B5EF4-FFF2-40B4-BE49-F238E27FC236}">
                  <a16:creationId xmlns:a16="http://schemas.microsoft.com/office/drawing/2014/main" id="{2BD5387E-F147-4319-B830-E83AF8E1F299}"/>
                </a:ext>
              </a:extLst>
            </p:cNvPr>
            <p:cNvSpPr/>
            <p:nvPr/>
          </p:nvSpPr>
          <p:spPr bwMode="auto">
            <a:xfrm>
              <a:off x="6910388" y="3319463"/>
              <a:ext cx="23813" cy="25400"/>
            </a:xfrm>
            <a:custGeom>
              <a:avLst/>
              <a:gdLst>
                <a:gd name="T0" fmla="*/ 7 w 9"/>
                <a:gd name="T1" fmla="*/ 2 h 10"/>
                <a:gd name="T2" fmla="*/ 8 w 9"/>
                <a:gd name="T3" fmla="*/ 10 h 10"/>
                <a:gd name="T4" fmla="*/ 9 w 9"/>
                <a:gd name="T5" fmla="*/ 10 h 10"/>
                <a:gd name="T6" fmla="*/ 9 w 9"/>
                <a:gd name="T7" fmla="*/ 4 h 10"/>
                <a:gd name="T8" fmla="*/ 4 w 9"/>
                <a:gd name="T9" fmla="*/ 0 h 10"/>
                <a:gd name="T10" fmla="*/ 0 w 9"/>
                <a:gd name="T11" fmla="*/ 0 h 10"/>
                <a:gd name="T12" fmla="*/ 7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2"/>
                  </a:moveTo>
                  <a:cubicBezTo>
                    <a:pt x="8" y="3"/>
                    <a:pt x="8" y="5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1"/>
                    <a:pt x="7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1"/>
                    <a:pt x="7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3" name="íšḷíďe">
              <a:extLst>
                <a:ext uri="{FF2B5EF4-FFF2-40B4-BE49-F238E27FC236}">
                  <a16:creationId xmlns:a16="http://schemas.microsoft.com/office/drawing/2014/main" id="{2D5816A2-6B92-4781-AA47-3400DC18D885}"/>
                </a:ext>
              </a:extLst>
            </p:cNvPr>
            <p:cNvSpPr/>
            <p:nvPr/>
          </p:nvSpPr>
          <p:spPr bwMode="auto">
            <a:xfrm>
              <a:off x="7215188" y="3344863"/>
              <a:ext cx="20638" cy="26988"/>
            </a:xfrm>
            <a:custGeom>
              <a:avLst/>
              <a:gdLst>
                <a:gd name="T0" fmla="*/ 6 w 8"/>
                <a:gd name="T1" fmla="*/ 8 h 10"/>
                <a:gd name="T2" fmla="*/ 7 w 8"/>
                <a:gd name="T3" fmla="*/ 0 h 10"/>
                <a:gd name="T4" fmla="*/ 8 w 8"/>
                <a:gd name="T5" fmla="*/ 0 h 10"/>
                <a:gd name="T6" fmla="*/ 8 w 8"/>
                <a:gd name="T7" fmla="*/ 6 h 10"/>
                <a:gd name="T8" fmla="*/ 4 w 8"/>
                <a:gd name="T9" fmla="*/ 10 h 10"/>
                <a:gd name="T10" fmla="*/ 0 w 8"/>
                <a:gd name="T11" fmla="*/ 10 h 10"/>
                <a:gd name="T12" fmla="*/ 6 w 8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8"/>
                  </a:moveTo>
                  <a:cubicBezTo>
                    <a:pt x="7" y="7"/>
                    <a:pt x="7" y="5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9"/>
                    <a:pt x="6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5" y="9"/>
                    <a:pt x="6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4" name="íṧľíde">
              <a:extLst>
                <a:ext uri="{FF2B5EF4-FFF2-40B4-BE49-F238E27FC236}">
                  <a16:creationId xmlns:a16="http://schemas.microsoft.com/office/drawing/2014/main" id="{49A4A060-62AA-47A0-B672-F5C03DAD1E0E}"/>
                </a:ext>
              </a:extLst>
            </p:cNvPr>
            <p:cNvSpPr/>
            <p:nvPr/>
          </p:nvSpPr>
          <p:spPr bwMode="auto">
            <a:xfrm>
              <a:off x="7202488" y="3344863"/>
              <a:ext cx="33338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5" name="îṩ1ïḍè">
              <a:extLst>
                <a:ext uri="{FF2B5EF4-FFF2-40B4-BE49-F238E27FC236}">
                  <a16:creationId xmlns:a16="http://schemas.microsoft.com/office/drawing/2014/main" id="{B6BB2011-CE29-4CAF-BF6F-4D1579862D4A}"/>
                </a:ext>
              </a:extLst>
            </p:cNvPr>
            <p:cNvSpPr/>
            <p:nvPr/>
          </p:nvSpPr>
          <p:spPr bwMode="auto">
            <a:xfrm>
              <a:off x="7215188" y="3319463"/>
              <a:ext cx="20638" cy="25400"/>
            </a:xfrm>
            <a:custGeom>
              <a:avLst/>
              <a:gdLst>
                <a:gd name="T0" fmla="*/ 6 w 8"/>
                <a:gd name="T1" fmla="*/ 2 h 10"/>
                <a:gd name="T2" fmla="*/ 7 w 8"/>
                <a:gd name="T3" fmla="*/ 10 h 10"/>
                <a:gd name="T4" fmla="*/ 8 w 8"/>
                <a:gd name="T5" fmla="*/ 10 h 10"/>
                <a:gd name="T6" fmla="*/ 8 w 8"/>
                <a:gd name="T7" fmla="*/ 4 h 10"/>
                <a:gd name="T8" fmla="*/ 4 w 8"/>
                <a:gd name="T9" fmla="*/ 0 h 10"/>
                <a:gd name="T10" fmla="*/ 0 w 8"/>
                <a:gd name="T11" fmla="*/ 0 h 10"/>
                <a:gd name="T12" fmla="*/ 6 w 8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2"/>
                  </a:moveTo>
                  <a:cubicBezTo>
                    <a:pt x="7" y="3"/>
                    <a:pt x="7" y="5"/>
                    <a:pt x="7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6" name="ïṥ1íḋê">
              <a:extLst>
                <a:ext uri="{FF2B5EF4-FFF2-40B4-BE49-F238E27FC236}">
                  <a16:creationId xmlns:a16="http://schemas.microsoft.com/office/drawing/2014/main" id="{50B9730D-A355-4FBF-8AFD-4AAA92E99C6D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34925"/>
            </a:xfrm>
            <a:custGeom>
              <a:avLst/>
              <a:gdLst>
                <a:gd name="T0" fmla="*/ 54 w 65"/>
                <a:gd name="T1" fmla="*/ 0 h 13"/>
                <a:gd name="T2" fmla="*/ 11 w 65"/>
                <a:gd name="T3" fmla="*/ 0 h 13"/>
                <a:gd name="T4" fmla="*/ 0 w 65"/>
                <a:gd name="T5" fmla="*/ 11 h 13"/>
                <a:gd name="T6" fmla="*/ 0 w 65"/>
                <a:gd name="T7" fmla="*/ 13 h 13"/>
                <a:gd name="T8" fmla="*/ 10 w 65"/>
                <a:gd name="T9" fmla="*/ 3 h 13"/>
                <a:gd name="T10" fmla="*/ 55 w 65"/>
                <a:gd name="T11" fmla="*/ 3 h 13"/>
                <a:gd name="T12" fmla="*/ 65 w 65"/>
                <a:gd name="T13" fmla="*/ 13 h 13"/>
                <a:gd name="T14" fmla="*/ 65 w 65"/>
                <a:gd name="T15" fmla="*/ 11 h 13"/>
                <a:gd name="T16" fmla="*/ 54 w 65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3">
                  <a:moveTo>
                    <a:pt x="5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"/>
                    <a:pt x="5" y="3"/>
                    <a:pt x="10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61" y="3"/>
                    <a:pt x="65" y="8"/>
                    <a:pt x="65" y="13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5"/>
                    <a:pt x="60" y="0"/>
                    <a:pt x="54" y="0"/>
                  </a:cubicBez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7" name="îṣ1idé">
              <a:extLst>
                <a:ext uri="{FF2B5EF4-FFF2-40B4-BE49-F238E27FC236}">
                  <a16:creationId xmlns:a16="http://schemas.microsoft.com/office/drawing/2014/main" id="{492C446C-C357-44B6-924A-4C4C134F6FD1}"/>
                </a:ext>
              </a:extLst>
            </p:cNvPr>
            <p:cNvSpPr/>
            <p:nvPr/>
          </p:nvSpPr>
          <p:spPr bwMode="auto">
            <a:xfrm>
              <a:off x="6251575" y="1531938"/>
              <a:ext cx="25400" cy="12065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8" name="iśľïḑé">
              <a:extLst>
                <a:ext uri="{FF2B5EF4-FFF2-40B4-BE49-F238E27FC236}">
                  <a16:creationId xmlns:a16="http://schemas.microsoft.com/office/drawing/2014/main" id="{8C98EEBC-0B81-4A7B-988C-0D726DCCEFAA}"/>
                </a:ext>
              </a:extLst>
            </p:cNvPr>
            <p:cNvSpPr/>
            <p:nvPr/>
          </p:nvSpPr>
          <p:spPr bwMode="auto">
            <a:xfrm>
              <a:off x="5978525" y="1222375"/>
              <a:ext cx="2343150" cy="247650"/>
            </a:xfrm>
            <a:custGeom>
              <a:avLst/>
              <a:gdLst>
                <a:gd name="T0" fmla="*/ 1476 w 1476"/>
                <a:gd name="T1" fmla="*/ 156 h 156"/>
                <a:gd name="T2" fmla="*/ 0 w 1476"/>
                <a:gd name="T3" fmla="*/ 156 h 156"/>
                <a:gd name="T4" fmla="*/ 202 w 1476"/>
                <a:gd name="T5" fmla="*/ 0 h 156"/>
                <a:gd name="T6" fmla="*/ 1476 w 1476"/>
                <a:gd name="T7" fmla="*/ 0 h 156"/>
                <a:gd name="T8" fmla="*/ 1476 w 1476"/>
                <a:gd name="T9" fmla="*/ 156 h 156"/>
                <a:gd name="T10" fmla="*/ 50 w 1476"/>
                <a:gd name="T11" fmla="*/ 140 h 156"/>
                <a:gd name="T12" fmla="*/ 1460 w 1476"/>
                <a:gd name="T13" fmla="*/ 140 h 156"/>
                <a:gd name="T14" fmla="*/ 1460 w 1476"/>
                <a:gd name="T15" fmla="*/ 16 h 156"/>
                <a:gd name="T16" fmla="*/ 208 w 1476"/>
                <a:gd name="T17" fmla="*/ 16 h 156"/>
                <a:gd name="T18" fmla="*/ 50 w 1476"/>
                <a:gd name="T19" fmla="*/ 14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56">
                  <a:moveTo>
                    <a:pt x="1476" y="156"/>
                  </a:moveTo>
                  <a:lnTo>
                    <a:pt x="0" y="156"/>
                  </a:lnTo>
                  <a:lnTo>
                    <a:pt x="202" y="0"/>
                  </a:lnTo>
                  <a:lnTo>
                    <a:pt x="1476" y="0"/>
                  </a:lnTo>
                  <a:lnTo>
                    <a:pt x="1476" y="156"/>
                  </a:lnTo>
                  <a:close/>
                  <a:moveTo>
                    <a:pt x="50" y="140"/>
                  </a:moveTo>
                  <a:lnTo>
                    <a:pt x="1460" y="140"/>
                  </a:lnTo>
                  <a:lnTo>
                    <a:pt x="1460" y="16"/>
                  </a:lnTo>
                  <a:lnTo>
                    <a:pt x="208" y="16"/>
                  </a:lnTo>
                  <a:lnTo>
                    <a:pt x="50" y="14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9" name="iśḻíḍè">
              <a:extLst>
                <a:ext uri="{FF2B5EF4-FFF2-40B4-BE49-F238E27FC236}">
                  <a16:creationId xmlns:a16="http://schemas.microsoft.com/office/drawing/2014/main" id="{F68F5C6A-DA1B-4F68-B2DA-6648FE0C58EA}"/>
                </a:ext>
              </a:extLst>
            </p:cNvPr>
            <p:cNvSpPr/>
            <p:nvPr/>
          </p:nvSpPr>
          <p:spPr bwMode="auto">
            <a:xfrm>
              <a:off x="7535863" y="40497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1 h 150"/>
                <a:gd name="T12" fmla="*/ 297 w 315"/>
                <a:gd name="T13" fmla="*/ 131 h 150"/>
                <a:gd name="T14" fmla="*/ 297 w 315"/>
                <a:gd name="T15" fmla="*/ 16 h 150"/>
                <a:gd name="T16" fmla="*/ 17 w 315"/>
                <a:gd name="T17" fmla="*/ 16 h 150"/>
                <a:gd name="T18" fmla="*/ 17 w 315"/>
                <a:gd name="T19" fmla="*/ 1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1"/>
                  </a:moveTo>
                  <a:lnTo>
                    <a:pt x="297" y="131"/>
                  </a:lnTo>
                  <a:lnTo>
                    <a:pt x="297" y="16"/>
                  </a:lnTo>
                  <a:lnTo>
                    <a:pt x="17" y="16"/>
                  </a:lnTo>
                  <a:lnTo>
                    <a:pt x="17" y="131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0" name="išľïḓe">
              <a:extLst>
                <a:ext uri="{FF2B5EF4-FFF2-40B4-BE49-F238E27FC236}">
                  <a16:creationId xmlns:a16="http://schemas.microsoft.com/office/drawing/2014/main" id="{9C5264C4-1F6F-475F-8D5A-683715EB72CB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6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1" name="íṩḻîḍé">
              <a:extLst>
                <a:ext uri="{FF2B5EF4-FFF2-40B4-BE49-F238E27FC236}">
                  <a16:creationId xmlns:a16="http://schemas.microsoft.com/office/drawing/2014/main" id="{98DD7F63-21FD-404E-A7E1-631F274446F5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6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2" name="îşļïḑè">
              <a:extLst>
                <a:ext uri="{FF2B5EF4-FFF2-40B4-BE49-F238E27FC236}">
                  <a16:creationId xmlns:a16="http://schemas.microsoft.com/office/drawing/2014/main" id="{37F21F30-6CA2-4D8B-8DB3-6C90B484A75F}"/>
                </a:ext>
              </a:extLst>
            </p:cNvPr>
            <p:cNvSpPr/>
            <p:nvPr/>
          </p:nvSpPr>
          <p:spPr bwMode="auto">
            <a:xfrm>
              <a:off x="7535863" y="383698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4 h 150"/>
                <a:gd name="T12" fmla="*/ 297 w 315"/>
                <a:gd name="T13" fmla="*/ 134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4"/>
                  </a:moveTo>
                  <a:lnTo>
                    <a:pt x="297" y="134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3" name="ï$ḷïḍé">
              <a:extLst>
                <a:ext uri="{FF2B5EF4-FFF2-40B4-BE49-F238E27FC236}">
                  <a16:creationId xmlns:a16="http://schemas.microsoft.com/office/drawing/2014/main" id="{D2B49452-9FD8-4A09-B463-DC5AD1E422A3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4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4" name="îšḻíḑe">
              <a:extLst>
                <a:ext uri="{FF2B5EF4-FFF2-40B4-BE49-F238E27FC236}">
                  <a16:creationId xmlns:a16="http://schemas.microsoft.com/office/drawing/2014/main" id="{B3995B82-8FE2-4BE4-9BC7-51D6DFF6442C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4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5" name="îṥ1ïḋè">
              <a:extLst>
                <a:ext uri="{FF2B5EF4-FFF2-40B4-BE49-F238E27FC236}">
                  <a16:creationId xmlns:a16="http://schemas.microsoft.com/office/drawing/2014/main" id="{266DA65E-52F9-49AD-904A-7E500198A787}"/>
                </a:ext>
              </a:extLst>
            </p:cNvPr>
            <p:cNvSpPr/>
            <p:nvPr/>
          </p:nvSpPr>
          <p:spPr bwMode="auto">
            <a:xfrm>
              <a:off x="7535863" y="36258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6" name="îṧḻïďé">
              <a:extLst>
                <a:ext uri="{FF2B5EF4-FFF2-40B4-BE49-F238E27FC236}">
                  <a16:creationId xmlns:a16="http://schemas.microsoft.com/office/drawing/2014/main" id="{57EC744B-5EB6-45B0-8D2B-47A7D70E144F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7" name="îṡḻïḋé">
              <a:extLst>
                <a:ext uri="{FF2B5EF4-FFF2-40B4-BE49-F238E27FC236}">
                  <a16:creationId xmlns:a16="http://schemas.microsoft.com/office/drawing/2014/main" id="{EFB7552C-D207-4087-ABFB-9C8D09F38881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8" name="i$ḷîḍe">
              <a:extLst>
                <a:ext uri="{FF2B5EF4-FFF2-40B4-BE49-F238E27FC236}">
                  <a16:creationId xmlns:a16="http://schemas.microsoft.com/office/drawing/2014/main" id="{4CA6561D-7E59-43B6-9EAC-9D88AF653998}"/>
                </a:ext>
              </a:extLst>
            </p:cNvPr>
            <p:cNvSpPr/>
            <p:nvPr/>
          </p:nvSpPr>
          <p:spPr bwMode="auto">
            <a:xfrm>
              <a:off x="7535863" y="34163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9" name="íśļîḍê">
              <a:extLst>
                <a:ext uri="{FF2B5EF4-FFF2-40B4-BE49-F238E27FC236}">
                  <a16:creationId xmlns:a16="http://schemas.microsoft.com/office/drawing/2014/main" id="{C62F5C54-3C24-4ED9-8ED3-3CB49062CAFF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0" name="íšḷïdê">
              <a:extLst>
                <a:ext uri="{FF2B5EF4-FFF2-40B4-BE49-F238E27FC236}">
                  <a16:creationId xmlns:a16="http://schemas.microsoft.com/office/drawing/2014/main" id="{299E842A-4867-4A07-9605-7F141F09817B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1" name="íŝḷíḍê">
              <a:extLst>
                <a:ext uri="{FF2B5EF4-FFF2-40B4-BE49-F238E27FC236}">
                  <a16:creationId xmlns:a16="http://schemas.microsoft.com/office/drawing/2014/main" id="{E9E7BDDB-7B15-450F-B3CC-3BED0E9DC7F4}"/>
                </a:ext>
              </a:extLst>
            </p:cNvPr>
            <p:cNvSpPr/>
            <p:nvPr/>
          </p:nvSpPr>
          <p:spPr bwMode="auto">
            <a:xfrm>
              <a:off x="7535863" y="320516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2" name="íSliḋe">
              <a:extLst>
                <a:ext uri="{FF2B5EF4-FFF2-40B4-BE49-F238E27FC236}">
                  <a16:creationId xmlns:a16="http://schemas.microsoft.com/office/drawing/2014/main" id="{56E76DB4-1B6B-49EF-930F-6A3635FFDE83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3" name="ïṣļíḍè">
              <a:extLst>
                <a:ext uri="{FF2B5EF4-FFF2-40B4-BE49-F238E27FC236}">
                  <a16:creationId xmlns:a16="http://schemas.microsoft.com/office/drawing/2014/main" id="{1FAF872C-7CDF-4A6E-BCC6-CCA52E804F25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4" name="íş1ïḍê">
              <a:extLst>
                <a:ext uri="{FF2B5EF4-FFF2-40B4-BE49-F238E27FC236}">
                  <a16:creationId xmlns:a16="http://schemas.microsoft.com/office/drawing/2014/main" id="{538BBDBD-E780-44ED-8CD3-B249AF1F55E5}"/>
                </a:ext>
              </a:extLst>
            </p:cNvPr>
            <p:cNvSpPr/>
            <p:nvPr/>
          </p:nvSpPr>
          <p:spPr bwMode="auto">
            <a:xfrm>
              <a:off x="7535863" y="299402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5" name="ïšľïḑe">
              <a:extLst>
                <a:ext uri="{FF2B5EF4-FFF2-40B4-BE49-F238E27FC236}">
                  <a16:creationId xmlns:a16="http://schemas.microsoft.com/office/drawing/2014/main" id="{B51D1FE4-E848-47C0-B8F2-FA1536343551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6" name="îṧliḑé">
              <a:extLst>
                <a:ext uri="{FF2B5EF4-FFF2-40B4-BE49-F238E27FC236}">
                  <a16:creationId xmlns:a16="http://schemas.microsoft.com/office/drawing/2014/main" id="{6442ED25-6220-4F47-8BC1-91B7360C6D37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7" name="ïṧḻiḋè">
              <a:extLst>
                <a:ext uri="{FF2B5EF4-FFF2-40B4-BE49-F238E27FC236}">
                  <a16:creationId xmlns:a16="http://schemas.microsoft.com/office/drawing/2014/main" id="{6FD82E2E-3802-4A79-A973-A139F68F39D2}"/>
                </a:ext>
              </a:extLst>
            </p:cNvPr>
            <p:cNvSpPr/>
            <p:nvPr/>
          </p:nvSpPr>
          <p:spPr bwMode="auto">
            <a:xfrm>
              <a:off x="7535863" y="278447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8" name="ïśḻíḓê">
              <a:extLst>
                <a:ext uri="{FF2B5EF4-FFF2-40B4-BE49-F238E27FC236}">
                  <a16:creationId xmlns:a16="http://schemas.microsoft.com/office/drawing/2014/main" id="{7486AEDB-72F0-4ABC-A63F-8719B28C071A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9" name="íşľíḑe">
              <a:extLst>
                <a:ext uri="{FF2B5EF4-FFF2-40B4-BE49-F238E27FC236}">
                  <a16:creationId xmlns:a16="http://schemas.microsoft.com/office/drawing/2014/main" id="{9757F853-4BC5-43D1-8685-E8ACD40409B7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0" name="îṩľïḍè">
              <a:extLst>
                <a:ext uri="{FF2B5EF4-FFF2-40B4-BE49-F238E27FC236}">
                  <a16:creationId xmlns:a16="http://schemas.microsoft.com/office/drawing/2014/main" id="{FFC79EC3-62C3-44CB-9120-4A0FC38B0B69}"/>
                </a:ext>
              </a:extLst>
            </p:cNvPr>
            <p:cNvSpPr/>
            <p:nvPr/>
          </p:nvSpPr>
          <p:spPr bwMode="auto">
            <a:xfrm>
              <a:off x="7535863" y="257333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1" name="íṡļiḑè">
              <a:extLst>
                <a:ext uri="{FF2B5EF4-FFF2-40B4-BE49-F238E27FC236}">
                  <a16:creationId xmlns:a16="http://schemas.microsoft.com/office/drawing/2014/main" id="{E7B67540-80E8-4FBD-8D62-CB766D04D0E1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2" name="ïŝ1iḍé">
              <a:extLst>
                <a:ext uri="{FF2B5EF4-FFF2-40B4-BE49-F238E27FC236}">
                  <a16:creationId xmlns:a16="http://schemas.microsoft.com/office/drawing/2014/main" id="{48E1B3F8-7596-43C1-9F00-A5AB21481678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3" name="î$ḷïde">
              <a:extLst>
                <a:ext uri="{FF2B5EF4-FFF2-40B4-BE49-F238E27FC236}">
                  <a16:creationId xmlns:a16="http://schemas.microsoft.com/office/drawing/2014/main" id="{01B36387-0A18-4E19-8033-6F4948FAE008}"/>
                </a:ext>
              </a:extLst>
            </p:cNvPr>
            <p:cNvSpPr/>
            <p:nvPr/>
          </p:nvSpPr>
          <p:spPr bwMode="auto">
            <a:xfrm>
              <a:off x="7535863" y="23622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4" name="ïṡ1îḓé">
              <a:extLst>
                <a:ext uri="{FF2B5EF4-FFF2-40B4-BE49-F238E27FC236}">
                  <a16:creationId xmlns:a16="http://schemas.microsoft.com/office/drawing/2014/main" id="{EA56C0F1-696C-498E-9146-EBDEB0B6AC52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5 h 149"/>
                <a:gd name="T4" fmla="*/ 7 w 305"/>
                <a:gd name="T5" fmla="*/ 0 h 149"/>
                <a:gd name="T6" fmla="*/ 305 w 305"/>
                <a:gd name="T7" fmla="*/ 132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2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5" name="îśliḍe">
              <a:extLst>
                <a:ext uri="{FF2B5EF4-FFF2-40B4-BE49-F238E27FC236}">
                  <a16:creationId xmlns:a16="http://schemas.microsoft.com/office/drawing/2014/main" id="{3800661C-E486-4CB9-8C40-FC2C39520C6C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2 h 149"/>
                <a:gd name="T4" fmla="*/ 298 w 305"/>
                <a:gd name="T5" fmla="*/ 0 h 149"/>
                <a:gd name="T6" fmla="*/ 305 w 305"/>
                <a:gd name="T7" fmla="*/ 15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2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6" name="iSľíḓê">
              <a:extLst>
                <a:ext uri="{FF2B5EF4-FFF2-40B4-BE49-F238E27FC236}">
                  <a16:creationId xmlns:a16="http://schemas.microsoft.com/office/drawing/2014/main" id="{1CCE88FE-A292-4667-8DCD-DA2F8E7570B1}"/>
                </a:ext>
              </a:extLst>
            </p:cNvPr>
            <p:cNvSpPr/>
            <p:nvPr/>
          </p:nvSpPr>
          <p:spPr bwMode="auto">
            <a:xfrm>
              <a:off x="7535863" y="21526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7" name="ïṣḷîḓe">
              <a:extLst>
                <a:ext uri="{FF2B5EF4-FFF2-40B4-BE49-F238E27FC236}">
                  <a16:creationId xmlns:a16="http://schemas.microsoft.com/office/drawing/2014/main" id="{99182EA6-2640-425E-9C65-43A3E3C4099C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7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8" name="î$ļïďè">
              <a:extLst>
                <a:ext uri="{FF2B5EF4-FFF2-40B4-BE49-F238E27FC236}">
                  <a16:creationId xmlns:a16="http://schemas.microsoft.com/office/drawing/2014/main" id="{7B666BF0-ECB2-4423-A42C-A8E01155E537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7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9" name="íšliḓe">
              <a:extLst>
                <a:ext uri="{FF2B5EF4-FFF2-40B4-BE49-F238E27FC236}">
                  <a16:creationId xmlns:a16="http://schemas.microsoft.com/office/drawing/2014/main" id="{E3F2A0E8-ECAC-496B-9B21-B0FA66903A26}"/>
                </a:ext>
              </a:extLst>
            </p:cNvPr>
            <p:cNvSpPr/>
            <p:nvPr/>
          </p:nvSpPr>
          <p:spPr bwMode="auto">
            <a:xfrm>
              <a:off x="7535863" y="19415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0" name="íṧḷïḑe">
              <a:extLst>
                <a:ext uri="{FF2B5EF4-FFF2-40B4-BE49-F238E27FC236}">
                  <a16:creationId xmlns:a16="http://schemas.microsoft.com/office/drawing/2014/main" id="{D4D85031-F789-448A-96C3-37F2DADE6F79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6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1" name="iṧľiďè">
              <a:extLst>
                <a:ext uri="{FF2B5EF4-FFF2-40B4-BE49-F238E27FC236}">
                  <a16:creationId xmlns:a16="http://schemas.microsoft.com/office/drawing/2014/main" id="{9ECE2F13-8387-46F7-B6A0-6CDD3C11F412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6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2" name="íSļïďé">
              <a:extLst>
                <a:ext uri="{FF2B5EF4-FFF2-40B4-BE49-F238E27FC236}">
                  <a16:creationId xmlns:a16="http://schemas.microsoft.com/office/drawing/2014/main" id="{86E6E65E-D7C7-49D3-A1B6-CA356AD74424}"/>
                </a:ext>
              </a:extLst>
            </p:cNvPr>
            <p:cNvSpPr/>
            <p:nvPr/>
          </p:nvSpPr>
          <p:spPr bwMode="auto">
            <a:xfrm>
              <a:off x="7416800" y="1470025"/>
              <a:ext cx="736600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3" name="íṩļiďè">
              <a:extLst>
                <a:ext uri="{FF2B5EF4-FFF2-40B4-BE49-F238E27FC236}">
                  <a16:creationId xmlns:a16="http://schemas.microsoft.com/office/drawing/2014/main" id="{0CCC46F6-AD95-4E4C-8383-98FAD6E08E0A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4" name="iṧľïḑé">
              <a:extLst>
                <a:ext uri="{FF2B5EF4-FFF2-40B4-BE49-F238E27FC236}">
                  <a16:creationId xmlns:a16="http://schemas.microsoft.com/office/drawing/2014/main" id="{6A02C9ED-48D6-4CDE-B67D-371904FDDE21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custGeom>
              <a:avLst/>
              <a:gdLst>
                <a:gd name="T0" fmla="*/ 0 w 464"/>
                <a:gd name="T1" fmla="*/ 80 h 80"/>
                <a:gd name="T2" fmla="*/ 464 w 464"/>
                <a:gd name="T3" fmla="*/ 0 h 80"/>
                <a:gd name="T4" fmla="*/ 0 w 464"/>
                <a:gd name="T5" fmla="*/ 0 h 80"/>
                <a:gd name="T6" fmla="*/ 0 w 464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4" h="80">
                  <a:moveTo>
                    <a:pt x="0" y="80"/>
                  </a:moveTo>
                  <a:lnTo>
                    <a:pt x="464" y="0"/>
                  </a:lnTo>
                  <a:lnTo>
                    <a:pt x="0" y="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5" name="ïşlídê">
              <a:extLst>
                <a:ext uri="{FF2B5EF4-FFF2-40B4-BE49-F238E27FC236}">
                  <a16:creationId xmlns:a16="http://schemas.microsoft.com/office/drawing/2014/main" id="{F223A903-AD1D-4405-9AA9-54C2A84C2C47}"/>
                </a:ext>
              </a:extLst>
            </p:cNvPr>
            <p:cNvSpPr/>
            <p:nvPr/>
          </p:nvSpPr>
          <p:spPr bwMode="auto">
            <a:xfrm>
              <a:off x="7802563" y="1504950"/>
              <a:ext cx="350838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6" name="iš1îḋê">
              <a:extLst>
                <a:ext uri="{FF2B5EF4-FFF2-40B4-BE49-F238E27FC236}">
                  <a16:creationId xmlns:a16="http://schemas.microsoft.com/office/drawing/2014/main" id="{C67F7C49-AAE2-4D38-8908-9416B4F48ADB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7" name="îṥliḑê">
              <a:extLst>
                <a:ext uri="{FF2B5EF4-FFF2-40B4-BE49-F238E27FC236}">
                  <a16:creationId xmlns:a16="http://schemas.microsoft.com/office/drawing/2014/main" id="{3D8591D9-1C15-4B8E-90F5-655535FCF398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custGeom>
              <a:avLst/>
              <a:gdLst>
                <a:gd name="T0" fmla="*/ 215 w 215"/>
                <a:gd name="T1" fmla="*/ 45 h 203"/>
                <a:gd name="T2" fmla="*/ 57 w 215"/>
                <a:gd name="T3" fmla="*/ 203 h 203"/>
                <a:gd name="T4" fmla="*/ 0 w 215"/>
                <a:gd name="T5" fmla="*/ 203 h 203"/>
                <a:gd name="T6" fmla="*/ 204 w 215"/>
                <a:gd name="T7" fmla="*/ 0 h 203"/>
                <a:gd name="T8" fmla="*/ 215 w 215"/>
                <a:gd name="T9" fmla="*/ 0 h 203"/>
                <a:gd name="T10" fmla="*/ 215 w 215"/>
                <a:gd name="T11" fmla="*/ 4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03">
                  <a:moveTo>
                    <a:pt x="215" y="45"/>
                  </a:moveTo>
                  <a:lnTo>
                    <a:pt x="57" y="203"/>
                  </a:lnTo>
                  <a:lnTo>
                    <a:pt x="0" y="203"/>
                  </a:lnTo>
                  <a:lnTo>
                    <a:pt x="204" y="0"/>
                  </a:lnTo>
                  <a:lnTo>
                    <a:pt x="215" y="0"/>
                  </a:lnTo>
                  <a:lnTo>
                    <a:pt x="215" y="45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8" name="ïṣḻïďè">
              <a:extLst>
                <a:ext uri="{FF2B5EF4-FFF2-40B4-BE49-F238E27FC236}">
                  <a16:creationId xmlns:a16="http://schemas.microsoft.com/office/drawing/2014/main" id="{19027FB9-E9B7-4EDE-80FB-E51355BFBD96}"/>
                </a:ext>
              </a:extLst>
            </p:cNvPr>
            <p:cNvSpPr/>
            <p:nvPr/>
          </p:nvSpPr>
          <p:spPr bwMode="auto">
            <a:xfrm>
              <a:off x="7461250" y="1504950"/>
              <a:ext cx="300038" cy="298450"/>
            </a:xfrm>
            <a:custGeom>
              <a:avLst/>
              <a:gdLst>
                <a:gd name="T0" fmla="*/ 189 w 189"/>
                <a:gd name="T1" fmla="*/ 0 h 188"/>
                <a:gd name="T2" fmla="*/ 0 w 189"/>
                <a:gd name="T3" fmla="*/ 188 h 188"/>
                <a:gd name="T4" fmla="*/ 0 w 189"/>
                <a:gd name="T5" fmla="*/ 180 h 188"/>
                <a:gd name="T6" fmla="*/ 182 w 189"/>
                <a:gd name="T7" fmla="*/ 0 h 188"/>
                <a:gd name="T8" fmla="*/ 189 w 189"/>
                <a:gd name="T9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88">
                  <a:moveTo>
                    <a:pt x="189" y="0"/>
                  </a:moveTo>
                  <a:lnTo>
                    <a:pt x="0" y="188"/>
                  </a:lnTo>
                  <a:lnTo>
                    <a:pt x="0" y="180"/>
                  </a:lnTo>
                  <a:lnTo>
                    <a:pt x="182" y="0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9" name="í$ḷiďê">
              <a:extLst>
                <a:ext uri="{FF2B5EF4-FFF2-40B4-BE49-F238E27FC236}">
                  <a16:creationId xmlns:a16="http://schemas.microsoft.com/office/drawing/2014/main" id="{FCAD9548-8055-452A-A3E8-A66D3B4B7D96}"/>
                </a:ext>
              </a:extLst>
            </p:cNvPr>
            <p:cNvSpPr/>
            <p:nvPr/>
          </p:nvSpPr>
          <p:spPr bwMode="auto">
            <a:xfrm>
              <a:off x="8015288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0" name="ïṡlïḋê">
              <a:extLst>
                <a:ext uri="{FF2B5EF4-FFF2-40B4-BE49-F238E27FC236}">
                  <a16:creationId xmlns:a16="http://schemas.microsoft.com/office/drawing/2014/main" id="{9C5ACEBF-17D3-401B-9D1E-0D40901CD8E0}"/>
                </a:ext>
              </a:extLst>
            </p:cNvPr>
            <p:cNvSpPr/>
            <p:nvPr/>
          </p:nvSpPr>
          <p:spPr bwMode="auto">
            <a:xfrm>
              <a:off x="7726363" y="1223963"/>
              <a:ext cx="304800" cy="244475"/>
            </a:xfrm>
            <a:custGeom>
              <a:avLst/>
              <a:gdLst>
                <a:gd name="T0" fmla="*/ 12 w 192"/>
                <a:gd name="T1" fmla="*/ 154 h 154"/>
                <a:gd name="T2" fmla="*/ 0 w 192"/>
                <a:gd name="T3" fmla="*/ 140 h 154"/>
                <a:gd name="T4" fmla="*/ 182 w 192"/>
                <a:gd name="T5" fmla="*/ 0 h 154"/>
                <a:gd name="T6" fmla="*/ 192 w 192"/>
                <a:gd name="T7" fmla="*/ 14 h 154"/>
                <a:gd name="T8" fmla="*/ 12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2" y="154"/>
                  </a:moveTo>
                  <a:lnTo>
                    <a:pt x="0" y="140"/>
                  </a:lnTo>
                  <a:lnTo>
                    <a:pt x="182" y="0"/>
                  </a:lnTo>
                  <a:lnTo>
                    <a:pt x="192" y="14"/>
                  </a:lnTo>
                  <a:lnTo>
                    <a:pt x="12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1" name="iSḻîḓe">
              <a:extLst>
                <a:ext uri="{FF2B5EF4-FFF2-40B4-BE49-F238E27FC236}">
                  <a16:creationId xmlns:a16="http://schemas.microsoft.com/office/drawing/2014/main" id="{BA238390-AC66-4808-8775-A85D8B31B45D}"/>
                </a:ext>
              </a:extLst>
            </p:cNvPr>
            <p:cNvSpPr/>
            <p:nvPr/>
          </p:nvSpPr>
          <p:spPr bwMode="auto">
            <a:xfrm>
              <a:off x="7440613" y="1223963"/>
              <a:ext cx="304800" cy="244475"/>
            </a:xfrm>
            <a:custGeom>
              <a:avLst/>
              <a:gdLst>
                <a:gd name="T0" fmla="*/ 180 w 192"/>
                <a:gd name="T1" fmla="*/ 154 h 154"/>
                <a:gd name="T2" fmla="*/ 0 w 192"/>
                <a:gd name="T3" fmla="*/ 14 h 154"/>
                <a:gd name="T4" fmla="*/ 11 w 192"/>
                <a:gd name="T5" fmla="*/ 0 h 154"/>
                <a:gd name="T6" fmla="*/ 192 w 192"/>
                <a:gd name="T7" fmla="*/ 140 h 154"/>
                <a:gd name="T8" fmla="*/ 18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0" y="154"/>
                  </a:moveTo>
                  <a:lnTo>
                    <a:pt x="0" y="14"/>
                  </a:lnTo>
                  <a:lnTo>
                    <a:pt x="11" y="0"/>
                  </a:lnTo>
                  <a:lnTo>
                    <a:pt x="192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2" name="îšlîḍè">
              <a:extLst>
                <a:ext uri="{FF2B5EF4-FFF2-40B4-BE49-F238E27FC236}">
                  <a16:creationId xmlns:a16="http://schemas.microsoft.com/office/drawing/2014/main" id="{4AAD4801-3A27-4D27-BD5A-16B7034C9950}"/>
                </a:ext>
              </a:extLst>
            </p:cNvPr>
            <p:cNvSpPr/>
            <p:nvPr/>
          </p:nvSpPr>
          <p:spPr bwMode="auto">
            <a:xfrm>
              <a:off x="7154863" y="1223963"/>
              <a:ext cx="303213" cy="244475"/>
            </a:xfrm>
            <a:custGeom>
              <a:avLst/>
              <a:gdLst>
                <a:gd name="T0" fmla="*/ 11 w 191"/>
                <a:gd name="T1" fmla="*/ 154 h 154"/>
                <a:gd name="T2" fmla="*/ 0 w 191"/>
                <a:gd name="T3" fmla="*/ 140 h 154"/>
                <a:gd name="T4" fmla="*/ 180 w 191"/>
                <a:gd name="T5" fmla="*/ 0 h 154"/>
                <a:gd name="T6" fmla="*/ 191 w 191"/>
                <a:gd name="T7" fmla="*/ 14 h 154"/>
                <a:gd name="T8" fmla="*/ 11 w 191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54">
                  <a:moveTo>
                    <a:pt x="11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1" y="14"/>
                  </a:lnTo>
                  <a:lnTo>
                    <a:pt x="1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3" name="iSlîdê">
              <a:extLst>
                <a:ext uri="{FF2B5EF4-FFF2-40B4-BE49-F238E27FC236}">
                  <a16:creationId xmlns:a16="http://schemas.microsoft.com/office/drawing/2014/main" id="{29A9EAC8-02FA-4E62-A5D7-61B4F8CB55F3}"/>
                </a:ext>
              </a:extLst>
            </p:cNvPr>
            <p:cNvSpPr/>
            <p:nvPr/>
          </p:nvSpPr>
          <p:spPr bwMode="auto">
            <a:xfrm>
              <a:off x="6867525" y="1223963"/>
              <a:ext cx="304800" cy="244475"/>
            </a:xfrm>
            <a:custGeom>
              <a:avLst/>
              <a:gdLst>
                <a:gd name="T0" fmla="*/ 181 w 192"/>
                <a:gd name="T1" fmla="*/ 154 h 154"/>
                <a:gd name="T2" fmla="*/ 0 w 192"/>
                <a:gd name="T3" fmla="*/ 14 h 154"/>
                <a:gd name="T4" fmla="*/ 12 w 192"/>
                <a:gd name="T5" fmla="*/ 0 h 154"/>
                <a:gd name="T6" fmla="*/ 192 w 192"/>
                <a:gd name="T7" fmla="*/ 140 h 154"/>
                <a:gd name="T8" fmla="*/ 181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1" y="154"/>
                  </a:moveTo>
                  <a:lnTo>
                    <a:pt x="0" y="14"/>
                  </a:lnTo>
                  <a:lnTo>
                    <a:pt x="12" y="0"/>
                  </a:lnTo>
                  <a:lnTo>
                    <a:pt x="192" y="140"/>
                  </a:lnTo>
                  <a:lnTo>
                    <a:pt x="18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4" name="îS1iďê">
              <a:extLst>
                <a:ext uri="{FF2B5EF4-FFF2-40B4-BE49-F238E27FC236}">
                  <a16:creationId xmlns:a16="http://schemas.microsoft.com/office/drawing/2014/main" id="{B15A3770-A938-4A39-9353-CE01AA92E8F9}"/>
                </a:ext>
              </a:extLst>
            </p:cNvPr>
            <p:cNvSpPr/>
            <p:nvPr/>
          </p:nvSpPr>
          <p:spPr bwMode="auto">
            <a:xfrm>
              <a:off x="6581775" y="1223963"/>
              <a:ext cx="304800" cy="244475"/>
            </a:xfrm>
            <a:custGeom>
              <a:avLst/>
              <a:gdLst>
                <a:gd name="T0" fmla="*/ 10 w 192"/>
                <a:gd name="T1" fmla="*/ 154 h 154"/>
                <a:gd name="T2" fmla="*/ 0 w 192"/>
                <a:gd name="T3" fmla="*/ 140 h 154"/>
                <a:gd name="T4" fmla="*/ 180 w 192"/>
                <a:gd name="T5" fmla="*/ 0 h 154"/>
                <a:gd name="T6" fmla="*/ 192 w 192"/>
                <a:gd name="T7" fmla="*/ 14 h 154"/>
                <a:gd name="T8" fmla="*/ 1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2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5" name="işḻiḓê">
              <a:extLst>
                <a:ext uri="{FF2B5EF4-FFF2-40B4-BE49-F238E27FC236}">
                  <a16:creationId xmlns:a16="http://schemas.microsoft.com/office/drawing/2014/main" id="{F94B8D54-485A-4755-822C-067814DE4292}"/>
                </a:ext>
              </a:extLst>
            </p:cNvPr>
            <p:cNvSpPr/>
            <p:nvPr/>
          </p:nvSpPr>
          <p:spPr bwMode="auto">
            <a:xfrm>
              <a:off x="6296025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6" name="îšlíďè">
              <a:extLst>
                <a:ext uri="{FF2B5EF4-FFF2-40B4-BE49-F238E27FC236}">
                  <a16:creationId xmlns:a16="http://schemas.microsoft.com/office/drawing/2014/main" id="{1BED34F9-5A55-471F-8038-4F5ABE8A2E5F}"/>
                </a:ext>
              </a:extLst>
            </p:cNvPr>
            <p:cNvSpPr/>
            <p:nvPr/>
          </p:nvSpPr>
          <p:spPr bwMode="auto">
            <a:xfrm>
              <a:off x="6010275" y="1223963"/>
              <a:ext cx="301625" cy="244475"/>
            </a:xfrm>
            <a:custGeom>
              <a:avLst/>
              <a:gdLst>
                <a:gd name="T0" fmla="*/ 10 w 190"/>
                <a:gd name="T1" fmla="*/ 154 h 154"/>
                <a:gd name="T2" fmla="*/ 0 w 190"/>
                <a:gd name="T3" fmla="*/ 140 h 154"/>
                <a:gd name="T4" fmla="*/ 180 w 190"/>
                <a:gd name="T5" fmla="*/ 0 h 154"/>
                <a:gd name="T6" fmla="*/ 190 w 190"/>
                <a:gd name="T7" fmla="*/ 14 h 154"/>
                <a:gd name="T8" fmla="*/ 1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0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7" name="ï$ḻïḋê">
              <a:extLst>
                <a:ext uri="{FF2B5EF4-FFF2-40B4-BE49-F238E27FC236}">
                  <a16:creationId xmlns:a16="http://schemas.microsoft.com/office/drawing/2014/main" id="{792A4470-E248-4BE8-A9B0-0695C2C9C257}"/>
                </a:ext>
              </a:extLst>
            </p:cNvPr>
            <p:cNvSpPr/>
            <p:nvPr/>
          </p:nvSpPr>
          <p:spPr bwMode="auto">
            <a:xfrm>
              <a:off x="6070600" y="1470025"/>
              <a:ext cx="388938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8" name="iŝḷíďê">
              <a:extLst>
                <a:ext uri="{FF2B5EF4-FFF2-40B4-BE49-F238E27FC236}">
                  <a16:creationId xmlns:a16="http://schemas.microsoft.com/office/drawing/2014/main" id="{04F9C25A-8846-4FA3-ACDE-39E2A2A9A89B}"/>
                </a:ext>
              </a:extLst>
            </p:cNvPr>
            <p:cNvSpPr/>
            <p:nvPr/>
          </p:nvSpPr>
          <p:spPr bwMode="auto">
            <a:xfrm>
              <a:off x="6116638" y="1504950"/>
              <a:ext cx="295275" cy="52388"/>
            </a:xfrm>
            <a:custGeom>
              <a:avLst/>
              <a:gdLst>
                <a:gd name="T0" fmla="*/ 0 w 112"/>
                <a:gd name="T1" fmla="*/ 0 h 20"/>
                <a:gd name="T2" fmla="*/ 112 w 112"/>
                <a:gd name="T3" fmla="*/ 0 h 20"/>
                <a:gd name="T4" fmla="*/ 112 w 112"/>
                <a:gd name="T5" fmla="*/ 0 h 20"/>
                <a:gd name="T6" fmla="*/ 92 w 112"/>
                <a:gd name="T7" fmla="*/ 20 h 20"/>
                <a:gd name="T8" fmla="*/ 21 w 112"/>
                <a:gd name="T9" fmla="*/ 20 h 20"/>
                <a:gd name="T10" fmla="*/ 0 w 112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0">
                  <a:moveTo>
                    <a:pt x="0" y="0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11"/>
                    <a:pt x="103" y="20"/>
                    <a:pt x="92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0" y="20"/>
                    <a:pt x="0" y="11"/>
                    <a:pt x="0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9" name="í$ľíḋè">
              <a:extLst>
                <a:ext uri="{FF2B5EF4-FFF2-40B4-BE49-F238E27FC236}">
                  <a16:creationId xmlns:a16="http://schemas.microsoft.com/office/drawing/2014/main" id="{AA77412B-1DA0-44FF-9820-592048331877}"/>
                </a:ext>
              </a:extLst>
            </p:cNvPr>
            <p:cNvSpPr/>
            <p:nvPr/>
          </p:nvSpPr>
          <p:spPr bwMode="auto">
            <a:xfrm>
              <a:off x="6227763" y="1643063"/>
              <a:ext cx="73025" cy="71438"/>
            </a:xfrm>
            <a:prstGeom prst="ellipse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0" name="ïslïḑé">
              <a:extLst>
                <a:ext uri="{FF2B5EF4-FFF2-40B4-BE49-F238E27FC236}">
                  <a16:creationId xmlns:a16="http://schemas.microsoft.com/office/drawing/2014/main" id="{ED160E21-E440-4A54-A6BF-E5B5642AD9B6}"/>
                </a:ext>
              </a:extLst>
            </p:cNvPr>
            <p:cNvSpPr/>
            <p:nvPr/>
          </p:nvSpPr>
          <p:spPr bwMode="auto">
            <a:xfrm>
              <a:off x="6208713" y="1698625"/>
              <a:ext cx="127000" cy="200025"/>
            </a:xfrm>
            <a:custGeom>
              <a:avLst/>
              <a:gdLst>
                <a:gd name="T0" fmla="*/ 22 w 48"/>
                <a:gd name="T1" fmla="*/ 0 h 76"/>
                <a:gd name="T2" fmla="*/ 21 w 48"/>
                <a:gd name="T3" fmla="*/ 0 h 76"/>
                <a:gd name="T4" fmla="*/ 19 w 48"/>
                <a:gd name="T5" fmla="*/ 1 h 76"/>
                <a:gd name="T6" fmla="*/ 17 w 48"/>
                <a:gd name="T7" fmla="*/ 5 h 76"/>
                <a:gd name="T8" fmla="*/ 16 w 48"/>
                <a:gd name="T9" fmla="*/ 12 h 76"/>
                <a:gd name="T10" fmla="*/ 16 w 48"/>
                <a:gd name="T11" fmla="*/ 20 h 76"/>
                <a:gd name="T12" fmla="*/ 16 w 48"/>
                <a:gd name="T13" fmla="*/ 21 h 76"/>
                <a:gd name="T14" fmla="*/ 16 w 48"/>
                <a:gd name="T15" fmla="*/ 21 h 76"/>
                <a:gd name="T16" fmla="*/ 17 w 48"/>
                <a:gd name="T17" fmla="*/ 22 h 76"/>
                <a:gd name="T18" fmla="*/ 17 w 48"/>
                <a:gd name="T19" fmla="*/ 22 h 76"/>
                <a:gd name="T20" fmla="*/ 17 w 48"/>
                <a:gd name="T21" fmla="*/ 23 h 76"/>
                <a:gd name="T22" fmla="*/ 17 w 48"/>
                <a:gd name="T23" fmla="*/ 23 h 76"/>
                <a:gd name="T24" fmla="*/ 20 w 48"/>
                <a:gd name="T25" fmla="*/ 26 h 76"/>
                <a:gd name="T26" fmla="*/ 22 w 48"/>
                <a:gd name="T27" fmla="*/ 28 h 76"/>
                <a:gd name="T28" fmla="*/ 26 w 48"/>
                <a:gd name="T29" fmla="*/ 30 h 76"/>
                <a:gd name="T30" fmla="*/ 34 w 48"/>
                <a:gd name="T31" fmla="*/ 36 h 76"/>
                <a:gd name="T32" fmla="*/ 38 w 48"/>
                <a:gd name="T33" fmla="*/ 44 h 76"/>
                <a:gd name="T34" fmla="*/ 39 w 48"/>
                <a:gd name="T35" fmla="*/ 49 h 76"/>
                <a:gd name="T36" fmla="*/ 39 w 48"/>
                <a:gd name="T37" fmla="*/ 52 h 76"/>
                <a:gd name="T38" fmla="*/ 39 w 48"/>
                <a:gd name="T39" fmla="*/ 54 h 76"/>
                <a:gd name="T40" fmla="*/ 35 w 48"/>
                <a:gd name="T41" fmla="*/ 64 h 76"/>
                <a:gd name="T42" fmla="*/ 27 w 48"/>
                <a:gd name="T43" fmla="*/ 69 h 76"/>
                <a:gd name="T44" fmla="*/ 18 w 48"/>
                <a:gd name="T45" fmla="*/ 70 h 76"/>
                <a:gd name="T46" fmla="*/ 10 w 48"/>
                <a:gd name="T47" fmla="*/ 66 h 76"/>
                <a:gd name="T48" fmla="*/ 4 w 48"/>
                <a:gd name="T49" fmla="*/ 54 h 76"/>
                <a:gd name="T50" fmla="*/ 3 w 48"/>
                <a:gd name="T51" fmla="*/ 50 h 76"/>
                <a:gd name="T52" fmla="*/ 2 w 48"/>
                <a:gd name="T53" fmla="*/ 49 h 76"/>
                <a:gd name="T54" fmla="*/ 2 w 48"/>
                <a:gd name="T55" fmla="*/ 49 h 76"/>
                <a:gd name="T56" fmla="*/ 0 w 48"/>
                <a:gd name="T57" fmla="*/ 50 h 76"/>
                <a:gd name="T58" fmla="*/ 1 w 48"/>
                <a:gd name="T59" fmla="*/ 54 h 76"/>
                <a:gd name="T60" fmla="*/ 7 w 48"/>
                <a:gd name="T61" fmla="*/ 69 h 76"/>
                <a:gd name="T62" fmla="*/ 16 w 48"/>
                <a:gd name="T63" fmla="*/ 75 h 76"/>
                <a:gd name="T64" fmla="*/ 29 w 48"/>
                <a:gd name="T65" fmla="*/ 75 h 76"/>
                <a:gd name="T66" fmla="*/ 40 w 48"/>
                <a:gd name="T67" fmla="*/ 69 h 76"/>
                <a:gd name="T68" fmla="*/ 47 w 48"/>
                <a:gd name="T69" fmla="*/ 56 h 76"/>
                <a:gd name="T70" fmla="*/ 48 w 48"/>
                <a:gd name="T71" fmla="*/ 52 h 76"/>
                <a:gd name="T72" fmla="*/ 48 w 48"/>
                <a:gd name="T73" fmla="*/ 49 h 76"/>
                <a:gd name="T74" fmla="*/ 48 w 48"/>
                <a:gd name="T75" fmla="*/ 42 h 76"/>
                <a:gd name="T76" fmla="*/ 42 w 48"/>
                <a:gd name="T77" fmla="*/ 29 h 76"/>
                <a:gd name="T78" fmla="*/ 32 w 48"/>
                <a:gd name="T79" fmla="*/ 21 h 76"/>
                <a:gd name="T80" fmla="*/ 27 w 48"/>
                <a:gd name="T81" fmla="*/ 19 h 76"/>
                <a:gd name="T82" fmla="*/ 26 w 48"/>
                <a:gd name="T83" fmla="*/ 18 h 76"/>
                <a:gd name="T84" fmla="*/ 26 w 48"/>
                <a:gd name="T85" fmla="*/ 18 h 76"/>
                <a:gd name="T86" fmla="*/ 26 w 48"/>
                <a:gd name="T87" fmla="*/ 18 h 76"/>
                <a:gd name="T88" fmla="*/ 27 w 48"/>
                <a:gd name="T89" fmla="*/ 18 h 76"/>
                <a:gd name="T90" fmla="*/ 27 w 48"/>
                <a:gd name="T91" fmla="*/ 19 h 76"/>
                <a:gd name="T92" fmla="*/ 27 w 48"/>
                <a:gd name="T93" fmla="*/ 19 h 76"/>
                <a:gd name="T94" fmla="*/ 27 w 48"/>
                <a:gd name="T95" fmla="*/ 19 h 76"/>
                <a:gd name="T96" fmla="*/ 27 w 48"/>
                <a:gd name="T97" fmla="*/ 19 h 76"/>
                <a:gd name="T98" fmla="*/ 27 w 48"/>
                <a:gd name="T99" fmla="*/ 19 h 76"/>
                <a:gd name="T100" fmla="*/ 27 w 48"/>
                <a:gd name="T101" fmla="*/ 21 h 76"/>
                <a:gd name="T102" fmla="*/ 27 w 48"/>
                <a:gd name="T103" fmla="*/ 21 h 76"/>
                <a:gd name="T104" fmla="*/ 27 w 48"/>
                <a:gd name="T105" fmla="*/ 20 h 76"/>
                <a:gd name="T106" fmla="*/ 27 w 48"/>
                <a:gd name="T107" fmla="*/ 12 h 76"/>
                <a:gd name="T108" fmla="*/ 27 w 48"/>
                <a:gd name="T109" fmla="*/ 5 h 76"/>
                <a:gd name="T110" fmla="*/ 24 w 48"/>
                <a:gd name="T111" fmla="*/ 1 h 76"/>
                <a:gd name="T112" fmla="*/ 22 w 48"/>
                <a:gd name="T113" fmla="*/ 0 h 76"/>
                <a:gd name="T114" fmla="*/ 22 w 48"/>
                <a:gd name="T11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" h="76">
                  <a:moveTo>
                    <a:pt x="22" y="0"/>
                  </a:moveTo>
                  <a:cubicBezTo>
                    <a:pt x="22" y="0"/>
                    <a:pt x="21" y="0"/>
                    <a:pt x="21" y="0"/>
                  </a:cubicBezTo>
                  <a:cubicBezTo>
                    <a:pt x="21" y="0"/>
                    <a:pt x="20" y="1"/>
                    <a:pt x="19" y="1"/>
                  </a:cubicBezTo>
                  <a:cubicBezTo>
                    <a:pt x="18" y="2"/>
                    <a:pt x="17" y="3"/>
                    <a:pt x="17" y="5"/>
                  </a:cubicBezTo>
                  <a:cubicBezTo>
                    <a:pt x="16" y="7"/>
                    <a:pt x="16" y="9"/>
                    <a:pt x="16" y="12"/>
                  </a:cubicBezTo>
                  <a:cubicBezTo>
                    <a:pt x="16" y="14"/>
                    <a:pt x="16" y="17"/>
                    <a:pt x="16" y="20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7" y="24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4"/>
                    <a:pt x="19" y="26"/>
                    <a:pt x="20" y="26"/>
                  </a:cubicBezTo>
                  <a:cubicBezTo>
                    <a:pt x="21" y="27"/>
                    <a:pt x="21" y="27"/>
                    <a:pt x="22" y="28"/>
                  </a:cubicBezTo>
                  <a:cubicBezTo>
                    <a:pt x="24" y="29"/>
                    <a:pt x="25" y="29"/>
                    <a:pt x="26" y="30"/>
                  </a:cubicBezTo>
                  <a:cubicBezTo>
                    <a:pt x="29" y="32"/>
                    <a:pt x="32" y="34"/>
                    <a:pt x="34" y="36"/>
                  </a:cubicBezTo>
                  <a:cubicBezTo>
                    <a:pt x="36" y="38"/>
                    <a:pt x="38" y="41"/>
                    <a:pt x="38" y="44"/>
                  </a:cubicBezTo>
                  <a:cubicBezTo>
                    <a:pt x="39" y="46"/>
                    <a:pt x="39" y="48"/>
                    <a:pt x="39" y="49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8" y="58"/>
                    <a:pt x="37" y="61"/>
                    <a:pt x="35" y="64"/>
                  </a:cubicBezTo>
                  <a:cubicBezTo>
                    <a:pt x="33" y="66"/>
                    <a:pt x="30" y="68"/>
                    <a:pt x="27" y="69"/>
                  </a:cubicBezTo>
                  <a:cubicBezTo>
                    <a:pt x="24" y="70"/>
                    <a:pt x="20" y="70"/>
                    <a:pt x="18" y="70"/>
                  </a:cubicBezTo>
                  <a:cubicBezTo>
                    <a:pt x="15" y="69"/>
                    <a:pt x="12" y="68"/>
                    <a:pt x="10" y="66"/>
                  </a:cubicBezTo>
                  <a:cubicBezTo>
                    <a:pt x="6" y="62"/>
                    <a:pt x="4" y="57"/>
                    <a:pt x="4" y="54"/>
                  </a:cubicBezTo>
                  <a:cubicBezTo>
                    <a:pt x="3" y="52"/>
                    <a:pt x="3" y="51"/>
                    <a:pt x="3" y="50"/>
                  </a:cubicBezTo>
                  <a:cubicBezTo>
                    <a:pt x="3" y="49"/>
                    <a:pt x="2" y="49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1" y="49"/>
                    <a:pt x="0" y="49"/>
                    <a:pt x="0" y="50"/>
                  </a:cubicBezTo>
                  <a:cubicBezTo>
                    <a:pt x="0" y="51"/>
                    <a:pt x="0" y="53"/>
                    <a:pt x="1" y="54"/>
                  </a:cubicBezTo>
                  <a:cubicBezTo>
                    <a:pt x="1" y="58"/>
                    <a:pt x="2" y="64"/>
                    <a:pt x="7" y="69"/>
                  </a:cubicBezTo>
                  <a:cubicBezTo>
                    <a:pt x="9" y="71"/>
                    <a:pt x="12" y="74"/>
                    <a:pt x="16" y="75"/>
                  </a:cubicBezTo>
                  <a:cubicBezTo>
                    <a:pt x="20" y="76"/>
                    <a:pt x="24" y="76"/>
                    <a:pt x="29" y="75"/>
                  </a:cubicBezTo>
                  <a:cubicBezTo>
                    <a:pt x="33" y="74"/>
                    <a:pt x="37" y="72"/>
                    <a:pt x="40" y="69"/>
                  </a:cubicBezTo>
                  <a:cubicBezTo>
                    <a:pt x="44" y="65"/>
                    <a:pt x="46" y="61"/>
                    <a:pt x="47" y="56"/>
                  </a:cubicBezTo>
                  <a:cubicBezTo>
                    <a:pt x="47" y="55"/>
                    <a:pt x="48" y="54"/>
                    <a:pt x="48" y="52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47"/>
                    <a:pt x="48" y="45"/>
                    <a:pt x="48" y="42"/>
                  </a:cubicBezTo>
                  <a:cubicBezTo>
                    <a:pt x="47" y="37"/>
                    <a:pt x="44" y="33"/>
                    <a:pt x="42" y="29"/>
                  </a:cubicBezTo>
                  <a:cubicBezTo>
                    <a:pt x="39" y="26"/>
                    <a:pt x="35" y="23"/>
                    <a:pt x="32" y="21"/>
                  </a:cubicBezTo>
                  <a:cubicBezTo>
                    <a:pt x="30" y="20"/>
                    <a:pt x="29" y="19"/>
                    <a:pt x="27" y="19"/>
                  </a:cubicBezTo>
                  <a:cubicBezTo>
                    <a:pt x="27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7" y="18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20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7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7"/>
                    <a:pt x="27" y="14"/>
                    <a:pt x="27" y="12"/>
                  </a:cubicBezTo>
                  <a:cubicBezTo>
                    <a:pt x="27" y="9"/>
                    <a:pt x="27" y="7"/>
                    <a:pt x="27" y="5"/>
                  </a:cubicBezTo>
                  <a:cubicBezTo>
                    <a:pt x="27" y="3"/>
                    <a:pt x="25" y="2"/>
                    <a:pt x="24" y="1"/>
                  </a:cubicBezTo>
                  <a:cubicBezTo>
                    <a:pt x="23" y="1"/>
                    <a:pt x="23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1" name="iś1ídé">
              <a:extLst>
                <a:ext uri="{FF2B5EF4-FFF2-40B4-BE49-F238E27FC236}">
                  <a16:creationId xmlns:a16="http://schemas.microsoft.com/office/drawing/2014/main" id="{4A597953-C84B-4507-B0C0-361C5DE48008}"/>
                </a:ext>
              </a:extLst>
            </p:cNvPr>
            <p:cNvSpPr/>
            <p:nvPr/>
          </p:nvSpPr>
          <p:spPr bwMode="auto">
            <a:xfrm>
              <a:off x="7458075" y="4287838"/>
              <a:ext cx="695325" cy="1354138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2" name="íš1ïḑê">
              <a:extLst>
                <a:ext uri="{FF2B5EF4-FFF2-40B4-BE49-F238E27FC236}">
                  <a16:creationId xmlns:a16="http://schemas.microsoft.com/office/drawing/2014/main" id="{B6FF5E89-72B4-4B42-9522-76C9DB07F1BF}"/>
                </a:ext>
              </a:extLst>
            </p:cNvPr>
            <p:cNvSpPr/>
            <p:nvPr/>
          </p:nvSpPr>
          <p:spPr bwMode="auto">
            <a:xfrm>
              <a:off x="4614863" y="5381625"/>
              <a:ext cx="314325" cy="34925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3" name="ïṧḷiďe">
              <a:extLst>
                <a:ext uri="{FF2B5EF4-FFF2-40B4-BE49-F238E27FC236}">
                  <a16:creationId xmlns:a16="http://schemas.microsoft.com/office/drawing/2014/main" id="{92B67F61-34FB-42CD-B971-77DF883D7DB7}"/>
                </a:ext>
              </a:extLst>
            </p:cNvPr>
            <p:cNvSpPr/>
            <p:nvPr/>
          </p:nvSpPr>
          <p:spPr bwMode="auto">
            <a:xfrm>
              <a:off x="4548188" y="5000625"/>
              <a:ext cx="153988" cy="641350"/>
            </a:xfrm>
            <a:custGeom>
              <a:avLst/>
              <a:gdLst>
                <a:gd name="T0" fmla="*/ 68 w 97"/>
                <a:gd name="T1" fmla="*/ 0 h 404"/>
                <a:gd name="T2" fmla="*/ 0 w 97"/>
                <a:gd name="T3" fmla="*/ 404 h 404"/>
                <a:gd name="T4" fmla="*/ 28 w 97"/>
                <a:gd name="T5" fmla="*/ 404 h 404"/>
                <a:gd name="T6" fmla="*/ 97 w 97"/>
                <a:gd name="T7" fmla="*/ 2 h 404"/>
                <a:gd name="T8" fmla="*/ 68 w 97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04">
                  <a:moveTo>
                    <a:pt x="68" y="0"/>
                  </a:moveTo>
                  <a:lnTo>
                    <a:pt x="0" y="404"/>
                  </a:lnTo>
                  <a:lnTo>
                    <a:pt x="28" y="404"/>
                  </a:lnTo>
                  <a:lnTo>
                    <a:pt x="97" y="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4" name="iŝḻiḓé">
              <a:extLst>
                <a:ext uri="{FF2B5EF4-FFF2-40B4-BE49-F238E27FC236}">
                  <a16:creationId xmlns:a16="http://schemas.microsoft.com/office/drawing/2014/main" id="{361DD9D3-F4CF-4AC0-B934-977A85EF49C5}"/>
                </a:ext>
              </a:extLst>
            </p:cNvPr>
            <p:cNvSpPr/>
            <p:nvPr/>
          </p:nvSpPr>
          <p:spPr bwMode="auto">
            <a:xfrm>
              <a:off x="4838700" y="5000625"/>
              <a:ext cx="157163" cy="641350"/>
            </a:xfrm>
            <a:custGeom>
              <a:avLst/>
              <a:gdLst>
                <a:gd name="T0" fmla="*/ 29 w 99"/>
                <a:gd name="T1" fmla="*/ 0 h 404"/>
                <a:gd name="T2" fmla="*/ 99 w 99"/>
                <a:gd name="T3" fmla="*/ 404 h 404"/>
                <a:gd name="T4" fmla="*/ 70 w 99"/>
                <a:gd name="T5" fmla="*/ 404 h 404"/>
                <a:gd name="T6" fmla="*/ 0 w 99"/>
                <a:gd name="T7" fmla="*/ 2 h 404"/>
                <a:gd name="T8" fmla="*/ 29 w 99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404">
                  <a:moveTo>
                    <a:pt x="29" y="0"/>
                  </a:moveTo>
                  <a:lnTo>
                    <a:pt x="99" y="404"/>
                  </a:lnTo>
                  <a:lnTo>
                    <a:pt x="70" y="404"/>
                  </a:lnTo>
                  <a:lnTo>
                    <a:pt x="0" y="2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5" name="îṡļïḍê">
              <a:extLst>
                <a:ext uri="{FF2B5EF4-FFF2-40B4-BE49-F238E27FC236}">
                  <a16:creationId xmlns:a16="http://schemas.microsoft.com/office/drawing/2014/main" id="{B8DA3D4E-F10A-437E-92E9-5A83751B6A1E}"/>
                </a:ext>
              </a:extLst>
            </p:cNvPr>
            <p:cNvSpPr/>
            <p:nvPr/>
          </p:nvSpPr>
          <p:spPr bwMode="auto">
            <a:xfrm>
              <a:off x="4719638" y="5372100"/>
              <a:ext cx="103188" cy="55563"/>
            </a:xfrm>
            <a:custGeom>
              <a:avLst/>
              <a:gdLst>
                <a:gd name="T0" fmla="*/ 0 w 39"/>
                <a:gd name="T1" fmla="*/ 0 h 21"/>
                <a:gd name="T2" fmla="*/ 39 w 39"/>
                <a:gd name="T3" fmla="*/ 0 h 21"/>
                <a:gd name="T4" fmla="*/ 39 w 39"/>
                <a:gd name="T5" fmla="*/ 7 h 21"/>
                <a:gd name="T6" fmla="*/ 25 w 39"/>
                <a:gd name="T7" fmla="*/ 21 h 21"/>
                <a:gd name="T8" fmla="*/ 14 w 39"/>
                <a:gd name="T9" fmla="*/ 21 h 21"/>
                <a:gd name="T10" fmla="*/ 0 w 39"/>
                <a:gd name="T11" fmla="*/ 7 h 21"/>
                <a:gd name="T12" fmla="*/ 0 w 3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21">
                  <a:moveTo>
                    <a:pt x="0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15"/>
                    <a:pt x="33" y="21"/>
                    <a:pt x="25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6" y="21"/>
                    <a:pt x="0" y="15"/>
                    <a:pt x="0" y="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6" name="íSļiḑê">
              <a:extLst>
                <a:ext uri="{FF2B5EF4-FFF2-40B4-BE49-F238E27FC236}">
                  <a16:creationId xmlns:a16="http://schemas.microsoft.com/office/drawing/2014/main" id="{8948C0E0-89E2-42F4-826C-69DD00AD99AF}"/>
                </a:ext>
              </a:extLst>
            </p:cNvPr>
            <p:cNvSpPr/>
            <p:nvPr/>
          </p:nvSpPr>
          <p:spPr bwMode="auto">
            <a:xfrm>
              <a:off x="4757738" y="5384800"/>
              <a:ext cx="28575" cy="28575"/>
            </a:xfrm>
            <a:prstGeom prst="ellipse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7" name="ïṧļide">
              <a:extLst>
                <a:ext uri="{FF2B5EF4-FFF2-40B4-BE49-F238E27FC236}">
                  <a16:creationId xmlns:a16="http://schemas.microsoft.com/office/drawing/2014/main" id="{DC15C3C1-5695-4953-B0F3-DB431B259CDC}"/>
                </a:ext>
              </a:extLst>
            </p:cNvPr>
            <p:cNvSpPr/>
            <p:nvPr/>
          </p:nvSpPr>
          <p:spPr bwMode="auto">
            <a:xfrm>
              <a:off x="4595813" y="4968875"/>
              <a:ext cx="357188" cy="50800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8" name="ïṣļîḍè">
              <a:extLst>
                <a:ext uri="{FF2B5EF4-FFF2-40B4-BE49-F238E27FC236}">
                  <a16:creationId xmlns:a16="http://schemas.microsoft.com/office/drawing/2014/main" id="{CAD21CFD-1018-430C-9675-281342B77707}"/>
                </a:ext>
              </a:extLst>
            </p:cNvPr>
            <p:cNvSpPr/>
            <p:nvPr/>
          </p:nvSpPr>
          <p:spPr bwMode="auto">
            <a:xfrm>
              <a:off x="4841875" y="5019675"/>
              <a:ext cx="50800" cy="20638"/>
            </a:xfrm>
            <a:custGeom>
              <a:avLst/>
              <a:gdLst>
                <a:gd name="T0" fmla="*/ 0 w 32"/>
                <a:gd name="T1" fmla="*/ 0 h 13"/>
                <a:gd name="T2" fmla="*/ 28 w 32"/>
                <a:gd name="T3" fmla="*/ 0 h 13"/>
                <a:gd name="T4" fmla="*/ 32 w 32"/>
                <a:gd name="T5" fmla="*/ 13 h 13"/>
                <a:gd name="T6" fmla="*/ 3 w 32"/>
                <a:gd name="T7" fmla="*/ 13 h 13"/>
                <a:gd name="T8" fmla="*/ 0 w 3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3">
                  <a:moveTo>
                    <a:pt x="0" y="0"/>
                  </a:moveTo>
                  <a:lnTo>
                    <a:pt x="28" y="0"/>
                  </a:lnTo>
                  <a:lnTo>
                    <a:pt x="32" y="13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9" name="îŝliḓê">
              <a:extLst>
                <a:ext uri="{FF2B5EF4-FFF2-40B4-BE49-F238E27FC236}">
                  <a16:creationId xmlns:a16="http://schemas.microsoft.com/office/drawing/2014/main" id="{378C5809-CFB6-4AA7-A5E0-4EC9979A5DC7}"/>
                </a:ext>
              </a:extLst>
            </p:cNvPr>
            <p:cNvSpPr/>
            <p:nvPr/>
          </p:nvSpPr>
          <p:spPr bwMode="auto">
            <a:xfrm>
              <a:off x="4651375" y="5019675"/>
              <a:ext cx="47625" cy="20638"/>
            </a:xfrm>
            <a:custGeom>
              <a:avLst/>
              <a:gdLst>
                <a:gd name="T0" fmla="*/ 30 w 30"/>
                <a:gd name="T1" fmla="*/ 0 h 13"/>
                <a:gd name="T2" fmla="*/ 2 w 30"/>
                <a:gd name="T3" fmla="*/ 0 h 13"/>
                <a:gd name="T4" fmla="*/ 0 w 30"/>
                <a:gd name="T5" fmla="*/ 13 h 13"/>
                <a:gd name="T6" fmla="*/ 28 w 30"/>
                <a:gd name="T7" fmla="*/ 13 h 13"/>
                <a:gd name="T8" fmla="*/ 30 w 3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lnTo>
                    <a:pt x="2" y="0"/>
                  </a:lnTo>
                  <a:lnTo>
                    <a:pt x="0" y="13"/>
                  </a:lnTo>
                  <a:lnTo>
                    <a:pt x="28" y="13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0" name="ïSļîḑé">
              <a:extLst>
                <a:ext uri="{FF2B5EF4-FFF2-40B4-BE49-F238E27FC236}">
                  <a16:creationId xmlns:a16="http://schemas.microsoft.com/office/drawing/2014/main" id="{648CF7C2-3E8A-4DC1-8CCD-EC2B2AE9B1BB}"/>
                </a:ext>
              </a:extLst>
            </p:cNvPr>
            <p:cNvSpPr/>
            <p:nvPr/>
          </p:nvSpPr>
          <p:spPr bwMode="auto">
            <a:xfrm>
              <a:off x="4595813" y="4995863"/>
              <a:ext cx="357188" cy="23813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806" name="Group 805">
            <a:extLst>
              <a:ext uri="{FF2B5EF4-FFF2-40B4-BE49-F238E27FC236}">
                <a16:creationId xmlns:a16="http://schemas.microsoft.com/office/drawing/2014/main" id="{15E97AD9-3F8F-442B-8580-F6DE936498A0}"/>
              </a:ext>
            </a:extLst>
          </p:cNvPr>
          <p:cNvGrpSpPr/>
          <p:nvPr/>
        </p:nvGrpSpPr>
        <p:grpSpPr>
          <a:xfrm>
            <a:off x="2907165" y="1161722"/>
            <a:ext cx="1024614" cy="1024610"/>
            <a:chOff x="2907165" y="1161722"/>
            <a:chExt cx="1024614" cy="1024610"/>
          </a:xfrm>
        </p:grpSpPr>
        <p:sp>
          <p:nvSpPr>
            <p:cNvPr id="39" name="îšľîḍè">
              <a:extLst>
                <a:ext uri="{FF2B5EF4-FFF2-40B4-BE49-F238E27FC236}">
                  <a16:creationId xmlns:a16="http://schemas.microsoft.com/office/drawing/2014/main" id="{EE46BFD3-3656-45E3-A35D-DAC1BD0B5B7E}"/>
                </a:ext>
              </a:extLst>
            </p:cNvPr>
            <p:cNvSpPr/>
            <p:nvPr/>
          </p:nvSpPr>
          <p:spPr>
            <a:xfrm>
              <a:off x="2907165" y="1161722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22" name="iconfont-11244-5317052">
              <a:extLst>
                <a:ext uri="{FF2B5EF4-FFF2-40B4-BE49-F238E27FC236}">
                  <a16:creationId xmlns:a16="http://schemas.microsoft.com/office/drawing/2014/main" id="{1079FECC-3F1D-4B46-AF4D-AA514CEEA5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5776" y="1432988"/>
              <a:ext cx="609685" cy="398769"/>
            </a:xfrm>
            <a:custGeom>
              <a:avLst/>
              <a:gdLst>
                <a:gd name="T0" fmla="*/ 4499 w 12887"/>
                <a:gd name="T1" fmla="*/ 7938 h 8428"/>
                <a:gd name="T2" fmla="*/ 3677 w 12887"/>
                <a:gd name="T3" fmla="*/ 6020 h 8428"/>
                <a:gd name="T4" fmla="*/ 3676 w 12887"/>
                <a:gd name="T5" fmla="*/ 6018 h 8428"/>
                <a:gd name="T6" fmla="*/ 2579 w 12887"/>
                <a:gd name="T7" fmla="*/ 3458 h 8428"/>
                <a:gd name="T8" fmla="*/ 1990 w 12887"/>
                <a:gd name="T9" fmla="*/ 3458 h 8428"/>
                <a:gd name="T10" fmla="*/ 893 w 12887"/>
                <a:gd name="T11" fmla="*/ 6018 h 8428"/>
                <a:gd name="T12" fmla="*/ 892 w 12887"/>
                <a:gd name="T13" fmla="*/ 6020 h 8428"/>
                <a:gd name="T14" fmla="*/ 70 w 12887"/>
                <a:gd name="T15" fmla="*/ 7938 h 8428"/>
                <a:gd name="T16" fmla="*/ 238 w 12887"/>
                <a:gd name="T17" fmla="*/ 8358 h 8428"/>
                <a:gd name="T18" fmla="*/ 659 w 12887"/>
                <a:gd name="T19" fmla="*/ 8190 h 8428"/>
                <a:gd name="T20" fmla="*/ 1399 w 12887"/>
                <a:gd name="T21" fmla="*/ 6464 h 8428"/>
                <a:gd name="T22" fmla="*/ 3171 w 12887"/>
                <a:gd name="T23" fmla="*/ 6464 h 8428"/>
                <a:gd name="T24" fmla="*/ 3911 w 12887"/>
                <a:gd name="T25" fmla="*/ 8190 h 8428"/>
                <a:gd name="T26" fmla="*/ 4331 w 12887"/>
                <a:gd name="T27" fmla="*/ 8358 h 8428"/>
                <a:gd name="T28" fmla="*/ 4499 w 12887"/>
                <a:gd name="T29" fmla="*/ 7937 h 8428"/>
                <a:gd name="T30" fmla="*/ 4499 w 12887"/>
                <a:gd name="T31" fmla="*/ 7938 h 8428"/>
                <a:gd name="T32" fmla="*/ 1672 w 12887"/>
                <a:gd name="T33" fmla="*/ 5824 h 8428"/>
                <a:gd name="T34" fmla="*/ 2284 w 12887"/>
                <a:gd name="T35" fmla="*/ 4396 h 8428"/>
                <a:gd name="T36" fmla="*/ 2896 w 12887"/>
                <a:gd name="T37" fmla="*/ 5824 h 8428"/>
                <a:gd name="T38" fmla="*/ 1672 w 12887"/>
                <a:gd name="T39" fmla="*/ 5824 h 8428"/>
                <a:gd name="T40" fmla="*/ 12820 w 12887"/>
                <a:gd name="T41" fmla="*/ 7941 h 8428"/>
                <a:gd name="T42" fmla="*/ 11487 w 12887"/>
                <a:gd name="T43" fmla="*/ 4741 h 8428"/>
                <a:gd name="T44" fmla="*/ 11486 w 12887"/>
                <a:gd name="T45" fmla="*/ 4739 h 8428"/>
                <a:gd name="T46" fmla="*/ 9620 w 12887"/>
                <a:gd name="T47" fmla="*/ 261 h 8428"/>
                <a:gd name="T48" fmla="*/ 9029 w 12887"/>
                <a:gd name="T49" fmla="*/ 261 h 8428"/>
                <a:gd name="T50" fmla="*/ 7163 w 12887"/>
                <a:gd name="T51" fmla="*/ 4739 h 8428"/>
                <a:gd name="T52" fmla="*/ 7162 w 12887"/>
                <a:gd name="T53" fmla="*/ 4741 h 8428"/>
                <a:gd name="T54" fmla="*/ 5829 w 12887"/>
                <a:gd name="T55" fmla="*/ 7941 h 8428"/>
                <a:gd name="T56" fmla="*/ 6001 w 12887"/>
                <a:gd name="T57" fmla="*/ 8360 h 8428"/>
                <a:gd name="T58" fmla="*/ 6419 w 12887"/>
                <a:gd name="T59" fmla="*/ 8188 h 8428"/>
                <a:gd name="T60" fmla="*/ 7671 w 12887"/>
                <a:gd name="T61" fmla="*/ 5185 h 8428"/>
                <a:gd name="T62" fmla="*/ 10977 w 12887"/>
                <a:gd name="T63" fmla="*/ 5185 h 8428"/>
                <a:gd name="T64" fmla="*/ 12229 w 12887"/>
                <a:gd name="T65" fmla="*/ 8188 h 8428"/>
                <a:gd name="T66" fmla="*/ 12647 w 12887"/>
                <a:gd name="T67" fmla="*/ 8360 h 8428"/>
                <a:gd name="T68" fmla="*/ 12819 w 12887"/>
                <a:gd name="T69" fmla="*/ 7941 h 8428"/>
                <a:gd name="T70" fmla="*/ 12820 w 12887"/>
                <a:gd name="T71" fmla="*/ 7941 h 8428"/>
                <a:gd name="T72" fmla="*/ 7937 w 12887"/>
                <a:gd name="T73" fmla="*/ 4544 h 8428"/>
                <a:gd name="T74" fmla="*/ 9324 w 12887"/>
                <a:gd name="T75" fmla="*/ 1216 h 8428"/>
                <a:gd name="T76" fmla="*/ 10711 w 12887"/>
                <a:gd name="T77" fmla="*/ 4544 h 8428"/>
                <a:gd name="T78" fmla="*/ 7938 w 12887"/>
                <a:gd name="T79" fmla="*/ 4544 h 8428"/>
                <a:gd name="T80" fmla="*/ 7937 w 12887"/>
                <a:gd name="T81" fmla="*/ 4544 h 8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887" h="8428">
                  <a:moveTo>
                    <a:pt x="4499" y="7938"/>
                  </a:moveTo>
                  <a:lnTo>
                    <a:pt x="3677" y="6020"/>
                  </a:lnTo>
                  <a:lnTo>
                    <a:pt x="3676" y="6018"/>
                  </a:lnTo>
                  <a:lnTo>
                    <a:pt x="2579" y="3458"/>
                  </a:lnTo>
                  <a:cubicBezTo>
                    <a:pt x="2468" y="3198"/>
                    <a:pt x="2100" y="3198"/>
                    <a:pt x="1990" y="3458"/>
                  </a:cubicBezTo>
                  <a:lnTo>
                    <a:pt x="893" y="6018"/>
                  </a:lnTo>
                  <a:lnTo>
                    <a:pt x="892" y="6020"/>
                  </a:lnTo>
                  <a:lnTo>
                    <a:pt x="70" y="7938"/>
                  </a:lnTo>
                  <a:cubicBezTo>
                    <a:pt x="0" y="8101"/>
                    <a:pt x="76" y="8289"/>
                    <a:pt x="238" y="8358"/>
                  </a:cubicBezTo>
                  <a:cubicBezTo>
                    <a:pt x="401" y="8428"/>
                    <a:pt x="589" y="8353"/>
                    <a:pt x="659" y="8190"/>
                  </a:cubicBezTo>
                  <a:lnTo>
                    <a:pt x="1399" y="6464"/>
                  </a:lnTo>
                  <a:lnTo>
                    <a:pt x="3171" y="6464"/>
                  </a:lnTo>
                  <a:lnTo>
                    <a:pt x="3911" y="8190"/>
                  </a:lnTo>
                  <a:cubicBezTo>
                    <a:pt x="3980" y="8353"/>
                    <a:pt x="4169" y="8428"/>
                    <a:pt x="4331" y="8358"/>
                  </a:cubicBezTo>
                  <a:cubicBezTo>
                    <a:pt x="4493" y="8288"/>
                    <a:pt x="4569" y="8100"/>
                    <a:pt x="4499" y="7937"/>
                  </a:cubicBezTo>
                  <a:lnTo>
                    <a:pt x="4499" y="7938"/>
                  </a:lnTo>
                  <a:close/>
                  <a:moveTo>
                    <a:pt x="1672" y="5824"/>
                  </a:moveTo>
                  <a:lnTo>
                    <a:pt x="2284" y="4396"/>
                  </a:lnTo>
                  <a:lnTo>
                    <a:pt x="2896" y="5824"/>
                  </a:lnTo>
                  <a:lnTo>
                    <a:pt x="1672" y="5824"/>
                  </a:lnTo>
                  <a:close/>
                  <a:moveTo>
                    <a:pt x="12820" y="7941"/>
                  </a:moveTo>
                  <a:lnTo>
                    <a:pt x="11487" y="4741"/>
                  </a:lnTo>
                  <a:lnTo>
                    <a:pt x="11486" y="4739"/>
                  </a:lnTo>
                  <a:lnTo>
                    <a:pt x="9620" y="261"/>
                  </a:lnTo>
                  <a:cubicBezTo>
                    <a:pt x="9509" y="0"/>
                    <a:pt x="9139" y="0"/>
                    <a:pt x="9029" y="261"/>
                  </a:cubicBezTo>
                  <a:lnTo>
                    <a:pt x="7163" y="4739"/>
                  </a:lnTo>
                  <a:lnTo>
                    <a:pt x="7162" y="4741"/>
                  </a:lnTo>
                  <a:lnTo>
                    <a:pt x="5829" y="7941"/>
                  </a:lnTo>
                  <a:cubicBezTo>
                    <a:pt x="5761" y="8104"/>
                    <a:pt x="5838" y="8292"/>
                    <a:pt x="6001" y="8360"/>
                  </a:cubicBezTo>
                  <a:cubicBezTo>
                    <a:pt x="6164" y="8428"/>
                    <a:pt x="6351" y="8351"/>
                    <a:pt x="6419" y="8188"/>
                  </a:cubicBezTo>
                  <a:lnTo>
                    <a:pt x="7671" y="5185"/>
                  </a:lnTo>
                  <a:lnTo>
                    <a:pt x="10977" y="5185"/>
                  </a:lnTo>
                  <a:lnTo>
                    <a:pt x="12229" y="8188"/>
                  </a:lnTo>
                  <a:cubicBezTo>
                    <a:pt x="12297" y="8351"/>
                    <a:pt x="12484" y="8428"/>
                    <a:pt x="12647" y="8360"/>
                  </a:cubicBezTo>
                  <a:cubicBezTo>
                    <a:pt x="12810" y="8292"/>
                    <a:pt x="12887" y="8104"/>
                    <a:pt x="12819" y="7941"/>
                  </a:cubicBezTo>
                  <a:lnTo>
                    <a:pt x="12820" y="7941"/>
                  </a:lnTo>
                  <a:close/>
                  <a:moveTo>
                    <a:pt x="7937" y="4544"/>
                  </a:moveTo>
                  <a:lnTo>
                    <a:pt x="9324" y="1216"/>
                  </a:lnTo>
                  <a:lnTo>
                    <a:pt x="10711" y="4544"/>
                  </a:lnTo>
                  <a:lnTo>
                    <a:pt x="7938" y="4544"/>
                  </a:lnTo>
                  <a:lnTo>
                    <a:pt x="7937" y="45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805" name="Group 804">
            <a:extLst>
              <a:ext uri="{FF2B5EF4-FFF2-40B4-BE49-F238E27FC236}">
                <a16:creationId xmlns:a16="http://schemas.microsoft.com/office/drawing/2014/main" id="{0A4CCE0B-06F0-46A7-A64E-F5693939BD70}"/>
              </a:ext>
            </a:extLst>
          </p:cNvPr>
          <p:cNvGrpSpPr/>
          <p:nvPr/>
        </p:nvGrpSpPr>
        <p:grpSpPr>
          <a:xfrm>
            <a:off x="4621959" y="2698761"/>
            <a:ext cx="0" cy="0"/>
            <a:chOff x="4098084" y="2173905"/>
            <a:chExt cx="1024614" cy="1024610"/>
          </a:xfrm>
        </p:grpSpPr>
        <p:sp>
          <p:nvSpPr>
            <p:cNvPr id="42" name="îṥļïḑè">
              <a:extLst>
                <a:ext uri="{FF2B5EF4-FFF2-40B4-BE49-F238E27FC236}">
                  <a16:creationId xmlns:a16="http://schemas.microsoft.com/office/drawing/2014/main" id="{299B99E0-FB95-4623-88B1-6057CBBE2BDC}"/>
                </a:ext>
              </a:extLst>
            </p:cNvPr>
            <p:cNvSpPr/>
            <p:nvPr/>
          </p:nvSpPr>
          <p:spPr>
            <a:xfrm>
              <a:off x="4098084" y="2173905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 dirty="0"/>
            </a:p>
          </p:txBody>
        </p:sp>
        <p:sp>
          <p:nvSpPr>
            <p:cNvPr id="768" name="daisy_67547">
              <a:extLst>
                <a:ext uri="{FF2B5EF4-FFF2-40B4-BE49-F238E27FC236}">
                  <a16:creationId xmlns:a16="http://schemas.microsoft.com/office/drawing/2014/main" id="{A6882F4D-60E2-40CF-A5F0-8705284571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09627" y="2381368"/>
              <a:ext cx="401529" cy="609685"/>
            </a:xfrm>
            <a:custGeom>
              <a:avLst/>
              <a:gdLst>
                <a:gd name="connsiteX0" fmla="*/ 327641 w 398630"/>
                <a:gd name="connsiteY0" fmla="*/ 397283 h 605283"/>
                <a:gd name="connsiteX1" fmla="*/ 398630 w 398630"/>
                <a:gd name="connsiteY1" fmla="*/ 410763 h 605283"/>
                <a:gd name="connsiteX2" fmla="*/ 352104 w 398630"/>
                <a:gd name="connsiteY2" fmla="*/ 420499 h 605283"/>
                <a:gd name="connsiteX3" fmla="*/ 338747 w 398630"/>
                <a:gd name="connsiteY3" fmla="*/ 407019 h 605283"/>
                <a:gd name="connsiteX4" fmla="*/ 327641 w 398630"/>
                <a:gd name="connsiteY4" fmla="*/ 397283 h 605283"/>
                <a:gd name="connsiteX5" fmla="*/ 271400 w 398630"/>
                <a:gd name="connsiteY5" fmla="*/ 386346 h 605283"/>
                <a:gd name="connsiteX6" fmla="*/ 311774 w 398630"/>
                <a:gd name="connsiteY6" fmla="*/ 393698 h 605283"/>
                <a:gd name="connsiteX7" fmla="*/ 331436 w 398630"/>
                <a:gd name="connsiteY7" fmla="*/ 414405 h 605283"/>
                <a:gd name="connsiteX8" fmla="*/ 338790 w 398630"/>
                <a:gd name="connsiteY8" fmla="*/ 422958 h 605283"/>
                <a:gd name="connsiteX9" fmla="*/ 297065 w 398630"/>
                <a:gd name="connsiteY9" fmla="*/ 426709 h 605283"/>
                <a:gd name="connsiteX10" fmla="*/ 284908 w 398630"/>
                <a:gd name="connsiteY10" fmla="*/ 410804 h 605283"/>
                <a:gd name="connsiteX11" fmla="*/ 271400 w 398630"/>
                <a:gd name="connsiteY11" fmla="*/ 386346 h 605283"/>
                <a:gd name="connsiteX12" fmla="*/ 223628 w 398630"/>
                <a:gd name="connsiteY12" fmla="*/ 379007 h 605283"/>
                <a:gd name="connsiteX13" fmla="*/ 262817 w 398630"/>
                <a:gd name="connsiteY13" fmla="*/ 385007 h 605283"/>
                <a:gd name="connsiteX14" fmla="*/ 283538 w 398630"/>
                <a:gd name="connsiteY14" fmla="*/ 426709 h 605283"/>
                <a:gd name="connsiteX15" fmla="*/ 245550 w 398630"/>
                <a:gd name="connsiteY15" fmla="*/ 420559 h 605283"/>
                <a:gd name="connsiteX16" fmla="*/ 223628 w 398630"/>
                <a:gd name="connsiteY16" fmla="*/ 379007 h 605283"/>
                <a:gd name="connsiteX17" fmla="*/ 200426 w 398630"/>
                <a:gd name="connsiteY17" fmla="*/ 376466 h 605283"/>
                <a:gd name="connsiteX18" fmla="*/ 214986 w 398630"/>
                <a:gd name="connsiteY18" fmla="*/ 377664 h 605283"/>
                <a:gd name="connsiteX19" fmla="*/ 213785 w 398630"/>
                <a:gd name="connsiteY19" fmla="*/ 381409 h 605283"/>
                <a:gd name="connsiteX20" fmla="*/ 229696 w 398630"/>
                <a:gd name="connsiteY20" fmla="*/ 415559 h 605283"/>
                <a:gd name="connsiteX21" fmla="*/ 194272 w 398630"/>
                <a:gd name="connsiteY21" fmla="*/ 389946 h 605283"/>
                <a:gd name="connsiteX22" fmla="*/ 196674 w 398630"/>
                <a:gd name="connsiteY22" fmla="*/ 381409 h 605283"/>
                <a:gd name="connsiteX23" fmla="*/ 200426 w 398630"/>
                <a:gd name="connsiteY23" fmla="*/ 376466 h 605283"/>
                <a:gd name="connsiteX24" fmla="*/ 371778 w 398630"/>
                <a:gd name="connsiteY24" fmla="*/ 367928 h 605283"/>
                <a:gd name="connsiteX25" fmla="*/ 390092 w 398630"/>
                <a:gd name="connsiteY25" fmla="*/ 389944 h 605283"/>
                <a:gd name="connsiteX26" fmla="*/ 358267 w 398630"/>
                <a:gd name="connsiteY26" fmla="*/ 380209 h 605283"/>
                <a:gd name="connsiteX27" fmla="*/ 371778 w 398630"/>
                <a:gd name="connsiteY27" fmla="*/ 367928 h 605283"/>
                <a:gd name="connsiteX28" fmla="*/ 344759 w 398630"/>
                <a:gd name="connsiteY28" fmla="*/ 344712 h 605283"/>
                <a:gd name="connsiteX29" fmla="*/ 363206 w 398630"/>
                <a:gd name="connsiteY29" fmla="*/ 359392 h 605283"/>
                <a:gd name="connsiteX30" fmla="*/ 344759 w 398630"/>
                <a:gd name="connsiteY30" fmla="*/ 377666 h 605283"/>
                <a:gd name="connsiteX31" fmla="*/ 310564 w 398630"/>
                <a:gd name="connsiteY31" fmla="*/ 370326 h 605283"/>
                <a:gd name="connsiteX32" fmla="*/ 344759 w 398630"/>
                <a:gd name="connsiteY32" fmla="*/ 344712 h 605283"/>
                <a:gd name="connsiteX33" fmla="*/ 308125 w 398630"/>
                <a:gd name="connsiteY33" fmla="*/ 331234 h 605283"/>
                <a:gd name="connsiteX34" fmla="*/ 332581 w 398630"/>
                <a:gd name="connsiteY34" fmla="*/ 338573 h 605283"/>
                <a:gd name="connsiteX35" fmla="*/ 293421 w 398630"/>
                <a:gd name="connsiteY35" fmla="*/ 369127 h 605283"/>
                <a:gd name="connsiteX36" fmla="*/ 262814 w 398630"/>
                <a:gd name="connsiteY36" fmla="*/ 366731 h 605283"/>
                <a:gd name="connsiteX37" fmla="*/ 292221 w 398630"/>
                <a:gd name="connsiteY37" fmla="*/ 341119 h 605283"/>
                <a:gd name="connsiteX38" fmla="*/ 286069 w 398630"/>
                <a:gd name="connsiteY38" fmla="*/ 333780 h 605283"/>
                <a:gd name="connsiteX39" fmla="*/ 248110 w 398630"/>
                <a:gd name="connsiteY39" fmla="*/ 366731 h 605283"/>
                <a:gd name="connsiteX40" fmla="*/ 208950 w 398630"/>
                <a:gd name="connsiteY40" fmla="*/ 365532 h 605283"/>
                <a:gd name="connsiteX41" fmla="*/ 308125 w 398630"/>
                <a:gd name="connsiteY41" fmla="*/ 331234 h 605283"/>
                <a:gd name="connsiteX42" fmla="*/ 124832 w 398630"/>
                <a:gd name="connsiteY42" fmla="*/ 269541 h 605283"/>
                <a:gd name="connsiteX43" fmla="*/ 130460 w 398630"/>
                <a:gd name="connsiteY43" fmla="*/ 270121 h 605283"/>
                <a:gd name="connsiteX44" fmla="*/ 124456 w 398630"/>
                <a:gd name="connsiteY44" fmla="*/ 602697 h 605283"/>
                <a:gd name="connsiteX45" fmla="*/ 110947 w 398630"/>
                <a:gd name="connsiteY45" fmla="*/ 591612 h 605283"/>
                <a:gd name="connsiteX46" fmla="*/ 159880 w 398630"/>
                <a:gd name="connsiteY46" fmla="*/ 427870 h 605283"/>
                <a:gd name="connsiteX47" fmla="*/ 121905 w 398630"/>
                <a:gd name="connsiteY47" fmla="*/ 276264 h 605283"/>
                <a:gd name="connsiteX48" fmla="*/ 124832 w 398630"/>
                <a:gd name="connsiteY48" fmla="*/ 269541 h 605283"/>
                <a:gd name="connsiteX49" fmla="*/ 131809 w 398630"/>
                <a:gd name="connsiteY49" fmla="*/ 166323 h 605283"/>
                <a:gd name="connsiteX50" fmla="*/ 150128 w 398630"/>
                <a:gd name="connsiteY50" fmla="*/ 185794 h 605283"/>
                <a:gd name="connsiteX51" fmla="*/ 142770 w 398630"/>
                <a:gd name="connsiteY51" fmla="*/ 257989 h 605283"/>
                <a:gd name="connsiteX52" fmla="*/ 110937 w 398630"/>
                <a:gd name="connsiteY52" fmla="*/ 213953 h 605283"/>
                <a:gd name="connsiteX53" fmla="*/ 113340 w 398630"/>
                <a:gd name="connsiteY53" fmla="*/ 171116 h 605283"/>
                <a:gd name="connsiteX54" fmla="*/ 131809 w 398630"/>
                <a:gd name="connsiteY54" fmla="*/ 166323 h 605283"/>
                <a:gd name="connsiteX55" fmla="*/ 86503 w 398630"/>
                <a:gd name="connsiteY55" fmla="*/ 156373 h 605283"/>
                <a:gd name="connsiteX56" fmla="*/ 96257 w 398630"/>
                <a:gd name="connsiteY56" fmla="*/ 165067 h 605283"/>
                <a:gd name="connsiteX57" fmla="*/ 91305 w 398630"/>
                <a:gd name="connsiteY57" fmla="*/ 204192 h 605283"/>
                <a:gd name="connsiteX58" fmla="*/ 76600 w 398630"/>
                <a:gd name="connsiteY58" fmla="*/ 226228 h 605283"/>
                <a:gd name="connsiteX59" fmla="*/ 50940 w 398630"/>
                <a:gd name="connsiteY59" fmla="*/ 237171 h 605283"/>
                <a:gd name="connsiteX60" fmla="*/ 32634 w 398630"/>
                <a:gd name="connsiteY60" fmla="*/ 233573 h 605283"/>
                <a:gd name="connsiteX61" fmla="*/ 86503 w 398630"/>
                <a:gd name="connsiteY61" fmla="*/ 156373 h 605283"/>
                <a:gd name="connsiteX62" fmla="*/ 175767 w 398630"/>
                <a:gd name="connsiteY62" fmla="*/ 131958 h 605283"/>
                <a:gd name="connsiteX63" fmla="*/ 222298 w 398630"/>
                <a:gd name="connsiteY63" fmla="*/ 140506 h 605283"/>
                <a:gd name="connsiteX64" fmla="*/ 241961 w 398630"/>
                <a:gd name="connsiteY64" fmla="*/ 158953 h 605283"/>
                <a:gd name="connsiteX65" fmla="*/ 246914 w 398630"/>
                <a:gd name="connsiteY65" fmla="*/ 179799 h 605283"/>
                <a:gd name="connsiteX66" fmla="*/ 190477 w 398630"/>
                <a:gd name="connsiteY66" fmla="*/ 179799 h 605283"/>
                <a:gd name="connsiteX67" fmla="*/ 147699 w 398630"/>
                <a:gd name="connsiteY67" fmla="*/ 154004 h 605283"/>
                <a:gd name="connsiteX68" fmla="*/ 159857 w 398630"/>
                <a:gd name="connsiteY68" fmla="*/ 135707 h 605283"/>
                <a:gd name="connsiteX69" fmla="*/ 175767 w 398630"/>
                <a:gd name="connsiteY69" fmla="*/ 131958 h 605283"/>
                <a:gd name="connsiteX70" fmla="*/ 120708 w 398630"/>
                <a:gd name="connsiteY70" fmla="*/ 100203 h 605283"/>
                <a:gd name="connsiteX71" fmla="*/ 123107 w 398630"/>
                <a:gd name="connsiteY71" fmla="*/ 101403 h 605283"/>
                <a:gd name="connsiteX72" fmla="*/ 140352 w 398630"/>
                <a:gd name="connsiteY72" fmla="*/ 105152 h 605283"/>
                <a:gd name="connsiteX73" fmla="*/ 150098 w 398630"/>
                <a:gd name="connsiteY73" fmla="*/ 124649 h 605283"/>
                <a:gd name="connsiteX74" fmla="*/ 148899 w 398630"/>
                <a:gd name="connsiteY74" fmla="*/ 130798 h 605283"/>
                <a:gd name="connsiteX75" fmla="*/ 135403 w 398630"/>
                <a:gd name="connsiteY75" fmla="*/ 147895 h 605283"/>
                <a:gd name="connsiteX76" fmla="*/ 126856 w 398630"/>
                <a:gd name="connsiteY76" fmla="*/ 152844 h 605283"/>
                <a:gd name="connsiteX77" fmla="*/ 109761 w 398630"/>
                <a:gd name="connsiteY77" fmla="*/ 155244 h 605283"/>
                <a:gd name="connsiteX78" fmla="*/ 104813 w 398630"/>
                <a:gd name="connsiteY78" fmla="*/ 154044 h 605283"/>
                <a:gd name="connsiteX79" fmla="*/ 93866 w 398630"/>
                <a:gd name="connsiteY79" fmla="*/ 122249 h 605283"/>
                <a:gd name="connsiteX80" fmla="*/ 120708 w 398630"/>
                <a:gd name="connsiteY80" fmla="*/ 100203 h 605283"/>
                <a:gd name="connsiteX81" fmla="*/ 28419 w 398630"/>
                <a:gd name="connsiteY81" fmla="*/ 77585 h 605283"/>
                <a:gd name="connsiteX82" fmla="*/ 48536 w 398630"/>
                <a:gd name="connsiteY82" fmla="*/ 79382 h 605283"/>
                <a:gd name="connsiteX83" fmla="*/ 87719 w 398630"/>
                <a:gd name="connsiteY83" fmla="*/ 101400 h 605283"/>
                <a:gd name="connsiteX84" fmla="*/ 76610 w 398630"/>
                <a:gd name="connsiteY84" fmla="*/ 122221 h 605283"/>
                <a:gd name="connsiteX85" fmla="*/ 77961 w 398630"/>
                <a:gd name="connsiteY85" fmla="*/ 143041 h 605283"/>
                <a:gd name="connsiteX86" fmla="*/ 66851 w 398630"/>
                <a:gd name="connsiteY86" fmla="*/ 147834 h 605283"/>
                <a:gd name="connsiteX87" fmla="*/ 20312 w 398630"/>
                <a:gd name="connsiteY87" fmla="*/ 134503 h 605283"/>
                <a:gd name="connsiteX88" fmla="*/ 1996 w 398630"/>
                <a:gd name="connsiteY88" fmla="*/ 83127 h 605283"/>
                <a:gd name="connsiteX89" fmla="*/ 1996 w 398630"/>
                <a:gd name="connsiteY89" fmla="*/ 79382 h 605283"/>
                <a:gd name="connsiteX90" fmla="*/ 28419 w 398630"/>
                <a:gd name="connsiteY90" fmla="*/ 77585 h 605283"/>
                <a:gd name="connsiteX91" fmla="*/ 217517 w 398630"/>
                <a:gd name="connsiteY91" fmla="*/ 45231 h 605283"/>
                <a:gd name="connsiteX92" fmla="*/ 219919 w 398630"/>
                <a:gd name="connsiteY92" fmla="*/ 46429 h 605283"/>
                <a:gd name="connsiteX93" fmla="*/ 216316 w 398630"/>
                <a:gd name="connsiteY93" fmla="*/ 84323 h 605283"/>
                <a:gd name="connsiteX94" fmla="*/ 195446 w 398630"/>
                <a:gd name="connsiteY94" fmla="*/ 102596 h 605283"/>
                <a:gd name="connsiteX95" fmla="*/ 161064 w 398630"/>
                <a:gd name="connsiteY95" fmla="*/ 119820 h 605283"/>
                <a:gd name="connsiteX96" fmla="*/ 146500 w 398630"/>
                <a:gd name="connsiteY96" fmla="*/ 96605 h 605283"/>
                <a:gd name="connsiteX97" fmla="*/ 217517 w 398630"/>
                <a:gd name="connsiteY97" fmla="*/ 45231 h 605283"/>
                <a:gd name="connsiteX98" fmla="*/ 125689 w 398630"/>
                <a:gd name="connsiteY98" fmla="*/ 0 h 605283"/>
                <a:gd name="connsiteX99" fmla="*/ 134245 w 398630"/>
                <a:gd name="connsiteY99" fmla="*/ 90465 h 605283"/>
                <a:gd name="connsiteX100" fmla="*/ 133044 w 398630"/>
                <a:gd name="connsiteY100" fmla="*/ 90465 h 605283"/>
                <a:gd name="connsiteX101" fmla="*/ 131843 w 398630"/>
                <a:gd name="connsiteY101" fmla="*/ 89267 h 605283"/>
                <a:gd name="connsiteX102" fmla="*/ 108578 w 398630"/>
                <a:gd name="connsiteY102" fmla="*/ 90465 h 605283"/>
                <a:gd name="connsiteX103" fmla="*/ 125689 w 398630"/>
                <a:gd name="connsiteY103" fmla="*/ 0 h 60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98630" h="605283">
                  <a:moveTo>
                    <a:pt x="327641" y="397283"/>
                  </a:moveTo>
                  <a:cubicBezTo>
                    <a:pt x="352104" y="402226"/>
                    <a:pt x="375367" y="405820"/>
                    <a:pt x="398630" y="410763"/>
                  </a:cubicBezTo>
                  <a:cubicBezTo>
                    <a:pt x="384072" y="414358"/>
                    <a:pt x="368013" y="418103"/>
                    <a:pt x="352104" y="420499"/>
                  </a:cubicBezTo>
                  <a:cubicBezTo>
                    <a:pt x="348502" y="415556"/>
                    <a:pt x="343550" y="411962"/>
                    <a:pt x="338747" y="407019"/>
                  </a:cubicBezTo>
                  <a:cubicBezTo>
                    <a:pt x="334995" y="403424"/>
                    <a:pt x="331393" y="400878"/>
                    <a:pt x="327641" y="397283"/>
                  </a:cubicBezTo>
                  <a:close/>
                  <a:moveTo>
                    <a:pt x="271400" y="386346"/>
                  </a:moveTo>
                  <a:cubicBezTo>
                    <a:pt x="284908" y="388747"/>
                    <a:pt x="298266" y="391148"/>
                    <a:pt x="311774" y="393698"/>
                  </a:cubicBezTo>
                  <a:cubicBezTo>
                    <a:pt x="317928" y="400901"/>
                    <a:pt x="324081" y="408253"/>
                    <a:pt x="331436" y="414405"/>
                  </a:cubicBezTo>
                  <a:cubicBezTo>
                    <a:pt x="333837" y="416956"/>
                    <a:pt x="336239" y="420557"/>
                    <a:pt x="338790" y="422958"/>
                  </a:cubicBezTo>
                  <a:cubicBezTo>
                    <a:pt x="324081" y="425509"/>
                    <a:pt x="310573" y="426709"/>
                    <a:pt x="297065" y="426709"/>
                  </a:cubicBezTo>
                  <a:cubicBezTo>
                    <a:pt x="292262" y="421757"/>
                    <a:pt x="288510" y="416956"/>
                    <a:pt x="284908" y="410804"/>
                  </a:cubicBezTo>
                  <a:cubicBezTo>
                    <a:pt x="279955" y="403452"/>
                    <a:pt x="275002" y="394899"/>
                    <a:pt x="271400" y="386346"/>
                  </a:cubicBezTo>
                  <a:close/>
                  <a:moveTo>
                    <a:pt x="223628" y="379007"/>
                  </a:moveTo>
                  <a:cubicBezTo>
                    <a:pt x="236991" y="380207"/>
                    <a:pt x="249304" y="382607"/>
                    <a:pt x="262817" y="385007"/>
                  </a:cubicBezTo>
                  <a:cubicBezTo>
                    <a:pt x="267622" y="399708"/>
                    <a:pt x="273778" y="414408"/>
                    <a:pt x="283538" y="426709"/>
                  </a:cubicBezTo>
                  <a:cubicBezTo>
                    <a:pt x="270175" y="425509"/>
                    <a:pt x="257862" y="424309"/>
                    <a:pt x="245550" y="420559"/>
                  </a:cubicBezTo>
                  <a:cubicBezTo>
                    <a:pt x="238343" y="405858"/>
                    <a:pt x="229634" y="393708"/>
                    <a:pt x="223628" y="379007"/>
                  </a:cubicBezTo>
                  <a:close/>
                  <a:moveTo>
                    <a:pt x="200426" y="376466"/>
                  </a:moveTo>
                  <a:cubicBezTo>
                    <a:pt x="205229" y="376466"/>
                    <a:pt x="210183" y="377664"/>
                    <a:pt x="214986" y="377664"/>
                  </a:cubicBezTo>
                  <a:cubicBezTo>
                    <a:pt x="214986" y="379012"/>
                    <a:pt x="214986" y="379012"/>
                    <a:pt x="213785" y="381409"/>
                  </a:cubicBezTo>
                  <a:cubicBezTo>
                    <a:pt x="218739" y="392343"/>
                    <a:pt x="223692" y="404625"/>
                    <a:pt x="229696" y="415559"/>
                  </a:cubicBezTo>
                  <a:cubicBezTo>
                    <a:pt x="216337" y="410766"/>
                    <a:pt x="204029" y="402228"/>
                    <a:pt x="194272" y="389946"/>
                  </a:cubicBezTo>
                  <a:cubicBezTo>
                    <a:pt x="195473" y="386352"/>
                    <a:pt x="195473" y="383805"/>
                    <a:pt x="196674" y="381409"/>
                  </a:cubicBezTo>
                  <a:cubicBezTo>
                    <a:pt x="197874" y="379012"/>
                    <a:pt x="199075" y="377664"/>
                    <a:pt x="200426" y="376466"/>
                  </a:cubicBezTo>
                  <a:close/>
                  <a:moveTo>
                    <a:pt x="371778" y="367928"/>
                  </a:moveTo>
                  <a:cubicBezTo>
                    <a:pt x="377932" y="375267"/>
                    <a:pt x="384087" y="382605"/>
                    <a:pt x="390092" y="389944"/>
                  </a:cubicBezTo>
                  <a:cubicBezTo>
                    <a:pt x="380334" y="386350"/>
                    <a:pt x="369376" y="383803"/>
                    <a:pt x="358267" y="380209"/>
                  </a:cubicBezTo>
                  <a:cubicBezTo>
                    <a:pt x="363221" y="376465"/>
                    <a:pt x="368025" y="372870"/>
                    <a:pt x="371778" y="367928"/>
                  </a:cubicBezTo>
                  <a:close/>
                  <a:moveTo>
                    <a:pt x="344759" y="344712"/>
                  </a:moveTo>
                  <a:cubicBezTo>
                    <a:pt x="350908" y="349655"/>
                    <a:pt x="357057" y="354448"/>
                    <a:pt x="363206" y="359392"/>
                  </a:cubicBezTo>
                  <a:lnTo>
                    <a:pt x="344759" y="377666"/>
                  </a:lnTo>
                  <a:cubicBezTo>
                    <a:pt x="332611" y="375269"/>
                    <a:pt x="320313" y="372873"/>
                    <a:pt x="310564" y="370326"/>
                  </a:cubicBezTo>
                  <a:cubicBezTo>
                    <a:pt x="321512" y="363136"/>
                    <a:pt x="333810" y="354448"/>
                    <a:pt x="344759" y="344712"/>
                  </a:cubicBezTo>
                  <a:close/>
                  <a:moveTo>
                    <a:pt x="308125" y="331234"/>
                  </a:moveTo>
                  <a:cubicBezTo>
                    <a:pt x="317877" y="332582"/>
                    <a:pt x="325229" y="334978"/>
                    <a:pt x="332581" y="338573"/>
                  </a:cubicBezTo>
                  <a:cubicBezTo>
                    <a:pt x="319078" y="348458"/>
                    <a:pt x="305574" y="358193"/>
                    <a:pt x="293421" y="369127"/>
                  </a:cubicBezTo>
                  <a:cubicBezTo>
                    <a:pt x="283519" y="367929"/>
                    <a:pt x="272566" y="366731"/>
                    <a:pt x="262814" y="366731"/>
                  </a:cubicBezTo>
                  <a:cubicBezTo>
                    <a:pt x="272566" y="359392"/>
                    <a:pt x="282318" y="350854"/>
                    <a:pt x="292221" y="341119"/>
                  </a:cubicBezTo>
                  <a:cubicBezTo>
                    <a:pt x="295822" y="337375"/>
                    <a:pt x="290871" y="331234"/>
                    <a:pt x="286069" y="333780"/>
                  </a:cubicBezTo>
                  <a:cubicBezTo>
                    <a:pt x="272566" y="343516"/>
                    <a:pt x="260263" y="354449"/>
                    <a:pt x="248110" y="366731"/>
                  </a:cubicBezTo>
                  <a:cubicBezTo>
                    <a:pt x="234606" y="366731"/>
                    <a:pt x="221103" y="366731"/>
                    <a:pt x="208950" y="365532"/>
                  </a:cubicBezTo>
                  <a:cubicBezTo>
                    <a:pt x="234606" y="338573"/>
                    <a:pt x="268965" y="323895"/>
                    <a:pt x="308125" y="331234"/>
                  </a:cubicBezTo>
                  <a:close/>
                  <a:moveTo>
                    <a:pt x="124832" y="269541"/>
                  </a:moveTo>
                  <a:cubicBezTo>
                    <a:pt x="126820" y="268324"/>
                    <a:pt x="129259" y="268324"/>
                    <a:pt x="130460" y="270121"/>
                  </a:cubicBezTo>
                  <a:cubicBezTo>
                    <a:pt x="206410" y="353265"/>
                    <a:pt x="201607" y="520752"/>
                    <a:pt x="124456" y="602697"/>
                  </a:cubicBezTo>
                  <a:cubicBezTo>
                    <a:pt x="117101" y="610038"/>
                    <a:pt x="107195" y="600300"/>
                    <a:pt x="110947" y="591612"/>
                  </a:cubicBezTo>
                  <a:cubicBezTo>
                    <a:pt x="136614" y="536632"/>
                    <a:pt x="159880" y="490191"/>
                    <a:pt x="159880" y="427870"/>
                  </a:cubicBezTo>
                  <a:cubicBezTo>
                    <a:pt x="159880" y="372890"/>
                    <a:pt x="140367" y="326450"/>
                    <a:pt x="121905" y="276264"/>
                  </a:cubicBezTo>
                  <a:cubicBezTo>
                    <a:pt x="121304" y="273193"/>
                    <a:pt x="122843" y="270758"/>
                    <a:pt x="124832" y="269541"/>
                  </a:cubicBezTo>
                  <a:close/>
                  <a:moveTo>
                    <a:pt x="131809" y="166323"/>
                  </a:moveTo>
                  <a:cubicBezTo>
                    <a:pt x="136614" y="173662"/>
                    <a:pt x="142770" y="181002"/>
                    <a:pt x="150128" y="185794"/>
                  </a:cubicBezTo>
                  <a:cubicBezTo>
                    <a:pt x="162440" y="210359"/>
                    <a:pt x="167245" y="235971"/>
                    <a:pt x="142770" y="257989"/>
                  </a:cubicBezTo>
                  <a:cubicBezTo>
                    <a:pt x="121899" y="255442"/>
                    <a:pt x="113340" y="231028"/>
                    <a:pt x="110937" y="213953"/>
                  </a:cubicBezTo>
                  <a:cubicBezTo>
                    <a:pt x="108535" y="199275"/>
                    <a:pt x="112139" y="185794"/>
                    <a:pt x="113340" y="171116"/>
                  </a:cubicBezTo>
                  <a:cubicBezTo>
                    <a:pt x="119496" y="171116"/>
                    <a:pt x="125653" y="168719"/>
                    <a:pt x="131809" y="166323"/>
                  </a:cubicBezTo>
                  <a:close/>
                  <a:moveTo>
                    <a:pt x="86503" y="156373"/>
                  </a:moveTo>
                  <a:cubicBezTo>
                    <a:pt x="88904" y="160121"/>
                    <a:pt x="92506" y="163718"/>
                    <a:pt x="96257" y="165067"/>
                  </a:cubicBezTo>
                  <a:cubicBezTo>
                    <a:pt x="91305" y="176010"/>
                    <a:pt x="90105" y="189502"/>
                    <a:pt x="91305" y="204192"/>
                  </a:cubicBezTo>
                  <a:cubicBezTo>
                    <a:pt x="87704" y="212737"/>
                    <a:pt x="82752" y="220082"/>
                    <a:pt x="76600" y="226228"/>
                  </a:cubicBezTo>
                  <a:cubicBezTo>
                    <a:pt x="70598" y="232224"/>
                    <a:pt x="59493" y="237171"/>
                    <a:pt x="50940" y="237171"/>
                  </a:cubicBezTo>
                  <a:cubicBezTo>
                    <a:pt x="44788" y="238370"/>
                    <a:pt x="38636" y="234772"/>
                    <a:pt x="32634" y="233573"/>
                  </a:cubicBezTo>
                  <a:cubicBezTo>
                    <a:pt x="20329" y="201644"/>
                    <a:pt x="66846" y="178409"/>
                    <a:pt x="86503" y="156373"/>
                  </a:cubicBezTo>
                  <a:close/>
                  <a:moveTo>
                    <a:pt x="175767" y="131958"/>
                  </a:moveTo>
                  <a:cubicBezTo>
                    <a:pt x="191678" y="129558"/>
                    <a:pt x="207738" y="131958"/>
                    <a:pt x="222298" y="140506"/>
                  </a:cubicBezTo>
                  <a:cubicBezTo>
                    <a:pt x="229653" y="145455"/>
                    <a:pt x="237008" y="151604"/>
                    <a:pt x="241961" y="158953"/>
                  </a:cubicBezTo>
                  <a:cubicBezTo>
                    <a:pt x="245563" y="166302"/>
                    <a:pt x="245563" y="172451"/>
                    <a:pt x="246914" y="179799"/>
                  </a:cubicBezTo>
                  <a:cubicBezTo>
                    <a:pt x="228452" y="186998"/>
                    <a:pt x="208939" y="186998"/>
                    <a:pt x="190477" y="179799"/>
                  </a:cubicBezTo>
                  <a:cubicBezTo>
                    <a:pt x="173366" y="173650"/>
                    <a:pt x="161058" y="163752"/>
                    <a:pt x="147699" y="154004"/>
                  </a:cubicBezTo>
                  <a:cubicBezTo>
                    <a:pt x="153703" y="149205"/>
                    <a:pt x="157455" y="143056"/>
                    <a:pt x="159857" y="135707"/>
                  </a:cubicBezTo>
                  <a:cubicBezTo>
                    <a:pt x="166011" y="135707"/>
                    <a:pt x="170964" y="133157"/>
                    <a:pt x="175767" y="131958"/>
                  </a:cubicBezTo>
                  <a:close/>
                  <a:moveTo>
                    <a:pt x="120708" y="100203"/>
                  </a:moveTo>
                  <a:cubicBezTo>
                    <a:pt x="121907" y="100203"/>
                    <a:pt x="121907" y="101403"/>
                    <a:pt x="123107" y="101403"/>
                  </a:cubicBezTo>
                  <a:cubicBezTo>
                    <a:pt x="129255" y="102603"/>
                    <a:pt x="135403" y="101403"/>
                    <a:pt x="140352" y="105152"/>
                  </a:cubicBezTo>
                  <a:cubicBezTo>
                    <a:pt x="147699" y="108752"/>
                    <a:pt x="151298" y="117300"/>
                    <a:pt x="150098" y="124649"/>
                  </a:cubicBezTo>
                  <a:cubicBezTo>
                    <a:pt x="148899" y="127199"/>
                    <a:pt x="148899" y="128398"/>
                    <a:pt x="148899" y="130798"/>
                  </a:cubicBezTo>
                  <a:cubicBezTo>
                    <a:pt x="146500" y="136947"/>
                    <a:pt x="141551" y="143096"/>
                    <a:pt x="135403" y="147895"/>
                  </a:cubicBezTo>
                  <a:cubicBezTo>
                    <a:pt x="131804" y="146695"/>
                    <a:pt x="128055" y="149245"/>
                    <a:pt x="126856" y="152844"/>
                  </a:cubicBezTo>
                  <a:cubicBezTo>
                    <a:pt x="120708" y="154044"/>
                    <a:pt x="115909" y="155244"/>
                    <a:pt x="109761" y="155244"/>
                  </a:cubicBezTo>
                  <a:cubicBezTo>
                    <a:pt x="108562" y="154044"/>
                    <a:pt x="106013" y="154044"/>
                    <a:pt x="104813" y="154044"/>
                  </a:cubicBezTo>
                  <a:cubicBezTo>
                    <a:pt x="93866" y="147895"/>
                    <a:pt x="88918" y="133198"/>
                    <a:pt x="93866" y="122249"/>
                  </a:cubicBezTo>
                  <a:cubicBezTo>
                    <a:pt x="98665" y="111301"/>
                    <a:pt x="109761" y="103952"/>
                    <a:pt x="120708" y="100203"/>
                  </a:cubicBezTo>
                  <a:close/>
                  <a:moveTo>
                    <a:pt x="28419" y="77585"/>
                  </a:moveTo>
                  <a:cubicBezTo>
                    <a:pt x="38365" y="77884"/>
                    <a:pt x="47260" y="78783"/>
                    <a:pt x="48536" y="79382"/>
                  </a:cubicBezTo>
                  <a:cubicBezTo>
                    <a:pt x="64449" y="84325"/>
                    <a:pt x="75409" y="92863"/>
                    <a:pt x="87719" y="101400"/>
                  </a:cubicBezTo>
                  <a:cubicBezTo>
                    <a:pt x="82765" y="106343"/>
                    <a:pt x="77961" y="113683"/>
                    <a:pt x="76610" y="122221"/>
                  </a:cubicBezTo>
                  <a:cubicBezTo>
                    <a:pt x="75409" y="129560"/>
                    <a:pt x="75409" y="136900"/>
                    <a:pt x="77961" y="143041"/>
                  </a:cubicBezTo>
                  <a:cubicBezTo>
                    <a:pt x="75409" y="144239"/>
                    <a:pt x="71805" y="146636"/>
                    <a:pt x="66851" y="147834"/>
                  </a:cubicBezTo>
                  <a:cubicBezTo>
                    <a:pt x="50938" y="147834"/>
                    <a:pt x="33823" y="144239"/>
                    <a:pt x="20312" y="134503"/>
                  </a:cubicBezTo>
                  <a:cubicBezTo>
                    <a:pt x="645" y="121022"/>
                    <a:pt x="-2958" y="105145"/>
                    <a:pt x="1996" y="83127"/>
                  </a:cubicBezTo>
                  <a:cubicBezTo>
                    <a:pt x="3197" y="81928"/>
                    <a:pt x="1996" y="80730"/>
                    <a:pt x="1996" y="79382"/>
                  </a:cubicBezTo>
                  <a:cubicBezTo>
                    <a:pt x="7476" y="77585"/>
                    <a:pt x="18473" y="77285"/>
                    <a:pt x="28419" y="77585"/>
                  </a:cubicBezTo>
                  <a:close/>
                  <a:moveTo>
                    <a:pt x="217517" y="45231"/>
                  </a:moveTo>
                  <a:cubicBezTo>
                    <a:pt x="218718" y="45231"/>
                    <a:pt x="218718" y="46429"/>
                    <a:pt x="219919" y="46429"/>
                  </a:cubicBezTo>
                  <a:cubicBezTo>
                    <a:pt x="237035" y="53768"/>
                    <a:pt x="224874" y="74587"/>
                    <a:pt x="216316" y="84323"/>
                  </a:cubicBezTo>
                  <a:cubicBezTo>
                    <a:pt x="210160" y="91662"/>
                    <a:pt x="202803" y="97803"/>
                    <a:pt x="195446" y="102596"/>
                  </a:cubicBezTo>
                  <a:cubicBezTo>
                    <a:pt x="184336" y="109935"/>
                    <a:pt x="173375" y="114877"/>
                    <a:pt x="161064" y="119820"/>
                  </a:cubicBezTo>
                  <a:cubicBezTo>
                    <a:pt x="159863" y="111283"/>
                    <a:pt x="153707" y="101397"/>
                    <a:pt x="146500" y="96605"/>
                  </a:cubicBezTo>
                  <a:cubicBezTo>
                    <a:pt x="161064" y="70843"/>
                    <a:pt x="186888" y="44033"/>
                    <a:pt x="217517" y="45231"/>
                  </a:cubicBezTo>
                  <a:close/>
                  <a:moveTo>
                    <a:pt x="125689" y="0"/>
                  </a:moveTo>
                  <a:cubicBezTo>
                    <a:pt x="155109" y="22017"/>
                    <a:pt x="140399" y="59911"/>
                    <a:pt x="134245" y="90465"/>
                  </a:cubicBezTo>
                  <a:lnTo>
                    <a:pt x="133044" y="90465"/>
                  </a:lnTo>
                  <a:cubicBezTo>
                    <a:pt x="133044" y="90465"/>
                    <a:pt x="133044" y="89267"/>
                    <a:pt x="131843" y="89267"/>
                  </a:cubicBezTo>
                  <a:cubicBezTo>
                    <a:pt x="124488" y="88069"/>
                    <a:pt x="117134" y="88069"/>
                    <a:pt x="108578" y="90465"/>
                  </a:cubicBezTo>
                  <a:cubicBezTo>
                    <a:pt x="102424" y="66051"/>
                    <a:pt x="92517" y="3595"/>
                    <a:pt x="12568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790" name="Group 789">
            <a:extLst>
              <a:ext uri="{FF2B5EF4-FFF2-40B4-BE49-F238E27FC236}">
                <a16:creationId xmlns:a16="http://schemas.microsoft.com/office/drawing/2014/main" id="{1D0C25EC-8945-404D-BC03-5EB76D2FA571}"/>
              </a:ext>
            </a:extLst>
          </p:cNvPr>
          <p:cNvGrpSpPr/>
          <p:nvPr/>
        </p:nvGrpSpPr>
        <p:grpSpPr>
          <a:xfrm>
            <a:off x="5401670" y="6894949"/>
            <a:ext cx="4004589" cy="1009573"/>
            <a:chOff x="5286021" y="1952067"/>
            <a:chExt cx="4004589" cy="1009573"/>
          </a:xfrm>
        </p:grpSpPr>
        <p:sp>
          <p:nvSpPr>
            <p:cNvPr id="769" name="iṧlïďe">
              <a:extLst>
                <a:ext uri="{FF2B5EF4-FFF2-40B4-BE49-F238E27FC236}">
                  <a16:creationId xmlns:a16="http://schemas.microsoft.com/office/drawing/2014/main" id="{2FC4BEFE-CE20-47B4-B338-01B73E0E62FA}"/>
                </a:ext>
              </a:extLst>
            </p:cNvPr>
            <p:cNvSpPr txBox="1"/>
            <p:nvPr/>
          </p:nvSpPr>
          <p:spPr bwMode="auto">
            <a:xfrm>
              <a:off x="5286021" y="1952067"/>
              <a:ext cx="4004589" cy="38565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2.  Stemming</a:t>
              </a:r>
            </a:p>
          </p:txBody>
        </p:sp>
        <p:sp>
          <p:nvSpPr>
            <p:cNvPr id="770" name="Rectangle 769">
              <a:extLst>
                <a:ext uri="{FF2B5EF4-FFF2-40B4-BE49-F238E27FC236}">
                  <a16:creationId xmlns:a16="http://schemas.microsoft.com/office/drawing/2014/main" id="{DA85B89A-8ED8-49EE-A666-D260F2B40520}"/>
                </a:ext>
              </a:extLst>
            </p:cNvPr>
            <p:cNvSpPr/>
            <p:nvPr/>
          </p:nvSpPr>
          <p:spPr>
            <a:xfrm>
              <a:off x="5286021" y="2315309"/>
              <a:ext cx="4004589" cy="646331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Stop words, e.g. : I’ve 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→ 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I have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Weird words, e.g.: </a:t>
              </a:r>
              <a:r>
                <a:rPr lang="en-US" altLang="zh-TW" dirty="0" err="1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yeeeessss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 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→ 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yes</a:t>
              </a:r>
            </a:p>
          </p:txBody>
        </p:sp>
      </p:grpSp>
      <p:grpSp>
        <p:nvGrpSpPr>
          <p:cNvPr id="791" name="Group 790">
            <a:extLst>
              <a:ext uri="{FF2B5EF4-FFF2-40B4-BE49-F238E27FC236}">
                <a16:creationId xmlns:a16="http://schemas.microsoft.com/office/drawing/2014/main" id="{2746DDD6-55DD-4235-ADE6-64AD9C6962F9}"/>
              </a:ext>
            </a:extLst>
          </p:cNvPr>
          <p:cNvGrpSpPr/>
          <p:nvPr/>
        </p:nvGrpSpPr>
        <p:grpSpPr>
          <a:xfrm>
            <a:off x="5326293" y="6959450"/>
            <a:ext cx="2715364" cy="732574"/>
            <a:chOff x="5286022" y="3436436"/>
            <a:chExt cx="2715364" cy="732574"/>
          </a:xfrm>
        </p:grpSpPr>
        <p:sp>
          <p:nvSpPr>
            <p:cNvPr id="778" name="iṧlïďe">
              <a:extLst>
                <a:ext uri="{FF2B5EF4-FFF2-40B4-BE49-F238E27FC236}">
                  <a16:creationId xmlns:a16="http://schemas.microsoft.com/office/drawing/2014/main" id="{F1352C4B-7DF3-4B72-B31A-A4A65F887025}"/>
                </a:ext>
              </a:extLst>
            </p:cNvPr>
            <p:cNvSpPr txBox="1"/>
            <p:nvPr/>
          </p:nvSpPr>
          <p:spPr bwMode="auto">
            <a:xfrm>
              <a:off x="5286022" y="3436436"/>
              <a:ext cx="2715364" cy="36933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3.  Tokenize</a:t>
              </a:r>
            </a:p>
          </p:txBody>
        </p:sp>
        <p:sp>
          <p:nvSpPr>
            <p:cNvPr id="779" name="Rectangle 778">
              <a:extLst>
                <a:ext uri="{FF2B5EF4-FFF2-40B4-BE49-F238E27FC236}">
                  <a16:creationId xmlns:a16="http://schemas.microsoft.com/office/drawing/2014/main" id="{A95B18B0-A16F-44EA-8C74-1742B363E58A}"/>
                </a:ext>
              </a:extLst>
            </p:cNvPr>
            <p:cNvSpPr/>
            <p:nvPr/>
          </p:nvSpPr>
          <p:spPr>
            <a:xfrm>
              <a:off x="5286022" y="3799678"/>
              <a:ext cx="2715364" cy="369332"/>
            </a:xfrm>
            <a:prstGeom prst="rect">
              <a:avLst/>
            </a:prstGeom>
            <a:solidFill>
              <a:schemeClr val="accent6"/>
            </a:solidFill>
          </p:spPr>
          <p:txBody>
            <a:bodyPr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Use </a:t>
              </a:r>
              <a:r>
                <a:rPr lang="en-US" altLang="zh-TW" dirty="0" err="1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TweetTokenizer</a:t>
              </a:r>
              <a:endParaRPr lang="en-US" altLang="zh-TW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784" name="Rectangle 783">
            <a:extLst>
              <a:ext uri="{FF2B5EF4-FFF2-40B4-BE49-F238E27FC236}">
                <a16:creationId xmlns:a16="http://schemas.microsoft.com/office/drawing/2014/main" id="{9FA853CB-0F50-4225-BC6C-01C48004ECBB}"/>
              </a:ext>
            </a:extLst>
          </p:cNvPr>
          <p:cNvSpPr/>
          <p:nvPr/>
        </p:nvSpPr>
        <p:spPr>
          <a:xfrm>
            <a:off x="5326293" y="1953044"/>
            <a:ext cx="6008457" cy="323165"/>
          </a:xfrm>
          <a:prstGeom prst="rect">
            <a:avLst/>
          </a:prstGeom>
        </p:spPr>
        <p:txBody>
          <a:bodyPr wrap="square" lIns="0" tIns="0" rIns="91440" bIns="45720">
            <a:spAutoFit/>
          </a:bodyPr>
          <a:lstStyle/>
          <a:p>
            <a:pPr algn="ctr"/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w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’re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t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am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d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lta!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w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 love </a:t>
            </a:r>
            <a:r>
              <a:rPr lang="en-US" altLang="zh-TW" dirty="0" err="1">
                <a:solidFill>
                  <a:schemeClr val="accent3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sooooo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much ❤</a:t>
            </a:r>
            <a:r>
              <a:rPr lang="zh-TW" altLang="en-US" dirty="0">
                <a:solidFill>
                  <a:schemeClr val="accent5"/>
                </a:solidFill>
                <a:latin typeface="Tw Cen MT" panose="020B0602020104020603" pitchFamily="34" charset="0"/>
              </a:rPr>
              <a:t>😂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#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nlpthebest</a:t>
            </a:r>
            <a:endParaRPr lang="en-US" altLang="zh-TW" sz="1600" dirty="0">
              <a:solidFill>
                <a:schemeClr val="accent3"/>
              </a:solidFill>
              <a:latin typeface="Tw Cen MT" panose="020B0602020104020603" pitchFamily="34" charset="0"/>
            </a:endParaRPr>
          </a:p>
        </p:txBody>
      </p:sp>
      <p:sp>
        <p:nvSpPr>
          <p:cNvPr id="785" name="Rectangle 784">
            <a:extLst>
              <a:ext uri="{FF2B5EF4-FFF2-40B4-BE49-F238E27FC236}">
                <a16:creationId xmlns:a16="http://schemas.microsoft.com/office/drawing/2014/main" id="{8CA92074-E5CD-4001-AEE0-DF8625C12590}"/>
              </a:ext>
            </a:extLst>
          </p:cNvPr>
          <p:cNvSpPr/>
          <p:nvPr/>
        </p:nvSpPr>
        <p:spPr>
          <a:xfrm>
            <a:off x="5401670" y="7433360"/>
            <a:ext cx="5667729" cy="323165"/>
          </a:xfrm>
          <a:prstGeom prst="rect">
            <a:avLst/>
          </a:prstGeom>
        </p:spPr>
        <p:txBody>
          <a:bodyPr wrap="square" lIns="0" tIns="0" rIns="91440" bIns="45720">
            <a:spAutoFit/>
          </a:bodyPr>
          <a:lstStyle/>
          <a:p>
            <a:pPr algn="ctr"/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we are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team delta! we love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so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much ❤</a:t>
            </a:r>
            <a:r>
              <a:rPr lang="zh-TW" altLang="en-US" dirty="0">
                <a:solidFill>
                  <a:schemeClr val="accent5"/>
                </a:solidFill>
                <a:latin typeface="Tw Cen MT" panose="020B0602020104020603" pitchFamily="34" charset="0"/>
              </a:rPr>
              <a:t>😂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#nlpthebest</a:t>
            </a:r>
            <a:endParaRPr lang="en-US" altLang="zh-TW" sz="1600" dirty="0">
              <a:solidFill>
                <a:schemeClr val="accent5"/>
              </a:solidFill>
              <a:latin typeface="Tw Cen MT" panose="020B0602020104020603" pitchFamily="34" charset="0"/>
            </a:endParaRPr>
          </a:p>
        </p:txBody>
      </p:sp>
      <p:grpSp>
        <p:nvGrpSpPr>
          <p:cNvPr id="793" name="îSľíḍé">
            <a:extLst>
              <a:ext uri="{FF2B5EF4-FFF2-40B4-BE49-F238E27FC236}">
                <a16:creationId xmlns:a16="http://schemas.microsoft.com/office/drawing/2014/main" id="{8BBE2A94-E5C8-49BD-8E16-433DD93064C0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794" name="ïṧlîḓe">
              <a:extLst>
                <a:ext uri="{FF2B5EF4-FFF2-40B4-BE49-F238E27FC236}">
                  <a16:creationId xmlns:a16="http://schemas.microsoft.com/office/drawing/2014/main" id="{912768B2-683F-4FCE-9E49-8863B46565A1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795" name="iṡliḓè">
              <a:extLst>
                <a:ext uri="{FF2B5EF4-FFF2-40B4-BE49-F238E27FC236}">
                  <a16:creationId xmlns:a16="http://schemas.microsoft.com/office/drawing/2014/main" id="{99C8D79C-C8A6-40B5-8906-BE9BFAA7EAB0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796" name="íšḻíḋè">
                <a:extLst>
                  <a:ext uri="{FF2B5EF4-FFF2-40B4-BE49-F238E27FC236}">
                    <a16:creationId xmlns:a16="http://schemas.microsoft.com/office/drawing/2014/main" id="{826319EE-14CC-4072-B52E-2116A3E71BFA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797" name="îS1iḓé">
                <a:extLst>
                  <a:ext uri="{FF2B5EF4-FFF2-40B4-BE49-F238E27FC236}">
                    <a16:creationId xmlns:a16="http://schemas.microsoft.com/office/drawing/2014/main" id="{E7B29E2B-D721-4A2D-A00E-1F9CE428BF86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817" name="Rectangle 816">
            <a:extLst>
              <a:ext uri="{FF2B5EF4-FFF2-40B4-BE49-F238E27FC236}">
                <a16:creationId xmlns:a16="http://schemas.microsoft.com/office/drawing/2014/main" id="{446B869F-E4BE-430F-AFA1-6C44DA91F067}"/>
              </a:ext>
            </a:extLst>
          </p:cNvPr>
          <p:cNvSpPr/>
          <p:nvPr/>
        </p:nvSpPr>
        <p:spPr>
          <a:xfrm>
            <a:off x="682627" y="35286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ahnschrift SemiCondensed" panose="020B0502040204020203" pitchFamily="34" charset="0"/>
              </a:rPr>
              <a:t>Pre-Processing</a:t>
            </a:r>
          </a:p>
        </p:txBody>
      </p:sp>
      <p:sp>
        <p:nvSpPr>
          <p:cNvPr id="819" name="Rectangle 818">
            <a:extLst>
              <a:ext uri="{FF2B5EF4-FFF2-40B4-BE49-F238E27FC236}">
                <a16:creationId xmlns:a16="http://schemas.microsoft.com/office/drawing/2014/main" id="{8704C69A-A599-463C-A98F-37C2670146EC}"/>
              </a:ext>
            </a:extLst>
          </p:cNvPr>
          <p:cNvSpPr/>
          <p:nvPr/>
        </p:nvSpPr>
        <p:spPr>
          <a:xfrm>
            <a:off x="682627" y="-619109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Bahnschrift SemiCondensed" panose="020B0502040204020203" pitchFamily="34" charset="0"/>
              </a:rPr>
              <a:t>Emojis</a:t>
            </a:r>
          </a:p>
        </p:txBody>
      </p:sp>
      <p:sp>
        <p:nvSpPr>
          <p:cNvPr id="339" name="iṧlïďe">
            <a:extLst>
              <a:ext uri="{FF2B5EF4-FFF2-40B4-BE49-F238E27FC236}">
                <a16:creationId xmlns:a16="http://schemas.microsoft.com/office/drawing/2014/main" id="{82AA5B7A-F809-4675-8667-9505CF851B8F}"/>
              </a:ext>
            </a:extLst>
          </p:cNvPr>
          <p:cNvSpPr txBox="1"/>
          <p:nvPr/>
        </p:nvSpPr>
        <p:spPr bwMode="auto">
          <a:xfrm>
            <a:off x="5326293" y="1411469"/>
            <a:ext cx="2715364" cy="4418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600" b="1" dirty="0"/>
              <a:t>Step 1.  Lower case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FA9B54F4-4B63-4E1E-85FE-692DC0314F89}"/>
              </a:ext>
            </a:extLst>
          </p:cNvPr>
          <p:cNvSpPr/>
          <p:nvPr/>
        </p:nvSpPr>
        <p:spPr>
          <a:xfrm>
            <a:off x="4591268" y="630180"/>
            <a:ext cx="69007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We’re Team Delta! We love NLP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sooooo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much </a:t>
            </a:r>
            <a:r>
              <a:rPr lang="zh-TW" altLang="zh-TW" sz="16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❤😂</a:t>
            </a:r>
            <a:r>
              <a:rPr lang="zh-TW" altLang="zh-TW" sz="1600" dirty="0">
                <a:solidFill>
                  <a:schemeClr val="accent5"/>
                </a:solidFill>
              </a:rPr>
              <a:t> </a:t>
            </a:r>
            <a:r>
              <a:rPr lang="en-US" altLang="zh-TW" dirty="0">
                <a:solidFill>
                  <a:schemeClr val="accent5"/>
                </a:solidFill>
              </a:rPr>
              <a:t>#NLPTHEBEST</a:t>
            </a:r>
            <a:endParaRPr lang="en-US" altLang="zh-TW" sz="1600" dirty="0">
              <a:solidFill>
                <a:schemeClr val="accent5"/>
              </a:solidFill>
              <a:latin typeface="Tw Cen MT" panose="020B06020201040206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58769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Rectangle 337">
            <a:extLst>
              <a:ext uri="{FF2B5EF4-FFF2-40B4-BE49-F238E27FC236}">
                <a16:creationId xmlns:a16="http://schemas.microsoft.com/office/drawing/2014/main" id="{18C67DAA-FFCE-48F8-A25B-C28EE96861D6}"/>
              </a:ext>
            </a:extLst>
          </p:cNvPr>
          <p:cNvSpPr/>
          <p:nvPr/>
        </p:nvSpPr>
        <p:spPr>
          <a:xfrm>
            <a:off x="5122698" y="7122737"/>
            <a:ext cx="587132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[“we”, ”are”, “team”, “delta”, “!”, “we”, “love”, “</a:t>
            </a:r>
            <a:r>
              <a:rPr lang="en-US" altLang="zh-TW" dirty="0" err="1">
                <a:solidFill>
                  <a:schemeClr val="bg1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”, “so”, </a:t>
            </a:r>
          </a:p>
          <a:p>
            <a:pPr algn="ctr"/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“much”, “❤”, “</a:t>
            </a:r>
            <a:r>
              <a:rPr lang="zh-TW" altLang="en-US" dirty="0">
                <a:solidFill>
                  <a:schemeClr val="bg1"/>
                </a:solidFill>
                <a:latin typeface="Tw Cen MT" panose="020B0602020104020603" pitchFamily="34" charset="0"/>
              </a:rPr>
              <a:t>😂”</a:t>
            </a:r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, “#</a:t>
            </a:r>
            <a:r>
              <a:rPr lang="en-US" altLang="zh-TW" dirty="0" err="1">
                <a:solidFill>
                  <a:schemeClr val="bg1"/>
                </a:solidFill>
                <a:latin typeface="Tw Cen MT" panose="020B0602020104020603" pitchFamily="34" charset="0"/>
              </a:rPr>
              <a:t>nlpthebest</a:t>
            </a:r>
            <a:r>
              <a:rPr lang="en-US" altLang="zh-TW" dirty="0">
                <a:solidFill>
                  <a:schemeClr val="bg1"/>
                </a:solidFill>
                <a:latin typeface="Tw Cen MT" panose="020B0602020104020603" pitchFamily="34" charset="0"/>
              </a:rPr>
              <a:t>”]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B5C2C9-7B3E-47B0-801C-C00DD7FEF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7" name="ïšlï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hidden="1" title="iSlide™ 版权声明  COPYRIGHT NOTICE">
            <a:extLst>
              <a:ext uri="{FF2B5EF4-FFF2-40B4-BE49-F238E27FC236}">
                <a16:creationId xmlns:a16="http://schemas.microsoft.com/office/drawing/2014/main" id="{B330D365-5F4F-40C8-8925-C17F9275C003}"/>
              </a:ext>
            </a:extLst>
          </p:cNvPr>
          <p:cNvGrpSpPr>
            <a:grpSpLocks noChangeAspect="1"/>
          </p:cNvGrpSpPr>
          <p:nvPr/>
        </p:nvGrpSpPr>
        <p:grpSpPr>
          <a:xfrm>
            <a:off x="390007" y="2653887"/>
            <a:ext cx="3409531" cy="2384210"/>
            <a:chOff x="3951288" y="2505075"/>
            <a:chExt cx="4397375" cy="3074988"/>
          </a:xfrm>
        </p:grpSpPr>
        <p:sp>
          <p:nvSpPr>
            <p:cNvPr id="45" name="íşľiďê">
              <a:extLst>
                <a:ext uri="{FF2B5EF4-FFF2-40B4-BE49-F238E27FC236}">
                  <a16:creationId xmlns:a16="http://schemas.microsoft.com/office/drawing/2014/main" id="{89D8F306-DCBF-4C36-B21C-654D222DF399}"/>
                </a:ext>
              </a:extLst>
            </p:cNvPr>
            <p:cNvSpPr/>
            <p:nvPr/>
          </p:nvSpPr>
          <p:spPr bwMode="auto">
            <a:xfrm>
              <a:off x="3951288" y="4794250"/>
              <a:ext cx="4397375" cy="701675"/>
            </a:xfrm>
            <a:custGeom>
              <a:avLst/>
              <a:gdLst>
                <a:gd name="T0" fmla="*/ 3047 w 3645"/>
                <a:gd name="T1" fmla="*/ 0 h 582"/>
                <a:gd name="T2" fmla="*/ 1271 w 3645"/>
                <a:gd name="T3" fmla="*/ 17 h 582"/>
                <a:gd name="T4" fmla="*/ 1118 w 3645"/>
                <a:gd name="T5" fmla="*/ 452 h 582"/>
                <a:gd name="T6" fmla="*/ 1019 w 3645"/>
                <a:gd name="T7" fmla="*/ 452 h 582"/>
                <a:gd name="T8" fmla="*/ 1083 w 3645"/>
                <a:gd name="T9" fmla="*/ 19 h 582"/>
                <a:gd name="T10" fmla="*/ 63 w 3645"/>
                <a:gd name="T11" fmla="*/ 29 h 582"/>
                <a:gd name="T12" fmla="*/ 31 w 3645"/>
                <a:gd name="T13" fmla="*/ 103 h 582"/>
                <a:gd name="T14" fmla="*/ 469 w 3645"/>
                <a:gd name="T15" fmla="*/ 485 h 582"/>
                <a:gd name="T16" fmla="*/ 732 w 3645"/>
                <a:gd name="T17" fmla="*/ 582 h 582"/>
                <a:gd name="T18" fmla="*/ 3244 w 3645"/>
                <a:gd name="T19" fmla="*/ 582 h 582"/>
                <a:gd name="T20" fmla="*/ 3463 w 3645"/>
                <a:gd name="T21" fmla="*/ 254 h 582"/>
                <a:gd name="T22" fmla="*/ 3047 w 3645"/>
                <a:gd name="T23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45" h="582">
                  <a:moveTo>
                    <a:pt x="3047" y="0"/>
                  </a:moveTo>
                  <a:cubicBezTo>
                    <a:pt x="1271" y="17"/>
                    <a:pt x="1271" y="17"/>
                    <a:pt x="1271" y="17"/>
                  </a:cubicBezTo>
                  <a:cubicBezTo>
                    <a:pt x="1118" y="452"/>
                    <a:pt x="1118" y="452"/>
                    <a:pt x="1118" y="452"/>
                  </a:cubicBezTo>
                  <a:cubicBezTo>
                    <a:pt x="1019" y="452"/>
                    <a:pt x="1019" y="452"/>
                    <a:pt x="1019" y="452"/>
                  </a:cubicBezTo>
                  <a:cubicBezTo>
                    <a:pt x="1083" y="19"/>
                    <a:pt x="1083" y="19"/>
                    <a:pt x="1083" y="1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20" y="29"/>
                    <a:pt x="0" y="77"/>
                    <a:pt x="31" y="103"/>
                  </a:cubicBezTo>
                  <a:cubicBezTo>
                    <a:pt x="469" y="485"/>
                    <a:pt x="469" y="485"/>
                    <a:pt x="469" y="485"/>
                  </a:cubicBezTo>
                  <a:cubicBezTo>
                    <a:pt x="540" y="547"/>
                    <a:pt x="634" y="582"/>
                    <a:pt x="732" y="582"/>
                  </a:cubicBezTo>
                  <a:cubicBezTo>
                    <a:pt x="3244" y="582"/>
                    <a:pt x="3244" y="582"/>
                    <a:pt x="3244" y="582"/>
                  </a:cubicBezTo>
                  <a:cubicBezTo>
                    <a:pt x="3469" y="582"/>
                    <a:pt x="3645" y="373"/>
                    <a:pt x="3463" y="254"/>
                  </a:cubicBezTo>
                  <a:cubicBezTo>
                    <a:pt x="3047" y="0"/>
                    <a:pt x="3047" y="0"/>
                    <a:pt x="3047" y="0"/>
                  </a:cubicBezTo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šļídè">
              <a:extLst>
                <a:ext uri="{FF2B5EF4-FFF2-40B4-BE49-F238E27FC236}">
                  <a16:creationId xmlns:a16="http://schemas.microsoft.com/office/drawing/2014/main" id="{B0B9B306-34E6-453E-9682-FFC33BB997D3}"/>
                </a:ext>
              </a:extLst>
            </p:cNvPr>
            <p:cNvSpPr/>
            <p:nvPr/>
          </p:nvSpPr>
          <p:spPr bwMode="auto">
            <a:xfrm>
              <a:off x="4156075" y="3217863"/>
              <a:ext cx="1736725" cy="1066800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ṧḻîďé">
              <a:extLst>
                <a:ext uri="{FF2B5EF4-FFF2-40B4-BE49-F238E27FC236}">
                  <a16:creationId xmlns:a16="http://schemas.microsoft.com/office/drawing/2014/main" id="{4B1FC5EC-E1EB-4376-A235-4B22530EDB1A}"/>
                </a:ext>
              </a:extLst>
            </p:cNvPr>
            <p:cNvSpPr/>
            <p:nvPr/>
          </p:nvSpPr>
          <p:spPr bwMode="auto">
            <a:xfrm>
              <a:off x="5892800" y="3217863"/>
              <a:ext cx="1736725" cy="1069975"/>
            </a:xfrm>
            <a:custGeom>
              <a:avLst/>
              <a:gdLst>
                <a:gd name="T0" fmla="*/ 0 w 1440"/>
                <a:gd name="T1" fmla="*/ 888 h 888"/>
                <a:gd name="T2" fmla="*/ 0 w 1440"/>
                <a:gd name="T3" fmla="*/ 174 h 888"/>
                <a:gd name="T4" fmla="*/ 174 w 1440"/>
                <a:gd name="T5" fmla="*/ 0 h 888"/>
                <a:gd name="T6" fmla="*/ 1266 w 1440"/>
                <a:gd name="T7" fmla="*/ 0 h 888"/>
                <a:gd name="T8" fmla="*/ 1440 w 1440"/>
                <a:gd name="T9" fmla="*/ 174 h 888"/>
                <a:gd name="T10" fmla="*/ 1440 w 1440"/>
                <a:gd name="T11" fmla="*/ 886 h 888"/>
                <a:gd name="T12" fmla="*/ 0 w 1440"/>
                <a:gd name="T13" fmla="*/ 88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0" h="888">
                  <a:moveTo>
                    <a:pt x="0" y="888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6" y="0"/>
                    <a:pt x="1266" y="0"/>
                    <a:pt x="1266" y="0"/>
                  </a:cubicBezTo>
                  <a:cubicBezTo>
                    <a:pt x="1362" y="0"/>
                    <a:pt x="1440" y="78"/>
                    <a:pt x="1440" y="174"/>
                  </a:cubicBezTo>
                  <a:cubicBezTo>
                    <a:pt x="1440" y="886"/>
                    <a:pt x="1440" y="886"/>
                    <a:pt x="1440" y="886"/>
                  </a:cubicBezTo>
                  <a:cubicBezTo>
                    <a:pt x="0" y="888"/>
                    <a:pt x="0" y="888"/>
                    <a:pt x="0" y="888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śḻíḋê">
              <a:extLst>
                <a:ext uri="{FF2B5EF4-FFF2-40B4-BE49-F238E27FC236}">
                  <a16:creationId xmlns:a16="http://schemas.microsoft.com/office/drawing/2014/main" id="{947E837F-88AE-4548-9432-98D523E882A9}"/>
                </a:ext>
              </a:extLst>
            </p:cNvPr>
            <p:cNvSpPr/>
            <p:nvPr/>
          </p:nvSpPr>
          <p:spPr bwMode="auto">
            <a:xfrm>
              <a:off x="5892800" y="3263900"/>
              <a:ext cx="1735138" cy="1023938"/>
            </a:xfrm>
            <a:custGeom>
              <a:avLst/>
              <a:gdLst>
                <a:gd name="T0" fmla="*/ 1375 w 1439"/>
                <a:gd name="T1" fmla="*/ 0 h 849"/>
                <a:gd name="T2" fmla="*/ 0 w 1439"/>
                <a:gd name="T3" fmla="*/ 849 h 849"/>
                <a:gd name="T4" fmla="*/ 1439 w 1439"/>
                <a:gd name="T5" fmla="*/ 847 h 849"/>
                <a:gd name="T6" fmla="*/ 1439 w 1439"/>
                <a:gd name="T7" fmla="*/ 135 h 849"/>
                <a:gd name="T8" fmla="*/ 1375 w 1439"/>
                <a:gd name="T9" fmla="*/ 0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9" h="849">
                  <a:moveTo>
                    <a:pt x="1375" y="0"/>
                  </a:moveTo>
                  <a:cubicBezTo>
                    <a:pt x="0" y="849"/>
                    <a:pt x="0" y="849"/>
                    <a:pt x="0" y="849"/>
                  </a:cubicBezTo>
                  <a:cubicBezTo>
                    <a:pt x="1439" y="847"/>
                    <a:pt x="1439" y="847"/>
                    <a:pt x="1439" y="847"/>
                  </a:cubicBezTo>
                  <a:cubicBezTo>
                    <a:pt x="1439" y="135"/>
                    <a:pt x="1439" y="135"/>
                    <a:pt x="1439" y="135"/>
                  </a:cubicBezTo>
                  <a:cubicBezTo>
                    <a:pt x="1439" y="81"/>
                    <a:pt x="1414" y="32"/>
                    <a:pt x="1375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ś1ide">
              <a:extLst>
                <a:ext uri="{FF2B5EF4-FFF2-40B4-BE49-F238E27FC236}">
                  <a16:creationId xmlns:a16="http://schemas.microsoft.com/office/drawing/2014/main" id="{8E358758-E0BA-4531-A352-7C247580CA28}"/>
                </a:ext>
              </a:extLst>
            </p:cNvPr>
            <p:cNvSpPr/>
            <p:nvPr/>
          </p:nvSpPr>
          <p:spPr bwMode="auto">
            <a:xfrm>
              <a:off x="4156075" y="3259138"/>
              <a:ext cx="1736725" cy="1025525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ŝḻide">
              <a:extLst>
                <a:ext uri="{FF2B5EF4-FFF2-40B4-BE49-F238E27FC236}">
                  <a16:creationId xmlns:a16="http://schemas.microsoft.com/office/drawing/2014/main" id="{07072112-6490-40A6-B078-53AB0C48AD61}"/>
                </a:ext>
              </a:extLst>
            </p:cNvPr>
            <p:cNvSpPr/>
            <p:nvPr/>
          </p:nvSpPr>
          <p:spPr bwMode="auto">
            <a:xfrm>
              <a:off x="4318000" y="4718050"/>
              <a:ext cx="180975" cy="322263"/>
            </a:xfrm>
            <a:custGeom>
              <a:avLst/>
              <a:gdLst>
                <a:gd name="T0" fmla="*/ 57 w 114"/>
                <a:gd name="T1" fmla="*/ 1 h 203"/>
                <a:gd name="T2" fmla="*/ 0 w 114"/>
                <a:gd name="T3" fmla="*/ 0 h 203"/>
                <a:gd name="T4" fmla="*/ 23 w 114"/>
                <a:gd name="T5" fmla="*/ 203 h 203"/>
                <a:gd name="T6" fmla="*/ 53 w 114"/>
                <a:gd name="T7" fmla="*/ 203 h 203"/>
                <a:gd name="T8" fmla="*/ 61 w 114"/>
                <a:gd name="T9" fmla="*/ 203 h 203"/>
                <a:gd name="T10" fmla="*/ 91 w 114"/>
                <a:gd name="T11" fmla="*/ 203 h 203"/>
                <a:gd name="T12" fmla="*/ 114 w 114"/>
                <a:gd name="T13" fmla="*/ 0 h 203"/>
                <a:gd name="T14" fmla="*/ 57 w 114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203">
                  <a:moveTo>
                    <a:pt x="57" y="1"/>
                  </a:moveTo>
                  <a:lnTo>
                    <a:pt x="0" y="0"/>
                  </a:lnTo>
                  <a:lnTo>
                    <a:pt x="23" y="203"/>
                  </a:lnTo>
                  <a:lnTo>
                    <a:pt x="53" y="203"/>
                  </a:lnTo>
                  <a:lnTo>
                    <a:pt x="61" y="203"/>
                  </a:lnTo>
                  <a:lnTo>
                    <a:pt x="91" y="203"/>
                  </a:lnTo>
                  <a:lnTo>
                    <a:pt x="114" y="0"/>
                  </a:lnTo>
                  <a:lnTo>
                    <a:pt x="57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ľïďè">
              <a:extLst>
                <a:ext uri="{FF2B5EF4-FFF2-40B4-BE49-F238E27FC236}">
                  <a16:creationId xmlns:a16="http://schemas.microsoft.com/office/drawing/2014/main" id="{F9465839-55E5-46EB-9EDA-17935A929D08}"/>
                </a:ext>
              </a:extLst>
            </p:cNvPr>
            <p:cNvSpPr/>
            <p:nvPr/>
          </p:nvSpPr>
          <p:spPr bwMode="auto">
            <a:xfrm>
              <a:off x="7285038" y="4718050"/>
              <a:ext cx="182563" cy="322263"/>
            </a:xfrm>
            <a:custGeom>
              <a:avLst/>
              <a:gdLst>
                <a:gd name="T0" fmla="*/ 58 w 115"/>
                <a:gd name="T1" fmla="*/ 1 h 203"/>
                <a:gd name="T2" fmla="*/ 0 w 115"/>
                <a:gd name="T3" fmla="*/ 0 h 203"/>
                <a:gd name="T4" fmla="*/ 24 w 115"/>
                <a:gd name="T5" fmla="*/ 203 h 203"/>
                <a:gd name="T6" fmla="*/ 54 w 115"/>
                <a:gd name="T7" fmla="*/ 203 h 203"/>
                <a:gd name="T8" fmla="*/ 62 w 115"/>
                <a:gd name="T9" fmla="*/ 203 h 203"/>
                <a:gd name="T10" fmla="*/ 92 w 115"/>
                <a:gd name="T11" fmla="*/ 203 h 203"/>
                <a:gd name="T12" fmla="*/ 115 w 115"/>
                <a:gd name="T13" fmla="*/ 0 h 203"/>
                <a:gd name="T14" fmla="*/ 58 w 115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203">
                  <a:moveTo>
                    <a:pt x="58" y="1"/>
                  </a:moveTo>
                  <a:lnTo>
                    <a:pt x="0" y="0"/>
                  </a:lnTo>
                  <a:lnTo>
                    <a:pt x="24" y="203"/>
                  </a:lnTo>
                  <a:lnTo>
                    <a:pt x="54" y="203"/>
                  </a:lnTo>
                  <a:lnTo>
                    <a:pt x="62" y="203"/>
                  </a:lnTo>
                  <a:lnTo>
                    <a:pt x="92" y="203"/>
                  </a:lnTo>
                  <a:lnTo>
                    <a:pt x="115" y="0"/>
                  </a:lnTo>
                  <a:lnTo>
                    <a:pt x="58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$1íďe">
              <a:extLst>
                <a:ext uri="{FF2B5EF4-FFF2-40B4-BE49-F238E27FC236}">
                  <a16:creationId xmlns:a16="http://schemas.microsoft.com/office/drawing/2014/main" id="{337E0033-2AD9-4F19-88D0-7303AC14EDC8}"/>
                </a:ext>
              </a:extLst>
            </p:cNvPr>
            <p:cNvSpPr/>
            <p:nvPr/>
          </p:nvSpPr>
          <p:spPr bwMode="auto">
            <a:xfrm>
              <a:off x="4473575" y="4622800"/>
              <a:ext cx="2900363" cy="204788"/>
            </a:xfrm>
            <a:prstGeom prst="rect">
              <a:avLst/>
            </a:pr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sḻïḓê">
              <a:extLst>
                <a:ext uri="{FF2B5EF4-FFF2-40B4-BE49-F238E27FC236}">
                  <a16:creationId xmlns:a16="http://schemas.microsoft.com/office/drawing/2014/main" id="{32FA38A7-D1B0-499C-93BB-76023B00F2D8}"/>
                </a:ext>
              </a:extLst>
            </p:cNvPr>
            <p:cNvSpPr/>
            <p:nvPr/>
          </p:nvSpPr>
          <p:spPr bwMode="auto">
            <a:xfrm>
              <a:off x="4160838" y="4284663"/>
              <a:ext cx="3475038" cy="244475"/>
            </a:xfrm>
            <a:custGeom>
              <a:avLst/>
              <a:gdLst>
                <a:gd name="T0" fmla="*/ 0 w 2189"/>
                <a:gd name="T1" fmla="*/ 154 h 154"/>
                <a:gd name="T2" fmla="*/ 2189 w 2189"/>
                <a:gd name="T3" fmla="*/ 154 h 154"/>
                <a:gd name="T4" fmla="*/ 2085 w 2189"/>
                <a:gd name="T5" fmla="*/ 0 h 154"/>
                <a:gd name="T6" fmla="*/ 99 w 2189"/>
                <a:gd name="T7" fmla="*/ 0 h 154"/>
                <a:gd name="T8" fmla="*/ 0 w 2189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9" h="154">
                  <a:moveTo>
                    <a:pt x="0" y="154"/>
                  </a:moveTo>
                  <a:lnTo>
                    <a:pt x="2189" y="154"/>
                  </a:lnTo>
                  <a:lnTo>
                    <a:pt x="2085" y="0"/>
                  </a:lnTo>
                  <a:lnTo>
                    <a:pt x="99" y="0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8C9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šḷîḍé">
              <a:extLst>
                <a:ext uri="{FF2B5EF4-FFF2-40B4-BE49-F238E27FC236}">
                  <a16:creationId xmlns:a16="http://schemas.microsoft.com/office/drawing/2014/main" id="{5AD146C7-F5C2-4EA0-B46E-3C180B006E25}"/>
                </a:ext>
              </a:extLst>
            </p:cNvPr>
            <p:cNvSpPr/>
            <p:nvPr/>
          </p:nvSpPr>
          <p:spPr bwMode="auto">
            <a:xfrm>
              <a:off x="4156075" y="4464050"/>
              <a:ext cx="1738313" cy="322263"/>
            </a:xfrm>
            <a:custGeom>
              <a:avLst/>
              <a:gdLst>
                <a:gd name="T0" fmla="*/ 1374 w 1441"/>
                <a:gd name="T1" fmla="*/ 268 h 268"/>
                <a:gd name="T2" fmla="*/ 66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6 w 1441"/>
                <a:gd name="T9" fmla="*/ 0 h 268"/>
                <a:gd name="T10" fmla="*/ 1374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4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4" y="268"/>
                  </a:moveTo>
                  <a:cubicBezTo>
                    <a:pt x="66" y="268"/>
                    <a:pt x="66" y="268"/>
                    <a:pt x="66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374" y="0"/>
                    <a:pt x="1374" y="0"/>
                    <a:pt x="1374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4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$ḷíḍè">
              <a:extLst>
                <a:ext uri="{FF2B5EF4-FFF2-40B4-BE49-F238E27FC236}">
                  <a16:creationId xmlns:a16="http://schemas.microsoft.com/office/drawing/2014/main" id="{5BF00A61-3C99-4137-9DF7-0A16EF80C2B3}"/>
                </a:ext>
              </a:extLst>
            </p:cNvPr>
            <p:cNvSpPr/>
            <p:nvPr/>
          </p:nvSpPr>
          <p:spPr bwMode="auto">
            <a:xfrm>
              <a:off x="5889625" y="4464050"/>
              <a:ext cx="1738313" cy="322263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5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ṧḷîdê">
              <a:extLst>
                <a:ext uri="{FF2B5EF4-FFF2-40B4-BE49-F238E27FC236}">
                  <a16:creationId xmlns:a16="http://schemas.microsoft.com/office/drawing/2014/main" id="{D4F561B4-C8F6-4D8B-8500-4B45465D9AD1}"/>
                </a:ext>
              </a:extLst>
            </p:cNvPr>
            <p:cNvSpPr/>
            <p:nvPr/>
          </p:nvSpPr>
          <p:spPr bwMode="auto">
            <a:xfrm>
              <a:off x="7472363" y="3776663"/>
              <a:ext cx="322263" cy="1016000"/>
            </a:xfrm>
            <a:custGeom>
              <a:avLst/>
              <a:gdLst>
                <a:gd name="T0" fmla="*/ 67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7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7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7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8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8" y="0"/>
                    <a:pt x="20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30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30" y="843"/>
                    <a:pt x="67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ṥľíde">
              <a:extLst>
                <a:ext uri="{FF2B5EF4-FFF2-40B4-BE49-F238E27FC236}">
                  <a16:creationId xmlns:a16="http://schemas.microsoft.com/office/drawing/2014/main" id="{BF5F832D-C821-4A11-816E-C12489F78179}"/>
                </a:ext>
              </a:extLst>
            </p:cNvPr>
            <p:cNvSpPr/>
            <p:nvPr/>
          </p:nvSpPr>
          <p:spPr bwMode="auto">
            <a:xfrm>
              <a:off x="3995738" y="3776663"/>
              <a:ext cx="322263" cy="1016000"/>
            </a:xfrm>
            <a:custGeom>
              <a:avLst/>
              <a:gdLst>
                <a:gd name="T0" fmla="*/ 66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6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6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6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7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7" y="0"/>
                    <a:pt x="201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9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29" y="843"/>
                    <a:pt x="66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śľïde">
              <a:extLst>
                <a:ext uri="{FF2B5EF4-FFF2-40B4-BE49-F238E27FC236}">
                  <a16:creationId xmlns:a16="http://schemas.microsoft.com/office/drawing/2014/main" id="{FC5C8F7B-0CE8-46FC-B170-90FE664DBD0B}"/>
                </a:ext>
              </a:extLst>
            </p:cNvPr>
            <p:cNvSpPr/>
            <p:nvPr/>
          </p:nvSpPr>
          <p:spPr bwMode="auto">
            <a:xfrm>
              <a:off x="4256088" y="3676650"/>
              <a:ext cx="773113" cy="676275"/>
            </a:xfrm>
            <a:custGeom>
              <a:avLst/>
              <a:gdLst>
                <a:gd name="T0" fmla="*/ 112 w 640"/>
                <a:gd name="T1" fmla="*/ 560 h 561"/>
                <a:gd name="T2" fmla="*/ 415 w 640"/>
                <a:gd name="T3" fmla="*/ 511 h 561"/>
                <a:gd name="T4" fmla="*/ 426 w 640"/>
                <a:gd name="T5" fmla="*/ 510 h 561"/>
                <a:gd name="T6" fmla="*/ 597 w 640"/>
                <a:gd name="T7" fmla="*/ 532 h 561"/>
                <a:gd name="T8" fmla="*/ 640 w 640"/>
                <a:gd name="T9" fmla="*/ 495 h 561"/>
                <a:gd name="T10" fmla="*/ 638 w 640"/>
                <a:gd name="T11" fmla="*/ 484 h 561"/>
                <a:gd name="T12" fmla="*/ 584 w 640"/>
                <a:gd name="T13" fmla="*/ 176 h 561"/>
                <a:gd name="T14" fmla="*/ 584 w 640"/>
                <a:gd name="T15" fmla="*/ 42 h 561"/>
                <a:gd name="T16" fmla="*/ 536 w 640"/>
                <a:gd name="T17" fmla="*/ 7 h 561"/>
                <a:gd name="T18" fmla="*/ 495 w 640"/>
                <a:gd name="T19" fmla="*/ 18 h 561"/>
                <a:gd name="T20" fmla="*/ 485 w 640"/>
                <a:gd name="T21" fmla="*/ 19 h 561"/>
                <a:gd name="T22" fmla="*/ 40 w 640"/>
                <a:gd name="T23" fmla="*/ 19 h 561"/>
                <a:gd name="T24" fmla="*/ 3 w 640"/>
                <a:gd name="T25" fmla="*/ 48 h 561"/>
                <a:gd name="T26" fmla="*/ 2 w 640"/>
                <a:gd name="T27" fmla="*/ 53 h 561"/>
                <a:gd name="T28" fmla="*/ 4 w 640"/>
                <a:gd name="T29" fmla="*/ 75 h 561"/>
                <a:gd name="T30" fmla="*/ 62 w 640"/>
                <a:gd name="T31" fmla="*/ 346 h 561"/>
                <a:gd name="T32" fmla="*/ 63 w 640"/>
                <a:gd name="T33" fmla="*/ 520 h 561"/>
                <a:gd name="T34" fmla="*/ 85 w 640"/>
                <a:gd name="T35" fmla="*/ 555 h 561"/>
                <a:gd name="T36" fmla="*/ 90 w 640"/>
                <a:gd name="T37" fmla="*/ 557 h 561"/>
                <a:gd name="T38" fmla="*/ 112 w 640"/>
                <a:gd name="T39" fmla="*/ 56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560"/>
                  </a:moveTo>
                  <a:cubicBezTo>
                    <a:pt x="415" y="511"/>
                    <a:pt x="415" y="511"/>
                    <a:pt x="415" y="511"/>
                  </a:cubicBezTo>
                  <a:cubicBezTo>
                    <a:pt x="419" y="510"/>
                    <a:pt x="422" y="510"/>
                    <a:pt x="426" y="510"/>
                  </a:cubicBezTo>
                  <a:cubicBezTo>
                    <a:pt x="597" y="532"/>
                    <a:pt x="597" y="532"/>
                    <a:pt x="597" y="532"/>
                  </a:cubicBezTo>
                  <a:cubicBezTo>
                    <a:pt x="620" y="535"/>
                    <a:pt x="640" y="518"/>
                    <a:pt x="640" y="495"/>
                  </a:cubicBezTo>
                  <a:cubicBezTo>
                    <a:pt x="640" y="491"/>
                    <a:pt x="639" y="487"/>
                    <a:pt x="638" y="484"/>
                  </a:cubicBezTo>
                  <a:cubicBezTo>
                    <a:pt x="629" y="453"/>
                    <a:pt x="581" y="294"/>
                    <a:pt x="584" y="176"/>
                  </a:cubicBezTo>
                  <a:cubicBezTo>
                    <a:pt x="586" y="114"/>
                    <a:pt x="585" y="70"/>
                    <a:pt x="584" y="42"/>
                  </a:cubicBezTo>
                  <a:cubicBezTo>
                    <a:pt x="583" y="17"/>
                    <a:pt x="560" y="0"/>
                    <a:pt x="536" y="7"/>
                  </a:cubicBezTo>
                  <a:cubicBezTo>
                    <a:pt x="495" y="18"/>
                    <a:pt x="495" y="18"/>
                    <a:pt x="495" y="18"/>
                  </a:cubicBezTo>
                  <a:cubicBezTo>
                    <a:pt x="492" y="19"/>
                    <a:pt x="489" y="19"/>
                    <a:pt x="485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2" y="19"/>
                    <a:pt x="7" y="31"/>
                    <a:pt x="3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60"/>
                    <a:pt x="1" y="68"/>
                    <a:pt x="4" y="75"/>
                  </a:cubicBezTo>
                  <a:cubicBezTo>
                    <a:pt x="17" y="110"/>
                    <a:pt x="59" y="229"/>
                    <a:pt x="62" y="346"/>
                  </a:cubicBezTo>
                  <a:cubicBezTo>
                    <a:pt x="64" y="434"/>
                    <a:pt x="64" y="490"/>
                    <a:pt x="63" y="520"/>
                  </a:cubicBezTo>
                  <a:cubicBezTo>
                    <a:pt x="63" y="535"/>
                    <a:pt x="71" y="549"/>
                    <a:pt x="85" y="555"/>
                  </a:cubicBezTo>
                  <a:cubicBezTo>
                    <a:pt x="90" y="557"/>
                    <a:pt x="90" y="557"/>
                    <a:pt x="90" y="557"/>
                  </a:cubicBezTo>
                  <a:cubicBezTo>
                    <a:pt x="97" y="560"/>
                    <a:pt x="104" y="561"/>
                    <a:pt x="112" y="560"/>
                  </a:cubicBezTo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S1ïḑe">
              <a:extLst>
                <a:ext uri="{FF2B5EF4-FFF2-40B4-BE49-F238E27FC236}">
                  <a16:creationId xmlns:a16="http://schemas.microsoft.com/office/drawing/2014/main" id="{C2F1917A-9712-4252-B4A9-6E8F0B9BAF82}"/>
                </a:ext>
              </a:extLst>
            </p:cNvPr>
            <p:cNvSpPr/>
            <p:nvPr/>
          </p:nvSpPr>
          <p:spPr bwMode="auto">
            <a:xfrm>
              <a:off x="4933950" y="4006850"/>
              <a:ext cx="95250" cy="312738"/>
            </a:xfrm>
            <a:custGeom>
              <a:avLst/>
              <a:gdLst>
                <a:gd name="T0" fmla="*/ 34 w 78"/>
                <a:gd name="T1" fmla="*/ 257 h 260"/>
                <a:gd name="T2" fmla="*/ 37 w 78"/>
                <a:gd name="T3" fmla="*/ 258 h 260"/>
                <a:gd name="T4" fmla="*/ 78 w 78"/>
                <a:gd name="T5" fmla="*/ 221 h 260"/>
                <a:gd name="T6" fmla="*/ 76 w 78"/>
                <a:gd name="T7" fmla="*/ 210 h 260"/>
                <a:gd name="T8" fmla="*/ 29 w 78"/>
                <a:gd name="T9" fmla="*/ 0 h 260"/>
                <a:gd name="T10" fmla="*/ 3 w 78"/>
                <a:gd name="T11" fmla="*/ 187 h 260"/>
                <a:gd name="T12" fmla="*/ 34 w 78"/>
                <a:gd name="T13" fmla="*/ 25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60">
                  <a:moveTo>
                    <a:pt x="34" y="257"/>
                  </a:moveTo>
                  <a:cubicBezTo>
                    <a:pt x="35" y="257"/>
                    <a:pt x="36" y="258"/>
                    <a:pt x="37" y="258"/>
                  </a:cubicBezTo>
                  <a:cubicBezTo>
                    <a:pt x="59" y="260"/>
                    <a:pt x="78" y="243"/>
                    <a:pt x="78" y="221"/>
                  </a:cubicBezTo>
                  <a:cubicBezTo>
                    <a:pt x="78" y="217"/>
                    <a:pt x="77" y="213"/>
                    <a:pt x="76" y="210"/>
                  </a:cubicBezTo>
                  <a:cubicBezTo>
                    <a:pt x="69" y="187"/>
                    <a:pt x="41" y="94"/>
                    <a:pt x="29" y="0"/>
                  </a:cubicBezTo>
                  <a:cubicBezTo>
                    <a:pt x="3" y="187"/>
                    <a:pt x="3" y="187"/>
                    <a:pt x="3" y="187"/>
                  </a:cubicBezTo>
                  <a:cubicBezTo>
                    <a:pt x="3" y="187"/>
                    <a:pt x="0" y="236"/>
                    <a:pt x="34" y="257"/>
                  </a:cubicBezTo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şļîdé">
              <a:extLst>
                <a:ext uri="{FF2B5EF4-FFF2-40B4-BE49-F238E27FC236}">
                  <a16:creationId xmlns:a16="http://schemas.microsoft.com/office/drawing/2014/main" id="{970C2D8F-5DC6-490A-A1C7-D2FE41013E6B}"/>
                </a:ext>
              </a:extLst>
            </p:cNvPr>
            <p:cNvSpPr/>
            <p:nvPr/>
          </p:nvSpPr>
          <p:spPr bwMode="auto">
            <a:xfrm>
              <a:off x="4256088" y="3706813"/>
              <a:ext cx="152400" cy="636588"/>
            </a:xfrm>
            <a:custGeom>
              <a:avLst/>
              <a:gdLst>
                <a:gd name="T0" fmla="*/ 20 w 126"/>
                <a:gd name="T1" fmla="*/ 0 h 528"/>
                <a:gd name="T2" fmla="*/ 3 w 126"/>
                <a:gd name="T3" fmla="*/ 23 h 528"/>
                <a:gd name="T4" fmla="*/ 2 w 126"/>
                <a:gd name="T5" fmla="*/ 28 h 528"/>
                <a:gd name="T6" fmla="*/ 4 w 126"/>
                <a:gd name="T7" fmla="*/ 50 h 528"/>
                <a:gd name="T8" fmla="*/ 62 w 126"/>
                <a:gd name="T9" fmla="*/ 321 h 528"/>
                <a:gd name="T10" fmla="*/ 63 w 126"/>
                <a:gd name="T11" fmla="*/ 495 h 528"/>
                <a:gd name="T12" fmla="*/ 82 w 126"/>
                <a:gd name="T13" fmla="*/ 528 h 528"/>
                <a:gd name="T14" fmla="*/ 126 w 126"/>
                <a:gd name="T15" fmla="*/ 206 h 528"/>
                <a:gd name="T16" fmla="*/ 20 w 126"/>
                <a:gd name="T1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528">
                  <a:moveTo>
                    <a:pt x="20" y="0"/>
                  </a:moveTo>
                  <a:cubicBezTo>
                    <a:pt x="12" y="5"/>
                    <a:pt x="5" y="13"/>
                    <a:pt x="3" y="2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5"/>
                    <a:pt x="1" y="43"/>
                    <a:pt x="4" y="50"/>
                  </a:cubicBezTo>
                  <a:cubicBezTo>
                    <a:pt x="17" y="85"/>
                    <a:pt x="59" y="204"/>
                    <a:pt x="62" y="321"/>
                  </a:cubicBezTo>
                  <a:cubicBezTo>
                    <a:pt x="64" y="409"/>
                    <a:pt x="64" y="466"/>
                    <a:pt x="63" y="495"/>
                  </a:cubicBezTo>
                  <a:cubicBezTo>
                    <a:pt x="63" y="509"/>
                    <a:pt x="70" y="522"/>
                    <a:pt x="82" y="528"/>
                  </a:cubicBezTo>
                  <a:cubicBezTo>
                    <a:pt x="126" y="206"/>
                    <a:pt x="126" y="206"/>
                    <a:pt x="126" y="206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ṧḷîďe">
              <a:extLst>
                <a:ext uri="{FF2B5EF4-FFF2-40B4-BE49-F238E27FC236}">
                  <a16:creationId xmlns:a16="http://schemas.microsoft.com/office/drawing/2014/main" id="{CCF0D642-55E7-4114-8D85-69231E3F2779}"/>
                </a:ext>
              </a:extLst>
            </p:cNvPr>
            <p:cNvSpPr/>
            <p:nvPr/>
          </p:nvSpPr>
          <p:spPr bwMode="auto">
            <a:xfrm>
              <a:off x="6721475" y="3649663"/>
              <a:ext cx="773113" cy="676275"/>
            </a:xfrm>
            <a:custGeom>
              <a:avLst/>
              <a:gdLst>
                <a:gd name="T0" fmla="*/ 112 w 640"/>
                <a:gd name="T1" fmla="*/ 1 h 561"/>
                <a:gd name="T2" fmla="*/ 415 w 640"/>
                <a:gd name="T3" fmla="*/ 51 h 561"/>
                <a:gd name="T4" fmla="*/ 426 w 640"/>
                <a:gd name="T5" fmla="*/ 51 h 561"/>
                <a:gd name="T6" fmla="*/ 597 w 640"/>
                <a:gd name="T7" fmla="*/ 29 h 561"/>
                <a:gd name="T8" fmla="*/ 640 w 640"/>
                <a:gd name="T9" fmla="*/ 67 h 561"/>
                <a:gd name="T10" fmla="*/ 638 w 640"/>
                <a:gd name="T11" fmla="*/ 78 h 561"/>
                <a:gd name="T12" fmla="*/ 584 w 640"/>
                <a:gd name="T13" fmla="*/ 386 h 561"/>
                <a:gd name="T14" fmla="*/ 584 w 640"/>
                <a:gd name="T15" fmla="*/ 520 h 561"/>
                <a:gd name="T16" fmla="*/ 536 w 640"/>
                <a:gd name="T17" fmla="*/ 555 h 561"/>
                <a:gd name="T18" fmla="*/ 495 w 640"/>
                <a:gd name="T19" fmla="*/ 544 h 561"/>
                <a:gd name="T20" fmla="*/ 485 w 640"/>
                <a:gd name="T21" fmla="*/ 543 h 561"/>
                <a:gd name="T22" fmla="*/ 40 w 640"/>
                <a:gd name="T23" fmla="*/ 543 h 561"/>
                <a:gd name="T24" fmla="*/ 3 w 640"/>
                <a:gd name="T25" fmla="*/ 513 h 561"/>
                <a:gd name="T26" fmla="*/ 2 w 640"/>
                <a:gd name="T27" fmla="*/ 509 h 561"/>
                <a:gd name="T28" fmla="*/ 4 w 640"/>
                <a:gd name="T29" fmla="*/ 487 h 561"/>
                <a:gd name="T30" fmla="*/ 62 w 640"/>
                <a:gd name="T31" fmla="*/ 215 h 561"/>
                <a:gd name="T32" fmla="*/ 63 w 640"/>
                <a:gd name="T33" fmla="*/ 42 h 561"/>
                <a:gd name="T34" fmla="*/ 85 w 640"/>
                <a:gd name="T35" fmla="*/ 6 h 561"/>
                <a:gd name="T36" fmla="*/ 90 w 640"/>
                <a:gd name="T37" fmla="*/ 4 h 561"/>
                <a:gd name="T38" fmla="*/ 112 w 640"/>
                <a:gd name="T39" fmla="*/ 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1"/>
                  </a:moveTo>
                  <a:cubicBezTo>
                    <a:pt x="415" y="51"/>
                    <a:pt x="415" y="51"/>
                    <a:pt x="415" y="51"/>
                  </a:cubicBezTo>
                  <a:cubicBezTo>
                    <a:pt x="419" y="51"/>
                    <a:pt x="422" y="52"/>
                    <a:pt x="426" y="51"/>
                  </a:cubicBezTo>
                  <a:cubicBezTo>
                    <a:pt x="597" y="29"/>
                    <a:pt x="597" y="29"/>
                    <a:pt x="597" y="29"/>
                  </a:cubicBezTo>
                  <a:cubicBezTo>
                    <a:pt x="620" y="26"/>
                    <a:pt x="640" y="44"/>
                    <a:pt x="640" y="67"/>
                  </a:cubicBezTo>
                  <a:cubicBezTo>
                    <a:pt x="640" y="71"/>
                    <a:pt x="639" y="74"/>
                    <a:pt x="638" y="78"/>
                  </a:cubicBezTo>
                  <a:cubicBezTo>
                    <a:pt x="629" y="109"/>
                    <a:pt x="581" y="267"/>
                    <a:pt x="584" y="386"/>
                  </a:cubicBezTo>
                  <a:cubicBezTo>
                    <a:pt x="586" y="448"/>
                    <a:pt x="585" y="491"/>
                    <a:pt x="584" y="520"/>
                  </a:cubicBezTo>
                  <a:cubicBezTo>
                    <a:pt x="583" y="544"/>
                    <a:pt x="560" y="561"/>
                    <a:pt x="536" y="555"/>
                  </a:cubicBezTo>
                  <a:cubicBezTo>
                    <a:pt x="495" y="544"/>
                    <a:pt x="495" y="544"/>
                    <a:pt x="495" y="544"/>
                  </a:cubicBezTo>
                  <a:cubicBezTo>
                    <a:pt x="492" y="543"/>
                    <a:pt x="489" y="543"/>
                    <a:pt x="485" y="543"/>
                  </a:cubicBezTo>
                  <a:cubicBezTo>
                    <a:pt x="40" y="543"/>
                    <a:pt x="40" y="543"/>
                    <a:pt x="40" y="543"/>
                  </a:cubicBezTo>
                  <a:cubicBezTo>
                    <a:pt x="22" y="543"/>
                    <a:pt x="7" y="530"/>
                    <a:pt x="3" y="513"/>
                  </a:cubicBezTo>
                  <a:cubicBezTo>
                    <a:pt x="2" y="509"/>
                    <a:pt x="2" y="509"/>
                    <a:pt x="2" y="509"/>
                  </a:cubicBezTo>
                  <a:cubicBezTo>
                    <a:pt x="0" y="501"/>
                    <a:pt x="1" y="494"/>
                    <a:pt x="4" y="487"/>
                  </a:cubicBezTo>
                  <a:cubicBezTo>
                    <a:pt x="17" y="451"/>
                    <a:pt x="59" y="332"/>
                    <a:pt x="62" y="215"/>
                  </a:cubicBezTo>
                  <a:cubicBezTo>
                    <a:pt x="64" y="127"/>
                    <a:pt x="64" y="71"/>
                    <a:pt x="63" y="42"/>
                  </a:cubicBezTo>
                  <a:cubicBezTo>
                    <a:pt x="63" y="27"/>
                    <a:pt x="71" y="13"/>
                    <a:pt x="85" y="6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7" y="1"/>
                    <a:pt x="104" y="0"/>
                    <a:pt x="112" y="1"/>
                  </a:cubicBezTo>
                  <a:close/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ṩ1iḑe">
              <a:extLst>
                <a:ext uri="{FF2B5EF4-FFF2-40B4-BE49-F238E27FC236}">
                  <a16:creationId xmlns:a16="http://schemas.microsoft.com/office/drawing/2014/main" id="{B0F0DA45-2E66-460D-A7A3-965C8E92C4E7}"/>
                </a:ext>
              </a:extLst>
            </p:cNvPr>
            <p:cNvSpPr/>
            <p:nvPr/>
          </p:nvSpPr>
          <p:spPr bwMode="auto">
            <a:xfrm>
              <a:off x="7375525" y="3716338"/>
              <a:ext cx="119063" cy="576263"/>
            </a:xfrm>
            <a:custGeom>
              <a:avLst/>
              <a:gdLst>
                <a:gd name="T0" fmla="*/ 98 w 98"/>
                <a:gd name="T1" fmla="*/ 12 h 478"/>
                <a:gd name="T2" fmla="*/ 96 w 98"/>
                <a:gd name="T3" fmla="*/ 0 h 478"/>
                <a:gd name="T4" fmla="*/ 0 w 98"/>
                <a:gd name="T5" fmla="*/ 101 h 478"/>
                <a:gd name="T6" fmla="*/ 39 w 98"/>
                <a:gd name="T7" fmla="*/ 478 h 478"/>
                <a:gd name="T8" fmla="*/ 42 w 98"/>
                <a:gd name="T9" fmla="*/ 465 h 478"/>
                <a:gd name="T10" fmla="*/ 42 w 98"/>
                <a:gd name="T11" fmla="*/ 331 h 478"/>
                <a:gd name="T12" fmla="*/ 96 w 98"/>
                <a:gd name="T13" fmla="*/ 23 h 478"/>
                <a:gd name="T14" fmla="*/ 98 w 98"/>
                <a:gd name="T15" fmla="*/ 1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478">
                  <a:moveTo>
                    <a:pt x="98" y="12"/>
                  </a:moveTo>
                  <a:cubicBezTo>
                    <a:pt x="98" y="8"/>
                    <a:pt x="97" y="4"/>
                    <a:pt x="96" y="0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9" y="478"/>
                    <a:pt x="39" y="478"/>
                    <a:pt x="39" y="478"/>
                  </a:cubicBezTo>
                  <a:cubicBezTo>
                    <a:pt x="41" y="474"/>
                    <a:pt x="42" y="470"/>
                    <a:pt x="42" y="465"/>
                  </a:cubicBezTo>
                  <a:cubicBezTo>
                    <a:pt x="43" y="436"/>
                    <a:pt x="44" y="393"/>
                    <a:pt x="42" y="331"/>
                  </a:cubicBezTo>
                  <a:cubicBezTo>
                    <a:pt x="39" y="212"/>
                    <a:pt x="87" y="54"/>
                    <a:pt x="96" y="23"/>
                  </a:cubicBezTo>
                  <a:cubicBezTo>
                    <a:pt x="97" y="19"/>
                    <a:pt x="98" y="16"/>
                    <a:pt x="98" y="12"/>
                  </a:cubicBezTo>
                  <a:close/>
                </a:path>
              </a:pathLst>
            </a:custGeom>
            <a:solidFill>
              <a:srgbClr val="E6D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ḷîḓe">
              <a:extLst>
                <a:ext uri="{FF2B5EF4-FFF2-40B4-BE49-F238E27FC236}">
                  <a16:creationId xmlns:a16="http://schemas.microsoft.com/office/drawing/2014/main" id="{6C1D92AC-45F6-4981-BD51-826F76DFCB97}"/>
                </a:ext>
              </a:extLst>
            </p:cNvPr>
            <p:cNvSpPr/>
            <p:nvPr/>
          </p:nvSpPr>
          <p:spPr bwMode="auto">
            <a:xfrm>
              <a:off x="6797675" y="3717925"/>
              <a:ext cx="696913" cy="106363"/>
            </a:xfrm>
            <a:custGeom>
              <a:avLst/>
              <a:gdLst>
                <a:gd name="T0" fmla="*/ 246 w 577"/>
                <a:gd name="T1" fmla="*/ 86 h 89"/>
                <a:gd name="T2" fmla="*/ 568 w 577"/>
                <a:gd name="T3" fmla="*/ 46 h 89"/>
                <a:gd name="T4" fmla="*/ 575 w 577"/>
                <a:gd name="T5" fmla="*/ 22 h 89"/>
                <a:gd name="T6" fmla="*/ 577 w 577"/>
                <a:gd name="T7" fmla="*/ 14 h 89"/>
                <a:gd name="T8" fmla="*/ 243 w 577"/>
                <a:gd name="T9" fmla="*/ 38 h 89"/>
                <a:gd name="T10" fmla="*/ 0 w 577"/>
                <a:gd name="T11" fmla="*/ 0 h 89"/>
                <a:gd name="T12" fmla="*/ 1 w 577"/>
                <a:gd name="T13" fmla="*/ 47 h 89"/>
                <a:gd name="T14" fmla="*/ 246 w 577"/>
                <a:gd name="T15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" h="89">
                  <a:moveTo>
                    <a:pt x="246" y="86"/>
                  </a:moveTo>
                  <a:cubicBezTo>
                    <a:pt x="262" y="83"/>
                    <a:pt x="517" y="52"/>
                    <a:pt x="568" y="46"/>
                  </a:cubicBezTo>
                  <a:cubicBezTo>
                    <a:pt x="571" y="35"/>
                    <a:pt x="574" y="27"/>
                    <a:pt x="575" y="22"/>
                  </a:cubicBezTo>
                  <a:cubicBezTo>
                    <a:pt x="576" y="19"/>
                    <a:pt x="577" y="17"/>
                    <a:pt x="577" y="14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43" y="38"/>
                    <a:pt x="50" y="11"/>
                    <a:pt x="0" y="0"/>
                  </a:cubicBezTo>
                  <a:cubicBezTo>
                    <a:pt x="0" y="12"/>
                    <a:pt x="1" y="28"/>
                    <a:pt x="1" y="47"/>
                  </a:cubicBezTo>
                  <a:cubicBezTo>
                    <a:pt x="49" y="56"/>
                    <a:pt x="231" y="89"/>
                    <a:pt x="246" y="86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ṧ1îḍè">
              <a:extLst>
                <a:ext uri="{FF2B5EF4-FFF2-40B4-BE49-F238E27FC236}">
                  <a16:creationId xmlns:a16="http://schemas.microsoft.com/office/drawing/2014/main" id="{7187311F-AEA1-436F-B14A-7B0A68CFDE96}"/>
                </a:ext>
              </a:extLst>
            </p:cNvPr>
            <p:cNvSpPr/>
            <p:nvPr/>
          </p:nvSpPr>
          <p:spPr bwMode="auto">
            <a:xfrm>
              <a:off x="6756400" y="4071938"/>
              <a:ext cx="671513" cy="96838"/>
            </a:xfrm>
            <a:custGeom>
              <a:avLst/>
              <a:gdLst>
                <a:gd name="T0" fmla="*/ 16 w 557"/>
                <a:gd name="T1" fmla="*/ 0 h 80"/>
                <a:gd name="T2" fmla="*/ 0 w 557"/>
                <a:gd name="T3" fmla="*/ 63 h 80"/>
                <a:gd name="T4" fmla="*/ 208 w 557"/>
                <a:gd name="T5" fmla="*/ 64 h 80"/>
                <a:gd name="T6" fmla="*/ 557 w 557"/>
                <a:gd name="T7" fmla="*/ 80 h 80"/>
                <a:gd name="T8" fmla="*/ 556 w 557"/>
                <a:gd name="T9" fmla="*/ 36 h 80"/>
                <a:gd name="T10" fmla="*/ 556 w 557"/>
                <a:gd name="T11" fmla="*/ 22 h 80"/>
                <a:gd name="T12" fmla="*/ 132 w 557"/>
                <a:gd name="T13" fmla="*/ 22 h 80"/>
                <a:gd name="T14" fmla="*/ 16 w 557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7" h="80">
                  <a:moveTo>
                    <a:pt x="16" y="0"/>
                  </a:moveTo>
                  <a:cubicBezTo>
                    <a:pt x="11" y="23"/>
                    <a:pt x="6" y="44"/>
                    <a:pt x="0" y="63"/>
                  </a:cubicBezTo>
                  <a:cubicBezTo>
                    <a:pt x="74" y="64"/>
                    <a:pt x="208" y="64"/>
                    <a:pt x="208" y="64"/>
                  </a:cubicBezTo>
                  <a:cubicBezTo>
                    <a:pt x="557" y="80"/>
                    <a:pt x="557" y="80"/>
                    <a:pt x="557" y="80"/>
                  </a:cubicBezTo>
                  <a:cubicBezTo>
                    <a:pt x="557" y="67"/>
                    <a:pt x="557" y="52"/>
                    <a:pt x="556" y="36"/>
                  </a:cubicBezTo>
                  <a:cubicBezTo>
                    <a:pt x="556" y="31"/>
                    <a:pt x="556" y="27"/>
                    <a:pt x="556" y="22"/>
                  </a:cubicBezTo>
                  <a:cubicBezTo>
                    <a:pt x="132" y="22"/>
                    <a:pt x="132" y="22"/>
                    <a:pt x="132" y="22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1îḋe">
              <a:extLst>
                <a:ext uri="{FF2B5EF4-FFF2-40B4-BE49-F238E27FC236}">
                  <a16:creationId xmlns:a16="http://schemas.microsoft.com/office/drawing/2014/main" id="{3604022C-78DC-4D06-B3FE-FD94F737DB71}"/>
                </a:ext>
              </a:extLst>
            </p:cNvPr>
            <p:cNvSpPr/>
            <p:nvPr/>
          </p:nvSpPr>
          <p:spPr bwMode="auto">
            <a:xfrm>
              <a:off x="6721475" y="4203700"/>
              <a:ext cx="706438" cy="122238"/>
            </a:xfrm>
            <a:custGeom>
              <a:avLst/>
              <a:gdLst>
                <a:gd name="T0" fmla="*/ 9 w 585"/>
                <a:gd name="T1" fmla="*/ 12 h 102"/>
                <a:gd name="T2" fmla="*/ 4 w 585"/>
                <a:gd name="T3" fmla="*/ 28 h 102"/>
                <a:gd name="T4" fmla="*/ 2 w 585"/>
                <a:gd name="T5" fmla="*/ 50 h 102"/>
                <a:gd name="T6" fmla="*/ 3 w 585"/>
                <a:gd name="T7" fmla="*/ 54 h 102"/>
                <a:gd name="T8" fmla="*/ 28 w 585"/>
                <a:gd name="T9" fmla="*/ 81 h 102"/>
                <a:gd name="T10" fmla="*/ 224 w 585"/>
                <a:gd name="T11" fmla="*/ 57 h 102"/>
                <a:gd name="T12" fmla="*/ 459 w 585"/>
                <a:gd name="T13" fmla="*/ 84 h 102"/>
                <a:gd name="T14" fmla="*/ 485 w 585"/>
                <a:gd name="T15" fmla="*/ 84 h 102"/>
                <a:gd name="T16" fmla="*/ 495 w 585"/>
                <a:gd name="T17" fmla="*/ 85 h 102"/>
                <a:gd name="T18" fmla="*/ 536 w 585"/>
                <a:gd name="T19" fmla="*/ 96 h 102"/>
                <a:gd name="T20" fmla="*/ 584 w 585"/>
                <a:gd name="T21" fmla="*/ 61 h 102"/>
                <a:gd name="T22" fmla="*/ 585 w 585"/>
                <a:gd name="T23" fmla="*/ 33 h 102"/>
                <a:gd name="T24" fmla="*/ 212 w 585"/>
                <a:gd name="T25" fmla="*/ 0 h 102"/>
                <a:gd name="T26" fmla="*/ 9 w 585"/>
                <a:gd name="T27" fmla="*/ 1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5" h="102">
                  <a:moveTo>
                    <a:pt x="9" y="12"/>
                  </a:moveTo>
                  <a:cubicBezTo>
                    <a:pt x="7" y="18"/>
                    <a:pt x="5" y="24"/>
                    <a:pt x="4" y="28"/>
                  </a:cubicBezTo>
                  <a:cubicBezTo>
                    <a:pt x="1" y="35"/>
                    <a:pt x="0" y="42"/>
                    <a:pt x="2" y="50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6" y="67"/>
                    <a:pt x="16" y="77"/>
                    <a:pt x="28" y="81"/>
                  </a:cubicBezTo>
                  <a:cubicBezTo>
                    <a:pt x="224" y="57"/>
                    <a:pt x="224" y="57"/>
                    <a:pt x="224" y="57"/>
                  </a:cubicBezTo>
                  <a:cubicBezTo>
                    <a:pt x="459" y="84"/>
                    <a:pt x="459" y="84"/>
                    <a:pt x="459" y="84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9" y="84"/>
                    <a:pt x="492" y="84"/>
                    <a:pt x="495" y="85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60" y="102"/>
                    <a:pt x="583" y="85"/>
                    <a:pt x="584" y="61"/>
                  </a:cubicBezTo>
                  <a:cubicBezTo>
                    <a:pt x="584" y="53"/>
                    <a:pt x="585" y="44"/>
                    <a:pt x="585" y="3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9" y="12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ṩļîḓè">
              <a:extLst>
                <a:ext uri="{FF2B5EF4-FFF2-40B4-BE49-F238E27FC236}">
                  <a16:creationId xmlns:a16="http://schemas.microsoft.com/office/drawing/2014/main" id="{9AB61662-D791-4E7B-8B22-E73D217E41D4}"/>
                </a:ext>
              </a:extLst>
            </p:cNvPr>
            <p:cNvSpPr/>
            <p:nvPr/>
          </p:nvSpPr>
          <p:spPr bwMode="auto">
            <a:xfrm>
              <a:off x="6796088" y="3852863"/>
              <a:ext cx="661988" cy="76200"/>
            </a:xfrm>
            <a:custGeom>
              <a:avLst/>
              <a:gdLst>
                <a:gd name="T0" fmla="*/ 1 w 548"/>
                <a:gd name="T1" fmla="*/ 0 h 64"/>
                <a:gd name="T2" fmla="*/ 0 w 548"/>
                <a:gd name="T3" fmla="*/ 47 h 64"/>
                <a:gd name="T4" fmla="*/ 0 w 548"/>
                <a:gd name="T5" fmla="*/ 51 h 64"/>
                <a:gd name="T6" fmla="*/ 289 w 548"/>
                <a:gd name="T7" fmla="*/ 51 h 64"/>
                <a:gd name="T8" fmla="*/ 538 w 548"/>
                <a:gd name="T9" fmla="*/ 64 h 64"/>
                <a:gd name="T10" fmla="*/ 548 w 548"/>
                <a:gd name="T11" fmla="*/ 13 h 64"/>
                <a:gd name="T12" fmla="*/ 390 w 548"/>
                <a:gd name="T13" fmla="*/ 26 h 64"/>
                <a:gd name="T14" fmla="*/ 1 w 548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8" h="64">
                  <a:moveTo>
                    <a:pt x="1" y="0"/>
                  </a:moveTo>
                  <a:cubicBezTo>
                    <a:pt x="1" y="14"/>
                    <a:pt x="1" y="30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41" y="47"/>
                    <a:pt x="545" y="29"/>
                    <a:pt x="548" y="13"/>
                  </a:cubicBezTo>
                  <a:cubicBezTo>
                    <a:pt x="516" y="15"/>
                    <a:pt x="399" y="23"/>
                    <a:pt x="390" y="26"/>
                  </a:cubicBezTo>
                  <a:cubicBezTo>
                    <a:pt x="381" y="30"/>
                    <a:pt x="65" y="5"/>
                    <a:pt x="1" y="0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sľiḑé">
              <a:extLst>
                <a:ext uri="{FF2B5EF4-FFF2-40B4-BE49-F238E27FC236}">
                  <a16:creationId xmlns:a16="http://schemas.microsoft.com/office/drawing/2014/main" id="{83399205-5E15-4435-90D6-79F6888FDC66}"/>
                </a:ext>
              </a:extLst>
            </p:cNvPr>
            <p:cNvSpPr/>
            <p:nvPr/>
          </p:nvSpPr>
          <p:spPr bwMode="auto">
            <a:xfrm>
              <a:off x="6786563" y="3962400"/>
              <a:ext cx="652463" cy="82550"/>
            </a:xfrm>
            <a:custGeom>
              <a:avLst/>
              <a:gdLst>
                <a:gd name="T0" fmla="*/ 6 w 541"/>
                <a:gd name="T1" fmla="*/ 0 h 68"/>
                <a:gd name="T2" fmla="*/ 0 w 541"/>
                <a:gd name="T3" fmla="*/ 49 h 68"/>
                <a:gd name="T4" fmla="*/ 298 w 541"/>
                <a:gd name="T5" fmla="*/ 68 h 68"/>
                <a:gd name="T6" fmla="*/ 535 w 541"/>
                <a:gd name="T7" fmla="*/ 49 h 68"/>
                <a:gd name="T8" fmla="*/ 541 w 541"/>
                <a:gd name="T9" fmla="*/ 6 h 68"/>
                <a:gd name="T10" fmla="*/ 152 w 541"/>
                <a:gd name="T11" fmla="*/ 16 h 68"/>
                <a:gd name="T12" fmla="*/ 6 w 541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1" h="68">
                  <a:moveTo>
                    <a:pt x="6" y="0"/>
                  </a:moveTo>
                  <a:cubicBezTo>
                    <a:pt x="5" y="17"/>
                    <a:pt x="2" y="33"/>
                    <a:pt x="0" y="49"/>
                  </a:cubicBezTo>
                  <a:cubicBezTo>
                    <a:pt x="298" y="68"/>
                    <a:pt x="298" y="68"/>
                    <a:pt x="298" y="68"/>
                  </a:cubicBezTo>
                  <a:cubicBezTo>
                    <a:pt x="535" y="49"/>
                    <a:pt x="535" y="49"/>
                    <a:pt x="535" y="49"/>
                  </a:cubicBezTo>
                  <a:cubicBezTo>
                    <a:pt x="537" y="35"/>
                    <a:pt x="539" y="20"/>
                    <a:pt x="541" y="6"/>
                  </a:cubicBezTo>
                  <a:cubicBezTo>
                    <a:pt x="152" y="16"/>
                    <a:pt x="152" y="16"/>
                    <a:pt x="152" y="16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sľïḍé">
              <a:extLst>
                <a:ext uri="{FF2B5EF4-FFF2-40B4-BE49-F238E27FC236}">
                  <a16:creationId xmlns:a16="http://schemas.microsoft.com/office/drawing/2014/main" id="{3C2D2221-2116-4024-A014-C13B08E810B0}"/>
                </a:ext>
              </a:extLst>
            </p:cNvPr>
            <p:cNvSpPr/>
            <p:nvPr/>
          </p:nvSpPr>
          <p:spPr bwMode="auto">
            <a:xfrm>
              <a:off x="7432675" y="3733800"/>
              <a:ext cx="61913" cy="46038"/>
            </a:xfrm>
            <a:custGeom>
              <a:avLst/>
              <a:gdLst>
                <a:gd name="T0" fmla="*/ 44 w 51"/>
                <a:gd name="T1" fmla="*/ 24 h 37"/>
                <a:gd name="T2" fmla="*/ 45 w 51"/>
                <a:gd name="T3" fmla="*/ 20 h 37"/>
                <a:gd name="T4" fmla="*/ 46 w 51"/>
                <a:gd name="T5" fmla="*/ 19 h 37"/>
                <a:gd name="T6" fmla="*/ 47 w 51"/>
                <a:gd name="T7" fmla="*/ 16 h 37"/>
                <a:gd name="T8" fmla="*/ 47 w 51"/>
                <a:gd name="T9" fmla="*/ 15 h 37"/>
                <a:gd name="T10" fmla="*/ 48 w 51"/>
                <a:gd name="T11" fmla="*/ 12 h 37"/>
                <a:gd name="T12" fmla="*/ 48 w 51"/>
                <a:gd name="T13" fmla="*/ 11 h 37"/>
                <a:gd name="T14" fmla="*/ 49 w 51"/>
                <a:gd name="T15" fmla="*/ 8 h 37"/>
                <a:gd name="T16" fmla="*/ 50 w 51"/>
                <a:gd name="T17" fmla="*/ 4 h 37"/>
                <a:gd name="T18" fmla="*/ 50 w 51"/>
                <a:gd name="T19" fmla="*/ 4 h 37"/>
                <a:gd name="T20" fmla="*/ 51 w 51"/>
                <a:gd name="T21" fmla="*/ 0 h 37"/>
                <a:gd name="T22" fmla="*/ 34 w 51"/>
                <a:gd name="T23" fmla="*/ 1 h 37"/>
                <a:gd name="T24" fmla="*/ 0 w 51"/>
                <a:gd name="T25" fmla="*/ 37 h 37"/>
                <a:gd name="T26" fmla="*/ 42 w 51"/>
                <a:gd name="T27" fmla="*/ 32 h 37"/>
                <a:gd name="T28" fmla="*/ 43 w 51"/>
                <a:gd name="T29" fmla="*/ 30 h 37"/>
                <a:gd name="T30" fmla="*/ 44 w 51"/>
                <a:gd name="T31" fmla="*/ 26 h 37"/>
                <a:gd name="T32" fmla="*/ 44 w 51"/>
                <a:gd name="T33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37">
                  <a:moveTo>
                    <a:pt x="44" y="24"/>
                  </a:moveTo>
                  <a:cubicBezTo>
                    <a:pt x="45" y="23"/>
                    <a:pt x="45" y="22"/>
                    <a:pt x="45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8"/>
                    <a:pt x="46" y="17"/>
                    <a:pt x="47" y="16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8" y="13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50" y="7"/>
                    <a:pt x="50" y="6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2"/>
                    <a:pt x="51" y="1"/>
                    <a:pt x="51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9" y="34"/>
                    <a:pt x="33" y="33"/>
                    <a:pt x="42" y="32"/>
                  </a:cubicBezTo>
                  <a:cubicBezTo>
                    <a:pt x="42" y="31"/>
                    <a:pt x="42" y="30"/>
                    <a:pt x="43" y="30"/>
                  </a:cubicBezTo>
                  <a:cubicBezTo>
                    <a:pt x="43" y="29"/>
                    <a:pt x="43" y="28"/>
                    <a:pt x="44" y="26"/>
                  </a:cubicBezTo>
                  <a:cubicBezTo>
                    <a:pt x="44" y="26"/>
                    <a:pt x="44" y="25"/>
                    <a:pt x="44" y="24"/>
                  </a:cubicBez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ṧlíḍe">
              <a:extLst>
                <a:ext uri="{FF2B5EF4-FFF2-40B4-BE49-F238E27FC236}">
                  <a16:creationId xmlns:a16="http://schemas.microsoft.com/office/drawing/2014/main" id="{CFB2058D-8285-4D76-89C2-BB78E0D70207}"/>
                </a:ext>
              </a:extLst>
            </p:cNvPr>
            <p:cNvSpPr/>
            <p:nvPr/>
          </p:nvSpPr>
          <p:spPr bwMode="auto">
            <a:xfrm>
              <a:off x="7404100" y="4098925"/>
              <a:ext cx="23813" cy="69850"/>
            </a:xfrm>
            <a:custGeom>
              <a:avLst/>
              <a:gdLst>
                <a:gd name="T0" fmla="*/ 0 w 20"/>
                <a:gd name="T1" fmla="*/ 0 h 58"/>
                <a:gd name="T2" fmla="*/ 5 w 20"/>
                <a:gd name="T3" fmla="*/ 58 h 58"/>
                <a:gd name="T4" fmla="*/ 20 w 20"/>
                <a:gd name="T5" fmla="*/ 58 h 58"/>
                <a:gd name="T6" fmla="*/ 20 w 20"/>
                <a:gd name="T7" fmla="*/ 58 h 58"/>
                <a:gd name="T8" fmla="*/ 20 w 20"/>
                <a:gd name="T9" fmla="*/ 48 h 58"/>
                <a:gd name="T10" fmla="*/ 20 w 20"/>
                <a:gd name="T11" fmla="*/ 48 h 58"/>
                <a:gd name="T12" fmla="*/ 20 w 20"/>
                <a:gd name="T13" fmla="*/ 38 h 58"/>
                <a:gd name="T14" fmla="*/ 20 w 20"/>
                <a:gd name="T15" fmla="*/ 37 h 58"/>
                <a:gd name="T16" fmla="*/ 20 w 20"/>
                <a:gd name="T17" fmla="*/ 27 h 58"/>
                <a:gd name="T18" fmla="*/ 20 w 20"/>
                <a:gd name="T19" fmla="*/ 26 h 58"/>
                <a:gd name="T20" fmla="*/ 19 w 20"/>
                <a:gd name="T21" fmla="*/ 14 h 58"/>
                <a:gd name="T22" fmla="*/ 19 w 20"/>
                <a:gd name="T23" fmla="*/ 0 h 58"/>
                <a:gd name="T24" fmla="*/ 19 w 20"/>
                <a:gd name="T25" fmla="*/ 0 h 58"/>
                <a:gd name="T26" fmla="*/ 0 w 20"/>
                <a:gd name="T2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58">
                  <a:moveTo>
                    <a:pt x="0" y="0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5"/>
                    <a:pt x="20" y="51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5"/>
                    <a:pt x="20" y="41"/>
                    <a:pt x="20" y="38"/>
                  </a:cubicBezTo>
                  <a:cubicBezTo>
                    <a:pt x="20" y="38"/>
                    <a:pt x="20" y="37"/>
                    <a:pt x="20" y="37"/>
                  </a:cubicBezTo>
                  <a:cubicBezTo>
                    <a:pt x="20" y="34"/>
                    <a:pt x="20" y="30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2"/>
                    <a:pt x="19" y="18"/>
                    <a:pt x="19" y="14"/>
                  </a:cubicBezTo>
                  <a:cubicBezTo>
                    <a:pt x="19" y="9"/>
                    <a:pt x="19" y="5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Sľiḍè">
              <a:extLst>
                <a:ext uri="{FF2B5EF4-FFF2-40B4-BE49-F238E27FC236}">
                  <a16:creationId xmlns:a16="http://schemas.microsoft.com/office/drawing/2014/main" id="{D5EA4C9D-E556-458C-939E-8BE1BCF1F259}"/>
                </a:ext>
              </a:extLst>
            </p:cNvPr>
            <p:cNvSpPr/>
            <p:nvPr/>
          </p:nvSpPr>
          <p:spPr bwMode="auto">
            <a:xfrm>
              <a:off x="7418388" y="4241800"/>
              <a:ext cx="9525" cy="50800"/>
            </a:xfrm>
            <a:custGeom>
              <a:avLst/>
              <a:gdLst>
                <a:gd name="T0" fmla="*/ 4 w 8"/>
                <a:gd name="T1" fmla="*/ 42 h 42"/>
                <a:gd name="T2" fmla="*/ 4 w 8"/>
                <a:gd name="T3" fmla="*/ 42 h 42"/>
                <a:gd name="T4" fmla="*/ 5 w 8"/>
                <a:gd name="T5" fmla="*/ 40 h 42"/>
                <a:gd name="T6" fmla="*/ 5 w 8"/>
                <a:gd name="T7" fmla="*/ 39 h 42"/>
                <a:gd name="T8" fmla="*/ 6 w 8"/>
                <a:gd name="T9" fmla="*/ 37 h 42"/>
                <a:gd name="T10" fmla="*/ 6 w 8"/>
                <a:gd name="T11" fmla="*/ 34 h 42"/>
                <a:gd name="T12" fmla="*/ 7 w 8"/>
                <a:gd name="T13" fmla="*/ 33 h 42"/>
                <a:gd name="T14" fmla="*/ 7 w 8"/>
                <a:gd name="T15" fmla="*/ 29 h 42"/>
                <a:gd name="T16" fmla="*/ 7 w 8"/>
                <a:gd name="T17" fmla="*/ 23 h 42"/>
                <a:gd name="T18" fmla="*/ 7 w 8"/>
                <a:gd name="T19" fmla="*/ 22 h 42"/>
                <a:gd name="T20" fmla="*/ 7 w 8"/>
                <a:gd name="T21" fmla="*/ 16 h 42"/>
                <a:gd name="T22" fmla="*/ 8 w 8"/>
                <a:gd name="T23" fmla="*/ 15 h 42"/>
                <a:gd name="T24" fmla="*/ 8 w 8"/>
                <a:gd name="T25" fmla="*/ 9 h 42"/>
                <a:gd name="T26" fmla="*/ 8 w 8"/>
                <a:gd name="T27" fmla="*/ 9 h 42"/>
                <a:gd name="T28" fmla="*/ 8 w 8"/>
                <a:gd name="T29" fmla="*/ 1 h 42"/>
                <a:gd name="T30" fmla="*/ 8 w 8"/>
                <a:gd name="T31" fmla="*/ 1 h 42"/>
                <a:gd name="T32" fmla="*/ 0 w 8"/>
                <a:gd name="T33" fmla="*/ 0 h 42"/>
                <a:gd name="T34" fmla="*/ 4 w 8"/>
                <a:gd name="T3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42"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1"/>
                    <a:pt x="5" y="40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6" y="34"/>
                    <a:pt x="7" y="33"/>
                    <a:pt x="7" y="33"/>
                  </a:cubicBezTo>
                  <a:cubicBezTo>
                    <a:pt x="7" y="32"/>
                    <a:pt x="7" y="30"/>
                    <a:pt x="7" y="29"/>
                  </a:cubicBezTo>
                  <a:cubicBezTo>
                    <a:pt x="7" y="27"/>
                    <a:pt x="7" y="25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8"/>
                    <a:pt x="7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3"/>
                    <a:pt x="8" y="11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6"/>
                    <a:pt x="8" y="4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ŝ1ïḓe">
              <a:extLst>
                <a:ext uri="{FF2B5EF4-FFF2-40B4-BE49-F238E27FC236}">
                  <a16:creationId xmlns:a16="http://schemas.microsoft.com/office/drawing/2014/main" id="{4331902B-4EBF-48CB-A405-D3FC5DF44183}"/>
                </a:ext>
              </a:extLst>
            </p:cNvPr>
            <p:cNvSpPr/>
            <p:nvPr/>
          </p:nvSpPr>
          <p:spPr bwMode="auto">
            <a:xfrm>
              <a:off x="7378700" y="3868738"/>
              <a:ext cx="79375" cy="60325"/>
            </a:xfrm>
            <a:custGeom>
              <a:avLst/>
              <a:gdLst>
                <a:gd name="T0" fmla="*/ 5 w 65"/>
                <a:gd name="T1" fmla="*/ 49 h 51"/>
                <a:gd name="T2" fmla="*/ 55 w 65"/>
                <a:gd name="T3" fmla="*/ 51 h 51"/>
                <a:gd name="T4" fmla="*/ 57 w 65"/>
                <a:gd name="T5" fmla="*/ 39 h 51"/>
                <a:gd name="T6" fmla="*/ 58 w 65"/>
                <a:gd name="T7" fmla="*/ 36 h 51"/>
                <a:gd name="T8" fmla="*/ 60 w 65"/>
                <a:gd name="T9" fmla="*/ 26 h 51"/>
                <a:gd name="T10" fmla="*/ 60 w 65"/>
                <a:gd name="T11" fmla="*/ 24 h 51"/>
                <a:gd name="T12" fmla="*/ 62 w 65"/>
                <a:gd name="T13" fmla="*/ 13 h 51"/>
                <a:gd name="T14" fmla="*/ 63 w 65"/>
                <a:gd name="T15" fmla="*/ 12 h 51"/>
                <a:gd name="T16" fmla="*/ 65 w 65"/>
                <a:gd name="T17" fmla="*/ 0 h 51"/>
                <a:gd name="T18" fmla="*/ 0 w 65"/>
                <a:gd name="T19" fmla="*/ 5 h 51"/>
                <a:gd name="T20" fmla="*/ 5 w 65"/>
                <a:gd name="T21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1">
                  <a:moveTo>
                    <a:pt x="5" y="49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47"/>
                    <a:pt x="56" y="43"/>
                    <a:pt x="57" y="39"/>
                  </a:cubicBezTo>
                  <a:cubicBezTo>
                    <a:pt x="57" y="38"/>
                    <a:pt x="57" y="37"/>
                    <a:pt x="58" y="36"/>
                  </a:cubicBezTo>
                  <a:cubicBezTo>
                    <a:pt x="58" y="33"/>
                    <a:pt x="59" y="29"/>
                    <a:pt x="60" y="26"/>
                  </a:cubicBezTo>
                  <a:cubicBezTo>
                    <a:pt x="60" y="25"/>
                    <a:pt x="60" y="24"/>
                    <a:pt x="60" y="24"/>
                  </a:cubicBezTo>
                  <a:cubicBezTo>
                    <a:pt x="61" y="20"/>
                    <a:pt x="62" y="17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8"/>
                    <a:pt x="65" y="4"/>
                    <a:pt x="65" y="0"/>
                  </a:cubicBezTo>
                  <a:cubicBezTo>
                    <a:pt x="53" y="1"/>
                    <a:pt x="27" y="3"/>
                    <a:pt x="0" y="5"/>
                  </a:cubicBezTo>
                  <a:lnTo>
                    <a:pt x="5" y="49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š1îḋé">
              <a:extLst>
                <a:ext uri="{FF2B5EF4-FFF2-40B4-BE49-F238E27FC236}">
                  <a16:creationId xmlns:a16="http://schemas.microsoft.com/office/drawing/2014/main" id="{E1E2D233-7DA5-4481-865F-0534E941B5B7}"/>
                </a:ext>
              </a:extLst>
            </p:cNvPr>
            <p:cNvSpPr/>
            <p:nvPr/>
          </p:nvSpPr>
          <p:spPr bwMode="auto">
            <a:xfrm>
              <a:off x="7389813" y="3968750"/>
              <a:ext cx="49213" cy="55563"/>
            </a:xfrm>
            <a:custGeom>
              <a:avLst/>
              <a:gdLst>
                <a:gd name="T0" fmla="*/ 4 w 40"/>
                <a:gd name="T1" fmla="*/ 46 h 46"/>
                <a:gd name="T2" fmla="*/ 34 w 40"/>
                <a:gd name="T3" fmla="*/ 43 h 46"/>
                <a:gd name="T4" fmla="*/ 37 w 40"/>
                <a:gd name="T5" fmla="*/ 22 h 46"/>
                <a:gd name="T6" fmla="*/ 37 w 40"/>
                <a:gd name="T7" fmla="*/ 21 h 46"/>
                <a:gd name="T8" fmla="*/ 40 w 40"/>
                <a:gd name="T9" fmla="*/ 0 h 46"/>
                <a:gd name="T10" fmla="*/ 0 w 40"/>
                <a:gd name="T11" fmla="*/ 1 h 46"/>
                <a:gd name="T12" fmla="*/ 4 w 4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6">
                  <a:moveTo>
                    <a:pt x="4" y="46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5" y="36"/>
                    <a:pt x="36" y="29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8" y="14"/>
                    <a:pt x="39" y="7"/>
                    <a:pt x="4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46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1ídê">
              <a:extLst>
                <a:ext uri="{FF2B5EF4-FFF2-40B4-BE49-F238E27FC236}">
                  <a16:creationId xmlns:a16="http://schemas.microsoft.com/office/drawing/2014/main" id="{97C88834-C3AA-4924-BE2A-B6DEDE72A2A7}"/>
                </a:ext>
              </a:extLst>
            </p:cNvPr>
            <p:cNvSpPr/>
            <p:nvPr/>
          </p:nvSpPr>
          <p:spPr bwMode="auto">
            <a:xfrm>
              <a:off x="7167563" y="3594100"/>
              <a:ext cx="300038" cy="381000"/>
            </a:xfrm>
            <a:custGeom>
              <a:avLst/>
              <a:gdLst>
                <a:gd name="T0" fmla="*/ 88 w 189"/>
                <a:gd name="T1" fmla="*/ 0 h 240"/>
                <a:gd name="T2" fmla="*/ 189 w 189"/>
                <a:gd name="T3" fmla="*/ 174 h 240"/>
                <a:gd name="T4" fmla="*/ 157 w 189"/>
                <a:gd name="T5" fmla="*/ 240 h 240"/>
                <a:gd name="T6" fmla="*/ 95 w 189"/>
                <a:gd name="T7" fmla="*/ 219 h 240"/>
                <a:gd name="T8" fmla="*/ 0 w 189"/>
                <a:gd name="T9" fmla="*/ 48 h 240"/>
                <a:gd name="T10" fmla="*/ 88 w 189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240">
                  <a:moveTo>
                    <a:pt x="88" y="0"/>
                  </a:moveTo>
                  <a:lnTo>
                    <a:pt x="189" y="174"/>
                  </a:lnTo>
                  <a:lnTo>
                    <a:pt x="157" y="240"/>
                  </a:lnTo>
                  <a:lnTo>
                    <a:pt x="95" y="219"/>
                  </a:lnTo>
                  <a:lnTo>
                    <a:pt x="0" y="48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sḷïḋê">
              <a:extLst>
                <a:ext uri="{FF2B5EF4-FFF2-40B4-BE49-F238E27FC236}">
                  <a16:creationId xmlns:a16="http://schemas.microsoft.com/office/drawing/2014/main" id="{DBBB7A8F-D9FF-4E25-B414-5DB34ABE4050}"/>
                </a:ext>
              </a:extLst>
            </p:cNvPr>
            <p:cNvSpPr/>
            <p:nvPr/>
          </p:nvSpPr>
          <p:spPr bwMode="auto">
            <a:xfrm>
              <a:off x="7112000" y="341630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sľiḍé">
              <a:extLst>
                <a:ext uri="{FF2B5EF4-FFF2-40B4-BE49-F238E27FC236}">
                  <a16:creationId xmlns:a16="http://schemas.microsoft.com/office/drawing/2014/main" id="{B14AFD46-D0B0-497C-A736-73F810F1D3A0}"/>
                </a:ext>
              </a:extLst>
            </p:cNvPr>
            <p:cNvSpPr/>
            <p:nvPr/>
          </p:nvSpPr>
          <p:spPr bwMode="auto">
            <a:xfrm>
              <a:off x="6235700" y="3063875"/>
              <a:ext cx="1130300" cy="1409700"/>
            </a:xfrm>
            <a:custGeom>
              <a:avLst/>
              <a:gdLst>
                <a:gd name="T0" fmla="*/ 726 w 937"/>
                <a:gd name="T1" fmla="*/ 294 h 1170"/>
                <a:gd name="T2" fmla="*/ 726 w 937"/>
                <a:gd name="T3" fmla="*/ 293 h 1170"/>
                <a:gd name="T4" fmla="*/ 609 w 937"/>
                <a:gd name="T5" fmla="*/ 73 h 1170"/>
                <a:gd name="T6" fmla="*/ 540 w 937"/>
                <a:gd name="T7" fmla="*/ 6 h 1170"/>
                <a:gd name="T8" fmla="*/ 475 w 937"/>
                <a:gd name="T9" fmla="*/ 6 h 1170"/>
                <a:gd name="T10" fmla="*/ 297 w 937"/>
                <a:gd name="T11" fmla="*/ 32 h 1170"/>
                <a:gd name="T12" fmla="*/ 275 w 937"/>
                <a:gd name="T13" fmla="*/ 35 h 1170"/>
                <a:gd name="T14" fmla="*/ 142 w 937"/>
                <a:gd name="T15" fmla="*/ 378 h 1170"/>
                <a:gd name="T16" fmla="*/ 0 w 937"/>
                <a:gd name="T17" fmla="*/ 909 h 1170"/>
                <a:gd name="T18" fmla="*/ 8 w 937"/>
                <a:gd name="T19" fmla="*/ 1034 h 1170"/>
                <a:gd name="T20" fmla="*/ 29 w 937"/>
                <a:gd name="T21" fmla="*/ 1103 h 1170"/>
                <a:gd name="T22" fmla="*/ 159 w 937"/>
                <a:gd name="T23" fmla="*/ 1147 h 1170"/>
                <a:gd name="T24" fmla="*/ 444 w 937"/>
                <a:gd name="T25" fmla="*/ 1114 h 1170"/>
                <a:gd name="T26" fmla="*/ 728 w 937"/>
                <a:gd name="T27" fmla="*/ 1166 h 1170"/>
                <a:gd name="T28" fmla="*/ 726 w 937"/>
                <a:gd name="T29" fmla="*/ 294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7" h="1170">
                  <a:moveTo>
                    <a:pt x="726" y="294"/>
                  </a:moveTo>
                  <a:cubicBezTo>
                    <a:pt x="726" y="293"/>
                    <a:pt x="726" y="293"/>
                    <a:pt x="726" y="293"/>
                  </a:cubicBezTo>
                  <a:cubicBezTo>
                    <a:pt x="694" y="217"/>
                    <a:pt x="655" y="143"/>
                    <a:pt x="609" y="73"/>
                  </a:cubicBezTo>
                  <a:cubicBezTo>
                    <a:pt x="591" y="45"/>
                    <a:pt x="571" y="16"/>
                    <a:pt x="540" y="6"/>
                  </a:cubicBezTo>
                  <a:cubicBezTo>
                    <a:pt x="519" y="0"/>
                    <a:pt x="496" y="3"/>
                    <a:pt x="475" y="6"/>
                  </a:cubicBezTo>
                  <a:cubicBezTo>
                    <a:pt x="415" y="15"/>
                    <a:pt x="356" y="23"/>
                    <a:pt x="297" y="32"/>
                  </a:cubicBezTo>
                  <a:cubicBezTo>
                    <a:pt x="289" y="33"/>
                    <a:pt x="282" y="34"/>
                    <a:pt x="275" y="35"/>
                  </a:cubicBezTo>
                  <a:cubicBezTo>
                    <a:pt x="146" y="55"/>
                    <a:pt x="162" y="247"/>
                    <a:pt x="142" y="378"/>
                  </a:cubicBezTo>
                  <a:cubicBezTo>
                    <a:pt x="124" y="490"/>
                    <a:pt x="21" y="726"/>
                    <a:pt x="0" y="909"/>
                  </a:cubicBezTo>
                  <a:cubicBezTo>
                    <a:pt x="2" y="951"/>
                    <a:pt x="4" y="992"/>
                    <a:pt x="8" y="1034"/>
                  </a:cubicBezTo>
                  <a:cubicBezTo>
                    <a:pt x="14" y="1062"/>
                    <a:pt x="21" y="1085"/>
                    <a:pt x="29" y="1103"/>
                  </a:cubicBezTo>
                  <a:cubicBezTo>
                    <a:pt x="77" y="1170"/>
                    <a:pt x="159" y="1147"/>
                    <a:pt x="159" y="1147"/>
                  </a:cubicBezTo>
                  <a:cubicBezTo>
                    <a:pt x="159" y="1147"/>
                    <a:pt x="299" y="1093"/>
                    <a:pt x="444" y="1114"/>
                  </a:cubicBezTo>
                  <a:cubicBezTo>
                    <a:pt x="549" y="1117"/>
                    <a:pt x="648" y="1157"/>
                    <a:pt x="728" y="1166"/>
                  </a:cubicBezTo>
                  <a:cubicBezTo>
                    <a:pt x="937" y="926"/>
                    <a:pt x="727" y="297"/>
                    <a:pt x="726" y="294"/>
                  </a:cubicBezTo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ṧļîḓè">
              <a:extLst>
                <a:ext uri="{FF2B5EF4-FFF2-40B4-BE49-F238E27FC236}">
                  <a16:creationId xmlns:a16="http://schemas.microsoft.com/office/drawing/2014/main" id="{BFD83762-D30C-4882-A2B3-81872EBCE21C}"/>
                </a:ext>
              </a:extLst>
            </p:cNvPr>
            <p:cNvSpPr/>
            <p:nvPr/>
          </p:nvSpPr>
          <p:spPr bwMode="auto">
            <a:xfrm>
              <a:off x="6373813" y="3059113"/>
              <a:ext cx="652463" cy="1425575"/>
            </a:xfrm>
            <a:custGeom>
              <a:avLst/>
              <a:gdLst>
                <a:gd name="T0" fmla="*/ 309 w 541"/>
                <a:gd name="T1" fmla="*/ 389 h 1183"/>
                <a:gd name="T2" fmla="*/ 330 w 541"/>
                <a:gd name="T3" fmla="*/ 503 h 1183"/>
                <a:gd name="T4" fmla="*/ 541 w 541"/>
                <a:gd name="T5" fmla="*/ 1183 h 1183"/>
                <a:gd name="T6" fmla="*/ 20 w 541"/>
                <a:gd name="T7" fmla="*/ 1150 h 1183"/>
                <a:gd name="T8" fmla="*/ 6 w 541"/>
                <a:gd name="T9" fmla="*/ 979 h 1183"/>
                <a:gd name="T10" fmla="*/ 4 w 541"/>
                <a:gd name="T11" fmla="*/ 810 h 1183"/>
                <a:gd name="T12" fmla="*/ 58 w 541"/>
                <a:gd name="T13" fmla="*/ 545 h 1183"/>
                <a:gd name="T14" fmla="*/ 189 w 541"/>
                <a:gd name="T15" fmla="*/ 67 h 1183"/>
                <a:gd name="T16" fmla="*/ 199 w 541"/>
                <a:gd name="T17" fmla="*/ 43 h 1183"/>
                <a:gd name="T18" fmla="*/ 224 w 541"/>
                <a:gd name="T19" fmla="*/ 28 h 1183"/>
                <a:gd name="T20" fmla="*/ 367 w 541"/>
                <a:gd name="T21" fmla="*/ 3 h 1183"/>
                <a:gd name="T22" fmla="*/ 340 w 541"/>
                <a:gd name="T23" fmla="*/ 183 h 1183"/>
                <a:gd name="T24" fmla="*/ 309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309" y="389"/>
                  </a:moveTo>
                  <a:cubicBezTo>
                    <a:pt x="312" y="427"/>
                    <a:pt x="321" y="465"/>
                    <a:pt x="330" y="503"/>
                  </a:cubicBezTo>
                  <a:cubicBezTo>
                    <a:pt x="386" y="732"/>
                    <a:pt x="484" y="954"/>
                    <a:pt x="541" y="1183"/>
                  </a:cubicBezTo>
                  <a:cubicBezTo>
                    <a:pt x="387" y="1183"/>
                    <a:pt x="408" y="1059"/>
                    <a:pt x="20" y="1150"/>
                  </a:cubicBezTo>
                  <a:cubicBezTo>
                    <a:pt x="15" y="1062"/>
                    <a:pt x="10" y="1066"/>
                    <a:pt x="6" y="979"/>
                  </a:cubicBezTo>
                  <a:cubicBezTo>
                    <a:pt x="3" y="922"/>
                    <a:pt x="0" y="866"/>
                    <a:pt x="4" y="810"/>
                  </a:cubicBezTo>
                  <a:cubicBezTo>
                    <a:pt x="10" y="719"/>
                    <a:pt x="34" y="632"/>
                    <a:pt x="58" y="545"/>
                  </a:cubicBezTo>
                  <a:cubicBezTo>
                    <a:pt x="102" y="386"/>
                    <a:pt x="145" y="226"/>
                    <a:pt x="189" y="67"/>
                  </a:cubicBezTo>
                  <a:cubicBezTo>
                    <a:pt x="191" y="58"/>
                    <a:pt x="194" y="49"/>
                    <a:pt x="199" y="43"/>
                  </a:cubicBezTo>
                  <a:cubicBezTo>
                    <a:pt x="206" y="35"/>
                    <a:pt x="215" y="31"/>
                    <a:pt x="224" y="28"/>
                  </a:cubicBezTo>
                  <a:cubicBezTo>
                    <a:pt x="269" y="14"/>
                    <a:pt x="320" y="0"/>
                    <a:pt x="367" y="3"/>
                  </a:cubicBezTo>
                  <a:cubicBezTo>
                    <a:pt x="384" y="49"/>
                    <a:pt x="351" y="137"/>
                    <a:pt x="340" y="183"/>
                  </a:cubicBezTo>
                  <a:cubicBezTo>
                    <a:pt x="325" y="250"/>
                    <a:pt x="305" y="318"/>
                    <a:pt x="309" y="3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$ľide">
              <a:extLst>
                <a:ext uri="{FF2B5EF4-FFF2-40B4-BE49-F238E27FC236}">
                  <a16:creationId xmlns:a16="http://schemas.microsoft.com/office/drawing/2014/main" id="{CEF03112-204A-4DBD-A40E-7D507A477211}"/>
                </a:ext>
              </a:extLst>
            </p:cNvPr>
            <p:cNvSpPr/>
            <p:nvPr/>
          </p:nvSpPr>
          <p:spPr bwMode="auto">
            <a:xfrm>
              <a:off x="6527800" y="2593975"/>
              <a:ext cx="165100" cy="249238"/>
            </a:xfrm>
            <a:custGeom>
              <a:avLst/>
              <a:gdLst>
                <a:gd name="T0" fmla="*/ 68 w 137"/>
                <a:gd name="T1" fmla="*/ 75 h 206"/>
                <a:gd name="T2" fmla="*/ 41 w 137"/>
                <a:gd name="T3" fmla="*/ 166 h 206"/>
                <a:gd name="T4" fmla="*/ 32 w 137"/>
                <a:gd name="T5" fmla="*/ 189 h 206"/>
                <a:gd name="T6" fmla="*/ 25 w 137"/>
                <a:gd name="T7" fmla="*/ 199 h 206"/>
                <a:gd name="T8" fmla="*/ 1 w 137"/>
                <a:gd name="T9" fmla="*/ 157 h 206"/>
                <a:gd name="T10" fmla="*/ 3 w 137"/>
                <a:gd name="T11" fmla="*/ 93 h 206"/>
                <a:gd name="T12" fmla="*/ 22 w 137"/>
                <a:gd name="T13" fmla="*/ 41 h 206"/>
                <a:gd name="T14" fmla="*/ 49 w 137"/>
                <a:gd name="T15" fmla="*/ 22 h 206"/>
                <a:gd name="T16" fmla="*/ 93 w 137"/>
                <a:gd name="T17" fmla="*/ 4 h 206"/>
                <a:gd name="T18" fmla="*/ 112 w 137"/>
                <a:gd name="T19" fmla="*/ 28 h 206"/>
                <a:gd name="T20" fmla="*/ 68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8" y="75"/>
                  </a:moveTo>
                  <a:cubicBezTo>
                    <a:pt x="52" y="102"/>
                    <a:pt x="43" y="134"/>
                    <a:pt x="41" y="166"/>
                  </a:cubicBezTo>
                  <a:cubicBezTo>
                    <a:pt x="40" y="174"/>
                    <a:pt x="39" y="184"/>
                    <a:pt x="32" y="189"/>
                  </a:cubicBezTo>
                  <a:cubicBezTo>
                    <a:pt x="25" y="194"/>
                    <a:pt x="31" y="206"/>
                    <a:pt x="25" y="199"/>
                  </a:cubicBezTo>
                  <a:cubicBezTo>
                    <a:pt x="20" y="191"/>
                    <a:pt x="2" y="166"/>
                    <a:pt x="1" y="157"/>
                  </a:cubicBezTo>
                  <a:cubicBezTo>
                    <a:pt x="0" y="135"/>
                    <a:pt x="0" y="114"/>
                    <a:pt x="3" y="93"/>
                  </a:cubicBezTo>
                  <a:cubicBezTo>
                    <a:pt x="5" y="74"/>
                    <a:pt x="10" y="55"/>
                    <a:pt x="22" y="41"/>
                  </a:cubicBezTo>
                  <a:cubicBezTo>
                    <a:pt x="30" y="33"/>
                    <a:pt x="40" y="27"/>
                    <a:pt x="49" y="22"/>
                  </a:cubicBezTo>
                  <a:cubicBezTo>
                    <a:pt x="63" y="14"/>
                    <a:pt x="77" y="6"/>
                    <a:pt x="93" y="4"/>
                  </a:cubicBezTo>
                  <a:cubicBezTo>
                    <a:pt x="120" y="0"/>
                    <a:pt x="137" y="10"/>
                    <a:pt x="112" y="28"/>
                  </a:cubicBezTo>
                  <a:cubicBezTo>
                    <a:pt x="95" y="41"/>
                    <a:pt x="80" y="56"/>
                    <a:pt x="68" y="7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$ḷíḓe">
              <a:extLst>
                <a:ext uri="{FF2B5EF4-FFF2-40B4-BE49-F238E27FC236}">
                  <a16:creationId xmlns:a16="http://schemas.microsoft.com/office/drawing/2014/main" id="{25AF2D5E-00A5-42E0-A748-28F1ADDE0278}"/>
                </a:ext>
              </a:extLst>
            </p:cNvPr>
            <p:cNvSpPr/>
            <p:nvPr/>
          </p:nvSpPr>
          <p:spPr bwMode="auto">
            <a:xfrm>
              <a:off x="6519863" y="2505075"/>
              <a:ext cx="454025" cy="369888"/>
            </a:xfrm>
            <a:custGeom>
              <a:avLst/>
              <a:gdLst>
                <a:gd name="T0" fmla="*/ 20 w 376"/>
                <a:gd name="T1" fmla="*/ 65 h 307"/>
                <a:gd name="T2" fmla="*/ 14 w 376"/>
                <a:gd name="T3" fmla="*/ 30 h 307"/>
                <a:gd name="T4" fmla="*/ 48 w 376"/>
                <a:gd name="T5" fmla="*/ 34 h 307"/>
                <a:gd name="T6" fmla="*/ 49 w 376"/>
                <a:gd name="T7" fmla="*/ 14 h 307"/>
                <a:gd name="T8" fmla="*/ 131 w 376"/>
                <a:gd name="T9" fmla="*/ 6 h 307"/>
                <a:gd name="T10" fmla="*/ 294 w 376"/>
                <a:gd name="T11" fmla="*/ 33 h 307"/>
                <a:gd name="T12" fmla="*/ 371 w 376"/>
                <a:gd name="T13" fmla="*/ 153 h 307"/>
                <a:gd name="T14" fmla="*/ 328 w 376"/>
                <a:gd name="T15" fmla="*/ 307 h 307"/>
                <a:gd name="T16" fmla="*/ 334 w 376"/>
                <a:gd name="T17" fmla="*/ 250 h 307"/>
                <a:gd name="T18" fmla="*/ 323 w 376"/>
                <a:gd name="T19" fmla="*/ 214 h 307"/>
                <a:gd name="T20" fmla="*/ 273 w 376"/>
                <a:gd name="T21" fmla="*/ 158 h 307"/>
                <a:gd name="T22" fmla="*/ 162 w 376"/>
                <a:gd name="T23" fmla="*/ 117 h 307"/>
                <a:gd name="T24" fmla="*/ 46 w 376"/>
                <a:gd name="T25" fmla="*/ 114 h 307"/>
                <a:gd name="T26" fmla="*/ 16 w 376"/>
                <a:gd name="T27" fmla="*/ 104 h 307"/>
                <a:gd name="T28" fmla="*/ 2 w 376"/>
                <a:gd name="T29" fmla="*/ 65 h 307"/>
                <a:gd name="T30" fmla="*/ 20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20" y="65"/>
                  </a:moveTo>
                  <a:cubicBezTo>
                    <a:pt x="17" y="54"/>
                    <a:pt x="15" y="42"/>
                    <a:pt x="14" y="30"/>
                  </a:cubicBezTo>
                  <a:cubicBezTo>
                    <a:pt x="25" y="34"/>
                    <a:pt x="37" y="36"/>
                    <a:pt x="48" y="34"/>
                  </a:cubicBezTo>
                  <a:cubicBezTo>
                    <a:pt x="48" y="28"/>
                    <a:pt x="48" y="21"/>
                    <a:pt x="49" y="14"/>
                  </a:cubicBezTo>
                  <a:cubicBezTo>
                    <a:pt x="49" y="8"/>
                    <a:pt x="125" y="7"/>
                    <a:pt x="131" y="6"/>
                  </a:cubicBezTo>
                  <a:cubicBezTo>
                    <a:pt x="189" y="3"/>
                    <a:pt x="242" y="0"/>
                    <a:pt x="294" y="33"/>
                  </a:cubicBezTo>
                  <a:cubicBezTo>
                    <a:pt x="338" y="61"/>
                    <a:pt x="365" y="101"/>
                    <a:pt x="371" y="153"/>
                  </a:cubicBezTo>
                  <a:cubicBezTo>
                    <a:pt x="376" y="203"/>
                    <a:pt x="358" y="267"/>
                    <a:pt x="328" y="307"/>
                  </a:cubicBezTo>
                  <a:cubicBezTo>
                    <a:pt x="329" y="294"/>
                    <a:pt x="337" y="263"/>
                    <a:pt x="334" y="250"/>
                  </a:cubicBezTo>
                  <a:cubicBezTo>
                    <a:pt x="333" y="238"/>
                    <a:pt x="329" y="225"/>
                    <a:pt x="323" y="214"/>
                  </a:cubicBezTo>
                  <a:cubicBezTo>
                    <a:pt x="312" y="192"/>
                    <a:pt x="294" y="172"/>
                    <a:pt x="273" y="158"/>
                  </a:cubicBezTo>
                  <a:cubicBezTo>
                    <a:pt x="240" y="136"/>
                    <a:pt x="201" y="124"/>
                    <a:pt x="162" y="117"/>
                  </a:cubicBezTo>
                  <a:cubicBezTo>
                    <a:pt x="126" y="111"/>
                    <a:pt x="82" y="105"/>
                    <a:pt x="46" y="114"/>
                  </a:cubicBezTo>
                  <a:cubicBezTo>
                    <a:pt x="28" y="118"/>
                    <a:pt x="25" y="122"/>
                    <a:pt x="16" y="104"/>
                  </a:cubicBezTo>
                  <a:cubicBezTo>
                    <a:pt x="14" y="101"/>
                    <a:pt x="0" y="65"/>
                    <a:pt x="2" y="65"/>
                  </a:cubicBezTo>
                  <a:cubicBezTo>
                    <a:pt x="8" y="65"/>
                    <a:pt x="14" y="65"/>
                    <a:pt x="20" y="6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šḷíďè">
              <a:extLst>
                <a:ext uri="{FF2B5EF4-FFF2-40B4-BE49-F238E27FC236}">
                  <a16:creationId xmlns:a16="http://schemas.microsoft.com/office/drawing/2014/main" id="{8EBFF2C7-3D65-41BA-AB1C-ABCCCDBAC338}"/>
                </a:ext>
              </a:extLst>
            </p:cNvPr>
            <p:cNvSpPr/>
            <p:nvPr/>
          </p:nvSpPr>
          <p:spPr bwMode="auto">
            <a:xfrm>
              <a:off x="6435725" y="5322888"/>
              <a:ext cx="144463" cy="257175"/>
            </a:xfrm>
            <a:custGeom>
              <a:avLst/>
              <a:gdLst>
                <a:gd name="T0" fmla="*/ 24 w 91"/>
                <a:gd name="T1" fmla="*/ 34 h 162"/>
                <a:gd name="T2" fmla="*/ 0 w 91"/>
                <a:gd name="T3" fmla="*/ 125 h 162"/>
                <a:gd name="T4" fmla="*/ 26 w 91"/>
                <a:gd name="T5" fmla="*/ 162 h 162"/>
                <a:gd name="T6" fmla="*/ 68 w 91"/>
                <a:gd name="T7" fmla="*/ 137 h 162"/>
                <a:gd name="T8" fmla="*/ 91 w 91"/>
                <a:gd name="T9" fmla="*/ 59 h 162"/>
                <a:gd name="T10" fmla="*/ 73 w 91"/>
                <a:gd name="T11" fmla="*/ 0 h 162"/>
                <a:gd name="T12" fmla="*/ 24 w 91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8" y="137"/>
                  </a:lnTo>
                  <a:lnTo>
                    <a:pt x="91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ḻîḓè">
              <a:extLst>
                <a:ext uri="{FF2B5EF4-FFF2-40B4-BE49-F238E27FC236}">
                  <a16:creationId xmlns:a16="http://schemas.microsoft.com/office/drawing/2014/main" id="{20411541-E4CF-4647-AE49-F38685556A6C}"/>
                </a:ext>
              </a:extLst>
            </p:cNvPr>
            <p:cNvSpPr/>
            <p:nvPr/>
          </p:nvSpPr>
          <p:spPr bwMode="auto">
            <a:xfrm>
              <a:off x="6731000" y="5295900"/>
              <a:ext cx="146050" cy="257175"/>
            </a:xfrm>
            <a:custGeom>
              <a:avLst/>
              <a:gdLst>
                <a:gd name="T0" fmla="*/ 24 w 92"/>
                <a:gd name="T1" fmla="*/ 34 h 162"/>
                <a:gd name="T2" fmla="*/ 0 w 92"/>
                <a:gd name="T3" fmla="*/ 125 h 162"/>
                <a:gd name="T4" fmla="*/ 26 w 92"/>
                <a:gd name="T5" fmla="*/ 162 h 162"/>
                <a:gd name="T6" fmla="*/ 67 w 92"/>
                <a:gd name="T7" fmla="*/ 137 h 162"/>
                <a:gd name="T8" fmla="*/ 92 w 92"/>
                <a:gd name="T9" fmla="*/ 59 h 162"/>
                <a:gd name="T10" fmla="*/ 73 w 92"/>
                <a:gd name="T11" fmla="*/ 0 h 162"/>
                <a:gd name="T12" fmla="*/ 24 w 92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7" y="137"/>
                  </a:lnTo>
                  <a:lnTo>
                    <a:pt x="92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ś1îḋê">
              <a:extLst>
                <a:ext uri="{FF2B5EF4-FFF2-40B4-BE49-F238E27FC236}">
                  <a16:creationId xmlns:a16="http://schemas.microsoft.com/office/drawing/2014/main" id="{B661F444-C023-4613-B4C6-37C123B6E8E7}"/>
                </a:ext>
              </a:extLst>
            </p:cNvPr>
            <p:cNvSpPr/>
            <p:nvPr/>
          </p:nvSpPr>
          <p:spPr bwMode="auto">
            <a:xfrm>
              <a:off x="6248400" y="4249738"/>
              <a:ext cx="484188" cy="1158875"/>
            </a:xfrm>
            <a:custGeom>
              <a:avLst/>
              <a:gdLst>
                <a:gd name="T0" fmla="*/ 383 w 402"/>
                <a:gd name="T1" fmla="*/ 137 h 961"/>
                <a:gd name="T2" fmla="*/ 330 w 402"/>
                <a:gd name="T3" fmla="*/ 48 h 961"/>
                <a:gd name="T4" fmla="*/ 135 w 402"/>
                <a:gd name="T5" fmla="*/ 20 h 961"/>
                <a:gd name="T6" fmla="*/ 28 w 402"/>
                <a:gd name="T7" fmla="*/ 109 h 961"/>
                <a:gd name="T8" fmla="*/ 0 w 402"/>
                <a:gd name="T9" fmla="*/ 218 h 961"/>
                <a:gd name="T10" fmla="*/ 26 w 402"/>
                <a:gd name="T11" fmla="*/ 321 h 961"/>
                <a:gd name="T12" fmla="*/ 182 w 402"/>
                <a:gd name="T13" fmla="*/ 961 h 961"/>
                <a:gd name="T14" fmla="*/ 270 w 402"/>
                <a:gd name="T15" fmla="*/ 948 h 961"/>
                <a:gd name="T16" fmla="*/ 276 w 402"/>
                <a:gd name="T17" fmla="*/ 294 h 961"/>
                <a:gd name="T18" fmla="*/ 383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383" y="137"/>
                  </a:moveTo>
                  <a:cubicBezTo>
                    <a:pt x="374" y="107"/>
                    <a:pt x="359" y="61"/>
                    <a:pt x="330" y="48"/>
                  </a:cubicBezTo>
                  <a:cubicBezTo>
                    <a:pt x="267" y="22"/>
                    <a:pt x="199" y="0"/>
                    <a:pt x="135" y="20"/>
                  </a:cubicBezTo>
                  <a:cubicBezTo>
                    <a:pt x="91" y="33"/>
                    <a:pt x="52" y="65"/>
                    <a:pt x="28" y="109"/>
                  </a:cubicBezTo>
                  <a:cubicBezTo>
                    <a:pt x="10" y="141"/>
                    <a:pt x="0" y="180"/>
                    <a:pt x="0" y="218"/>
                  </a:cubicBezTo>
                  <a:cubicBezTo>
                    <a:pt x="0" y="255"/>
                    <a:pt x="18" y="286"/>
                    <a:pt x="26" y="321"/>
                  </a:cubicBezTo>
                  <a:cubicBezTo>
                    <a:pt x="78" y="534"/>
                    <a:pt x="130" y="748"/>
                    <a:pt x="182" y="961"/>
                  </a:cubicBezTo>
                  <a:cubicBezTo>
                    <a:pt x="270" y="948"/>
                    <a:pt x="270" y="948"/>
                    <a:pt x="270" y="948"/>
                  </a:cubicBezTo>
                  <a:cubicBezTo>
                    <a:pt x="276" y="294"/>
                    <a:pt x="276" y="294"/>
                    <a:pt x="276" y="294"/>
                  </a:cubicBezTo>
                  <a:cubicBezTo>
                    <a:pt x="312" y="257"/>
                    <a:pt x="402" y="198"/>
                    <a:pt x="383" y="137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ṥ1îḑé">
              <a:extLst>
                <a:ext uri="{FF2B5EF4-FFF2-40B4-BE49-F238E27FC236}">
                  <a16:creationId xmlns:a16="http://schemas.microsoft.com/office/drawing/2014/main" id="{3B1E122C-1DA6-4C3B-83C1-E2166F3826E4}"/>
                </a:ext>
              </a:extLst>
            </p:cNvPr>
            <p:cNvSpPr/>
            <p:nvPr/>
          </p:nvSpPr>
          <p:spPr bwMode="auto">
            <a:xfrm>
              <a:off x="6600825" y="4252913"/>
              <a:ext cx="441325" cy="1143000"/>
            </a:xfrm>
            <a:custGeom>
              <a:avLst/>
              <a:gdLst>
                <a:gd name="T0" fmla="*/ 359 w 365"/>
                <a:gd name="T1" fmla="*/ 235 h 949"/>
                <a:gd name="T2" fmla="*/ 365 w 365"/>
                <a:gd name="T3" fmla="*/ 166 h 949"/>
                <a:gd name="T4" fmla="*/ 358 w 365"/>
                <a:gd name="T5" fmla="*/ 113 h 949"/>
                <a:gd name="T6" fmla="*/ 326 w 365"/>
                <a:gd name="T7" fmla="*/ 67 h 949"/>
                <a:gd name="T8" fmla="*/ 154 w 365"/>
                <a:gd name="T9" fmla="*/ 15 h 949"/>
                <a:gd name="T10" fmla="*/ 77 w 365"/>
                <a:gd name="T11" fmla="*/ 53 h 949"/>
                <a:gd name="T12" fmla="*/ 4 w 365"/>
                <a:gd name="T13" fmla="*/ 124 h 949"/>
                <a:gd name="T14" fmla="*/ 0 w 365"/>
                <a:gd name="T15" fmla="*/ 133 h 949"/>
                <a:gd name="T16" fmla="*/ 5 w 365"/>
                <a:gd name="T17" fmla="*/ 139 h 949"/>
                <a:gd name="T18" fmla="*/ 82 w 365"/>
                <a:gd name="T19" fmla="*/ 260 h 949"/>
                <a:gd name="T20" fmla="*/ 104 w 365"/>
                <a:gd name="T21" fmla="*/ 433 h 949"/>
                <a:gd name="T22" fmla="*/ 111 w 365"/>
                <a:gd name="T23" fmla="*/ 644 h 949"/>
                <a:gd name="T24" fmla="*/ 122 w 365"/>
                <a:gd name="T25" fmla="*/ 936 h 949"/>
                <a:gd name="T26" fmla="*/ 222 w 365"/>
                <a:gd name="T27" fmla="*/ 949 h 949"/>
                <a:gd name="T28" fmla="*/ 274 w 365"/>
                <a:gd name="T29" fmla="*/ 680 h 949"/>
                <a:gd name="T30" fmla="*/ 348 w 365"/>
                <a:gd name="T31" fmla="*/ 302 h 949"/>
                <a:gd name="T32" fmla="*/ 359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359" y="235"/>
                  </a:moveTo>
                  <a:cubicBezTo>
                    <a:pt x="362" y="212"/>
                    <a:pt x="364" y="189"/>
                    <a:pt x="365" y="166"/>
                  </a:cubicBezTo>
                  <a:cubicBezTo>
                    <a:pt x="365" y="148"/>
                    <a:pt x="364" y="130"/>
                    <a:pt x="358" y="113"/>
                  </a:cubicBezTo>
                  <a:cubicBezTo>
                    <a:pt x="352" y="94"/>
                    <a:pt x="339" y="80"/>
                    <a:pt x="326" y="67"/>
                  </a:cubicBezTo>
                  <a:cubicBezTo>
                    <a:pt x="278" y="22"/>
                    <a:pt x="216" y="0"/>
                    <a:pt x="154" y="15"/>
                  </a:cubicBezTo>
                  <a:cubicBezTo>
                    <a:pt x="127" y="22"/>
                    <a:pt x="101" y="36"/>
                    <a:pt x="77" y="53"/>
                  </a:cubicBezTo>
                  <a:cubicBezTo>
                    <a:pt x="50" y="72"/>
                    <a:pt x="24" y="95"/>
                    <a:pt x="4" y="124"/>
                  </a:cubicBezTo>
                  <a:cubicBezTo>
                    <a:pt x="2" y="126"/>
                    <a:pt x="0" y="130"/>
                    <a:pt x="0" y="133"/>
                  </a:cubicBezTo>
                  <a:cubicBezTo>
                    <a:pt x="1" y="136"/>
                    <a:pt x="3" y="137"/>
                    <a:pt x="5" y="139"/>
                  </a:cubicBezTo>
                  <a:cubicBezTo>
                    <a:pt x="39" y="171"/>
                    <a:pt x="65" y="214"/>
                    <a:pt x="82" y="260"/>
                  </a:cubicBezTo>
                  <a:cubicBezTo>
                    <a:pt x="102" y="317"/>
                    <a:pt x="101" y="373"/>
                    <a:pt x="104" y="433"/>
                  </a:cubicBezTo>
                  <a:cubicBezTo>
                    <a:pt x="106" y="503"/>
                    <a:pt x="109" y="573"/>
                    <a:pt x="111" y="644"/>
                  </a:cubicBezTo>
                  <a:cubicBezTo>
                    <a:pt x="115" y="741"/>
                    <a:pt x="119" y="839"/>
                    <a:pt x="122" y="936"/>
                  </a:cubicBezTo>
                  <a:cubicBezTo>
                    <a:pt x="222" y="949"/>
                    <a:pt x="222" y="949"/>
                    <a:pt x="222" y="949"/>
                  </a:cubicBezTo>
                  <a:cubicBezTo>
                    <a:pt x="239" y="859"/>
                    <a:pt x="257" y="770"/>
                    <a:pt x="274" y="680"/>
                  </a:cubicBezTo>
                  <a:cubicBezTo>
                    <a:pt x="299" y="554"/>
                    <a:pt x="323" y="428"/>
                    <a:pt x="348" y="302"/>
                  </a:cubicBezTo>
                  <a:cubicBezTo>
                    <a:pt x="352" y="280"/>
                    <a:pt x="356" y="258"/>
                    <a:pt x="359" y="235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š1íde">
              <a:extLst>
                <a:ext uri="{FF2B5EF4-FFF2-40B4-BE49-F238E27FC236}">
                  <a16:creationId xmlns:a16="http://schemas.microsoft.com/office/drawing/2014/main" id="{D51021F4-8193-42FD-A2AE-3B889412E4D4}"/>
                </a:ext>
              </a:extLst>
            </p:cNvPr>
            <p:cNvSpPr/>
            <p:nvPr/>
          </p:nvSpPr>
          <p:spPr bwMode="auto">
            <a:xfrm>
              <a:off x="6902450" y="3078163"/>
              <a:ext cx="409575" cy="611188"/>
            </a:xfrm>
            <a:custGeom>
              <a:avLst/>
              <a:gdLst>
                <a:gd name="T0" fmla="*/ 0 w 258"/>
                <a:gd name="T1" fmla="*/ 0 h 385"/>
                <a:gd name="T2" fmla="*/ 97 w 258"/>
                <a:gd name="T3" fmla="*/ 51 h 385"/>
                <a:gd name="T4" fmla="*/ 258 w 258"/>
                <a:gd name="T5" fmla="*/ 322 h 385"/>
                <a:gd name="T6" fmla="*/ 153 w 258"/>
                <a:gd name="T7" fmla="*/ 385 h 385"/>
                <a:gd name="T8" fmla="*/ 88 w 258"/>
                <a:gd name="T9" fmla="*/ 249 h 385"/>
                <a:gd name="T10" fmla="*/ 0 w 258"/>
                <a:gd name="T1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385">
                  <a:moveTo>
                    <a:pt x="0" y="0"/>
                  </a:moveTo>
                  <a:lnTo>
                    <a:pt x="97" y="51"/>
                  </a:lnTo>
                  <a:lnTo>
                    <a:pt x="258" y="322"/>
                  </a:lnTo>
                  <a:lnTo>
                    <a:pt x="153" y="385"/>
                  </a:lnTo>
                  <a:lnTo>
                    <a:pt x="88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ṧlïḍe">
              <a:extLst>
                <a:ext uri="{FF2B5EF4-FFF2-40B4-BE49-F238E27FC236}">
                  <a16:creationId xmlns:a16="http://schemas.microsoft.com/office/drawing/2014/main" id="{5736A002-43A0-418A-81E5-3867B5A16FA1}"/>
                </a:ext>
              </a:extLst>
            </p:cNvPr>
            <p:cNvSpPr/>
            <p:nvPr/>
          </p:nvSpPr>
          <p:spPr bwMode="auto">
            <a:xfrm>
              <a:off x="6103938" y="3562350"/>
              <a:ext cx="257175" cy="330200"/>
            </a:xfrm>
            <a:custGeom>
              <a:avLst/>
              <a:gdLst>
                <a:gd name="T0" fmla="*/ 19 w 162"/>
                <a:gd name="T1" fmla="*/ 208 h 208"/>
                <a:gd name="T2" fmla="*/ 83 w 162"/>
                <a:gd name="T3" fmla="*/ 190 h 208"/>
                <a:gd name="T4" fmla="*/ 162 w 162"/>
                <a:gd name="T5" fmla="*/ 36 h 208"/>
                <a:gd name="T6" fmla="*/ 79 w 162"/>
                <a:gd name="T7" fmla="*/ 0 h 208"/>
                <a:gd name="T8" fmla="*/ 0 w 162"/>
                <a:gd name="T9" fmla="*/ 152 h 208"/>
                <a:gd name="T10" fmla="*/ 19 w 162"/>
                <a:gd name="T11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208">
                  <a:moveTo>
                    <a:pt x="19" y="208"/>
                  </a:moveTo>
                  <a:lnTo>
                    <a:pt x="83" y="190"/>
                  </a:lnTo>
                  <a:lnTo>
                    <a:pt x="162" y="36"/>
                  </a:lnTo>
                  <a:lnTo>
                    <a:pt x="79" y="0"/>
                  </a:lnTo>
                  <a:lnTo>
                    <a:pt x="0" y="152"/>
                  </a:lnTo>
                  <a:lnTo>
                    <a:pt x="19" y="208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ṧḷïďé">
              <a:extLst>
                <a:ext uri="{FF2B5EF4-FFF2-40B4-BE49-F238E27FC236}">
                  <a16:creationId xmlns:a16="http://schemas.microsoft.com/office/drawing/2014/main" id="{652F3B90-E957-41AC-9D9E-DEF1EA4D2C96}"/>
                </a:ext>
              </a:extLst>
            </p:cNvPr>
            <p:cNvSpPr/>
            <p:nvPr/>
          </p:nvSpPr>
          <p:spPr bwMode="auto">
            <a:xfrm>
              <a:off x="7450138" y="3367088"/>
              <a:ext cx="390525" cy="392113"/>
            </a:xfrm>
            <a:custGeom>
              <a:avLst/>
              <a:gdLst>
                <a:gd name="T0" fmla="*/ 312 w 324"/>
                <a:gd name="T1" fmla="*/ 184 h 325"/>
                <a:gd name="T2" fmla="*/ 141 w 324"/>
                <a:gd name="T3" fmla="*/ 313 h 325"/>
                <a:gd name="T4" fmla="*/ 12 w 324"/>
                <a:gd name="T5" fmla="*/ 141 h 325"/>
                <a:gd name="T6" fmla="*/ 184 w 324"/>
                <a:gd name="T7" fmla="*/ 12 h 325"/>
                <a:gd name="T8" fmla="*/ 312 w 324"/>
                <a:gd name="T9" fmla="*/ 18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325">
                  <a:moveTo>
                    <a:pt x="312" y="184"/>
                  </a:moveTo>
                  <a:cubicBezTo>
                    <a:pt x="300" y="267"/>
                    <a:pt x="224" y="325"/>
                    <a:pt x="141" y="313"/>
                  </a:cubicBezTo>
                  <a:cubicBezTo>
                    <a:pt x="58" y="301"/>
                    <a:pt x="0" y="224"/>
                    <a:pt x="12" y="141"/>
                  </a:cubicBezTo>
                  <a:cubicBezTo>
                    <a:pt x="24" y="58"/>
                    <a:pt x="101" y="0"/>
                    <a:pt x="184" y="12"/>
                  </a:cubicBezTo>
                  <a:cubicBezTo>
                    <a:pt x="267" y="24"/>
                    <a:pt x="324" y="101"/>
                    <a:pt x="312" y="184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ṣḻïďe">
              <a:extLst>
                <a:ext uri="{FF2B5EF4-FFF2-40B4-BE49-F238E27FC236}">
                  <a16:creationId xmlns:a16="http://schemas.microsoft.com/office/drawing/2014/main" id="{3B3A5F4D-D3A9-45AE-9196-870225B45662}"/>
                </a:ext>
              </a:extLst>
            </p:cNvPr>
            <p:cNvSpPr/>
            <p:nvPr/>
          </p:nvSpPr>
          <p:spPr bwMode="auto">
            <a:xfrm>
              <a:off x="7510463" y="3429000"/>
              <a:ext cx="269875" cy="268288"/>
            </a:xfrm>
            <a:custGeom>
              <a:avLst/>
              <a:gdLst>
                <a:gd name="T0" fmla="*/ 214 w 223"/>
                <a:gd name="T1" fmla="*/ 126 h 223"/>
                <a:gd name="T2" fmla="*/ 96 w 223"/>
                <a:gd name="T3" fmla="*/ 215 h 223"/>
                <a:gd name="T4" fmla="*/ 8 w 223"/>
                <a:gd name="T5" fmla="*/ 96 h 223"/>
                <a:gd name="T6" fmla="*/ 126 w 223"/>
                <a:gd name="T7" fmla="*/ 8 h 223"/>
                <a:gd name="T8" fmla="*/ 214 w 223"/>
                <a:gd name="T9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223">
                  <a:moveTo>
                    <a:pt x="214" y="126"/>
                  </a:moveTo>
                  <a:cubicBezTo>
                    <a:pt x="206" y="183"/>
                    <a:pt x="153" y="223"/>
                    <a:pt x="96" y="215"/>
                  </a:cubicBezTo>
                  <a:cubicBezTo>
                    <a:pt x="39" y="206"/>
                    <a:pt x="0" y="153"/>
                    <a:pt x="8" y="96"/>
                  </a:cubicBezTo>
                  <a:cubicBezTo>
                    <a:pt x="16" y="39"/>
                    <a:pt x="69" y="0"/>
                    <a:pt x="126" y="8"/>
                  </a:cubicBezTo>
                  <a:cubicBezTo>
                    <a:pt x="183" y="16"/>
                    <a:pt x="223" y="69"/>
                    <a:pt x="214" y="126"/>
                  </a:cubicBezTo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Sľiḓe">
              <a:extLst>
                <a:ext uri="{FF2B5EF4-FFF2-40B4-BE49-F238E27FC236}">
                  <a16:creationId xmlns:a16="http://schemas.microsoft.com/office/drawing/2014/main" id="{8BF24CB9-54CC-4851-A2C3-54B83B716C76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ṡḻîďè">
              <a:extLst>
                <a:ext uri="{FF2B5EF4-FFF2-40B4-BE49-F238E27FC236}">
                  <a16:creationId xmlns:a16="http://schemas.microsoft.com/office/drawing/2014/main" id="{A80DA540-50BC-4781-B712-03D90B80891F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$ľíďé">
              <a:extLst>
                <a:ext uri="{FF2B5EF4-FFF2-40B4-BE49-F238E27FC236}">
                  <a16:creationId xmlns:a16="http://schemas.microsoft.com/office/drawing/2014/main" id="{0AA9DBCD-FB04-4E60-A005-EB8C8B774740}"/>
                </a:ext>
              </a:extLst>
            </p:cNvPr>
            <p:cNvSpPr/>
            <p:nvPr/>
          </p:nvSpPr>
          <p:spPr bwMode="auto">
            <a:xfrm>
              <a:off x="7597775" y="3521075"/>
              <a:ext cx="92075" cy="92075"/>
            </a:xfrm>
            <a:custGeom>
              <a:avLst/>
              <a:gdLst>
                <a:gd name="T0" fmla="*/ 73 w 76"/>
                <a:gd name="T1" fmla="*/ 43 h 76"/>
                <a:gd name="T2" fmla="*/ 33 w 76"/>
                <a:gd name="T3" fmla="*/ 73 h 76"/>
                <a:gd name="T4" fmla="*/ 3 w 76"/>
                <a:gd name="T5" fmla="*/ 33 h 76"/>
                <a:gd name="T6" fmla="*/ 43 w 76"/>
                <a:gd name="T7" fmla="*/ 3 h 76"/>
                <a:gd name="T8" fmla="*/ 73 w 76"/>
                <a:gd name="T9" fmla="*/ 4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6">
                  <a:moveTo>
                    <a:pt x="73" y="43"/>
                  </a:moveTo>
                  <a:cubicBezTo>
                    <a:pt x="70" y="63"/>
                    <a:pt x="52" y="76"/>
                    <a:pt x="33" y="73"/>
                  </a:cubicBezTo>
                  <a:cubicBezTo>
                    <a:pt x="13" y="70"/>
                    <a:pt x="0" y="52"/>
                    <a:pt x="3" y="33"/>
                  </a:cubicBezTo>
                  <a:cubicBezTo>
                    <a:pt x="5" y="13"/>
                    <a:pt x="23" y="0"/>
                    <a:pt x="43" y="3"/>
                  </a:cubicBezTo>
                  <a:cubicBezTo>
                    <a:pt x="63" y="5"/>
                    <a:pt x="76" y="24"/>
                    <a:pt x="73" y="43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ṩ1ïḑé">
              <a:extLst>
                <a:ext uri="{FF2B5EF4-FFF2-40B4-BE49-F238E27FC236}">
                  <a16:creationId xmlns:a16="http://schemas.microsoft.com/office/drawing/2014/main" id="{45659C61-CD57-42BA-ABB0-B7FD278CE33D}"/>
                </a:ext>
              </a:extLst>
            </p:cNvPr>
            <p:cNvSpPr/>
            <p:nvPr/>
          </p:nvSpPr>
          <p:spPr bwMode="auto">
            <a:xfrm>
              <a:off x="7673975" y="3740150"/>
              <a:ext cx="12700" cy="3175"/>
            </a:xfrm>
            <a:custGeom>
              <a:avLst/>
              <a:gdLst>
                <a:gd name="T0" fmla="*/ 11 w 11"/>
                <a:gd name="T1" fmla="*/ 0 h 2"/>
                <a:gd name="T2" fmla="*/ 0 w 11"/>
                <a:gd name="T3" fmla="*/ 2 h 2"/>
                <a:gd name="T4" fmla="*/ 11 w 11"/>
                <a:gd name="T5" fmla="*/ 0 h 2"/>
                <a:gd name="T6" fmla="*/ 11 w 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">
                  <a:moveTo>
                    <a:pt x="11" y="0"/>
                  </a:moveTo>
                  <a:cubicBezTo>
                    <a:pt x="8" y="1"/>
                    <a:pt x="4" y="2"/>
                    <a:pt x="0" y="2"/>
                  </a:cubicBezTo>
                  <a:cubicBezTo>
                    <a:pt x="4" y="2"/>
                    <a:pt x="8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ṥ1íḑè">
              <a:extLst>
                <a:ext uri="{FF2B5EF4-FFF2-40B4-BE49-F238E27FC236}">
                  <a16:creationId xmlns:a16="http://schemas.microsoft.com/office/drawing/2014/main" id="{F6A988E7-0156-4DDD-A9BD-4B22CFE77949}"/>
                </a:ext>
              </a:extLst>
            </p:cNvPr>
            <p:cNvSpPr/>
            <p:nvPr/>
          </p:nvSpPr>
          <p:spPr bwMode="auto">
            <a:xfrm>
              <a:off x="7643813" y="3683000"/>
              <a:ext cx="42863" cy="61913"/>
            </a:xfrm>
            <a:custGeom>
              <a:avLst/>
              <a:gdLst>
                <a:gd name="T0" fmla="*/ 31 w 36"/>
                <a:gd name="T1" fmla="*/ 0 h 52"/>
                <a:gd name="T2" fmla="*/ 7 w 36"/>
                <a:gd name="T3" fmla="*/ 5 h 52"/>
                <a:gd name="T4" fmla="*/ 0 w 36"/>
                <a:gd name="T5" fmla="*/ 52 h 52"/>
                <a:gd name="T6" fmla="*/ 25 w 36"/>
                <a:gd name="T7" fmla="*/ 50 h 52"/>
                <a:gd name="T8" fmla="*/ 36 w 36"/>
                <a:gd name="T9" fmla="*/ 48 h 52"/>
                <a:gd name="T10" fmla="*/ 31 w 36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2">
                  <a:moveTo>
                    <a:pt x="31" y="0"/>
                  </a:moveTo>
                  <a:cubicBezTo>
                    <a:pt x="23" y="3"/>
                    <a:pt x="15" y="4"/>
                    <a:pt x="7" y="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13" y="52"/>
                    <a:pt x="25" y="50"/>
                  </a:cubicBezTo>
                  <a:cubicBezTo>
                    <a:pt x="29" y="50"/>
                    <a:pt x="33" y="49"/>
                    <a:pt x="36" y="48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ṧľïḑé">
              <a:extLst>
                <a:ext uri="{FF2B5EF4-FFF2-40B4-BE49-F238E27FC236}">
                  <a16:creationId xmlns:a16="http://schemas.microsoft.com/office/drawing/2014/main" id="{8D330E5A-146C-4272-95C2-A487ADD3948A}"/>
                </a:ext>
              </a:extLst>
            </p:cNvPr>
            <p:cNvSpPr/>
            <p:nvPr/>
          </p:nvSpPr>
          <p:spPr bwMode="auto">
            <a:xfrm>
              <a:off x="7651750" y="3598863"/>
              <a:ext cx="28575" cy="90488"/>
            </a:xfrm>
            <a:custGeom>
              <a:avLst/>
              <a:gdLst>
                <a:gd name="T0" fmla="*/ 16 w 24"/>
                <a:gd name="T1" fmla="*/ 0 h 74"/>
                <a:gd name="T2" fmla="*/ 10 w 24"/>
                <a:gd name="T3" fmla="*/ 4 h 74"/>
                <a:gd name="T4" fmla="*/ 3 w 24"/>
                <a:gd name="T5" fmla="*/ 48 h 74"/>
                <a:gd name="T6" fmla="*/ 0 w 24"/>
                <a:gd name="T7" fmla="*/ 74 h 74"/>
                <a:gd name="T8" fmla="*/ 24 w 24"/>
                <a:gd name="T9" fmla="*/ 69 h 74"/>
                <a:gd name="T10" fmla="*/ 16 w 24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74">
                  <a:moveTo>
                    <a:pt x="16" y="0"/>
                  </a:moveTo>
                  <a:cubicBezTo>
                    <a:pt x="14" y="2"/>
                    <a:pt x="12" y="3"/>
                    <a:pt x="10" y="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8" y="73"/>
                    <a:pt x="16" y="72"/>
                    <a:pt x="24" y="69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íṥḻiḑe">
              <a:extLst>
                <a:ext uri="{FF2B5EF4-FFF2-40B4-BE49-F238E27FC236}">
                  <a16:creationId xmlns:a16="http://schemas.microsoft.com/office/drawing/2014/main" id="{AFBF9536-AB8E-4D9B-893D-DD9895AD8133}"/>
                </a:ext>
              </a:extLst>
            </p:cNvPr>
            <p:cNvSpPr/>
            <p:nvPr/>
          </p:nvSpPr>
          <p:spPr bwMode="auto">
            <a:xfrm>
              <a:off x="7643813" y="3657600"/>
              <a:ext cx="11113" cy="87313"/>
            </a:xfrm>
            <a:custGeom>
              <a:avLst/>
              <a:gdLst>
                <a:gd name="T0" fmla="*/ 10 w 10"/>
                <a:gd name="T1" fmla="*/ 0 h 73"/>
                <a:gd name="T2" fmla="*/ 0 w 10"/>
                <a:gd name="T3" fmla="*/ 73 h 73"/>
                <a:gd name="T4" fmla="*/ 0 w 10"/>
                <a:gd name="T5" fmla="*/ 73 h 73"/>
                <a:gd name="T6" fmla="*/ 7 w 10"/>
                <a:gd name="T7" fmla="*/ 26 h 73"/>
                <a:gd name="T8" fmla="*/ 10 w 10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3">
                  <a:moveTo>
                    <a:pt x="10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ṩḻíḑé">
              <a:extLst>
                <a:ext uri="{FF2B5EF4-FFF2-40B4-BE49-F238E27FC236}">
                  <a16:creationId xmlns:a16="http://schemas.microsoft.com/office/drawing/2014/main" id="{BAE004E2-A7B2-46D4-B1FD-61202A21038D}"/>
                </a:ext>
              </a:extLst>
            </p:cNvPr>
            <p:cNvSpPr/>
            <p:nvPr/>
          </p:nvSpPr>
          <p:spPr bwMode="auto">
            <a:xfrm>
              <a:off x="7664450" y="3598863"/>
              <a:ext cx="6350" cy="4763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ṣḷíḋè">
              <a:extLst>
                <a:ext uri="{FF2B5EF4-FFF2-40B4-BE49-F238E27FC236}">
                  <a16:creationId xmlns:a16="http://schemas.microsoft.com/office/drawing/2014/main" id="{13BFF7A5-A514-4E98-98B4-12494777EA9C}"/>
                </a:ext>
              </a:extLst>
            </p:cNvPr>
            <p:cNvSpPr/>
            <p:nvPr/>
          </p:nvSpPr>
          <p:spPr bwMode="auto">
            <a:xfrm>
              <a:off x="6540500" y="4064000"/>
              <a:ext cx="1068388" cy="766763"/>
            </a:xfrm>
            <a:custGeom>
              <a:avLst/>
              <a:gdLst>
                <a:gd name="T0" fmla="*/ 3 w 886"/>
                <a:gd name="T1" fmla="*/ 163 h 636"/>
                <a:gd name="T2" fmla="*/ 562 w 886"/>
                <a:gd name="T3" fmla="*/ 582 h 636"/>
                <a:gd name="T4" fmla="*/ 865 w 886"/>
                <a:gd name="T5" fmla="*/ 160 h 636"/>
                <a:gd name="T6" fmla="*/ 882 w 886"/>
                <a:gd name="T7" fmla="*/ 75 h 636"/>
                <a:gd name="T8" fmla="*/ 800 w 886"/>
                <a:gd name="T9" fmla="*/ 120 h 636"/>
                <a:gd name="T10" fmla="*/ 781 w 886"/>
                <a:gd name="T11" fmla="*/ 195 h 636"/>
                <a:gd name="T12" fmla="*/ 780 w 886"/>
                <a:gd name="T13" fmla="*/ 197 h 636"/>
                <a:gd name="T14" fmla="*/ 765 w 886"/>
                <a:gd name="T15" fmla="*/ 243 h 636"/>
                <a:gd name="T16" fmla="*/ 684 w 886"/>
                <a:gd name="T17" fmla="*/ 403 h 636"/>
                <a:gd name="T18" fmla="*/ 666 w 886"/>
                <a:gd name="T19" fmla="*/ 426 h 636"/>
                <a:gd name="T20" fmla="*/ 620 w 886"/>
                <a:gd name="T21" fmla="*/ 474 h 636"/>
                <a:gd name="T22" fmla="*/ 607 w 886"/>
                <a:gd name="T23" fmla="*/ 485 h 636"/>
                <a:gd name="T24" fmla="*/ 569 w 886"/>
                <a:gd name="T25" fmla="*/ 511 h 636"/>
                <a:gd name="T26" fmla="*/ 540 w 886"/>
                <a:gd name="T27" fmla="*/ 526 h 636"/>
                <a:gd name="T28" fmla="*/ 487 w 886"/>
                <a:gd name="T29" fmla="*/ 543 h 636"/>
                <a:gd name="T30" fmla="*/ 482 w 886"/>
                <a:gd name="T31" fmla="*/ 544 h 636"/>
                <a:gd name="T32" fmla="*/ 470 w 886"/>
                <a:gd name="T33" fmla="*/ 546 h 636"/>
                <a:gd name="T34" fmla="*/ 418 w 886"/>
                <a:gd name="T35" fmla="*/ 550 h 636"/>
                <a:gd name="T36" fmla="*/ 418 w 886"/>
                <a:gd name="T37" fmla="*/ 550 h 636"/>
                <a:gd name="T38" fmla="*/ 413 w 886"/>
                <a:gd name="T39" fmla="*/ 550 h 636"/>
                <a:gd name="T40" fmla="*/ 395 w 886"/>
                <a:gd name="T41" fmla="*/ 549 h 636"/>
                <a:gd name="T42" fmla="*/ 336 w 886"/>
                <a:gd name="T43" fmla="*/ 540 h 636"/>
                <a:gd name="T44" fmla="*/ 318 w 886"/>
                <a:gd name="T45" fmla="*/ 536 h 636"/>
                <a:gd name="T46" fmla="*/ 268 w 886"/>
                <a:gd name="T47" fmla="*/ 518 h 636"/>
                <a:gd name="T48" fmla="*/ 267 w 886"/>
                <a:gd name="T49" fmla="*/ 517 h 636"/>
                <a:gd name="T50" fmla="*/ 249 w 886"/>
                <a:gd name="T51" fmla="*/ 508 h 636"/>
                <a:gd name="T52" fmla="*/ 221 w 886"/>
                <a:gd name="T53" fmla="*/ 491 h 636"/>
                <a:gd name="T54" fmla="*/ 181 w 886"/>
                <a:gd name="T55" fmla="*/ 456 h 636"/>
                <a:gd name="T56" fmla="*/ 163 w 886"/>
                <a:gd name="T57" fmla="*/ 435 h 636"/>
                <a:gd name="T58" fmla="*/ 114 w 886"/>
                <a:gd name="T59" fmla="*/ 351 h 636"/>
                <a:gd name="T60" fmla="*/ 112 w 886"/>
                <a:gd name="T61" fmla="*/ 347 h 636"/>
                <a:gd name="T62" fmla="*/ 102 w 886"/>
                <a:gd name="T63" fmla="*/ 317 h 636"/>
                <a:gd name="T64" fmla="*/ 78 w 886"/>
                <a:gd name="T65" fmla="*/ 195 h 636"/>
                <a:gd name="T66" fmla="*/ 75 w 886"/>
                <a:gd name="T67" fmla="*/ 166 h 636"/>
                <a:gd name="T68" fmla="*/ 74 w 886"/>
                <a:gd name="T69" fmla="*/ 124 h 636"/>
                <a:gd name="T70" fmla="*/ 82 w 886"/>
                <a:gd name="T71" fmla="*/ 12 h 636"/>
                <a:gd name="T72" fmla="*/ 9 w 886"/>
                <a:gd name="T73" fmla="*/ 0 h 636"/>
                <a:gd name="T74" fmla="*/ 335 w 886"/>
                <a:gd name="T75" fmla="*/ 54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6" h="636">
                  <a:moveTo>
                    <a:pt x="9" y="0"/>
                  </a:moveTo>
                  <a:cubicBezTo>
                    <a:pt x="1" y="54"/>
                    <a:pt x="0" y="109"/>
                    <a:pt x="3" y="163"/>
                  </a:cubicBezTo>
                  <a:cubicBezTo>
                    <a:pt x="9" y="276"/>
                    <a:pt x="35" y="401"/>
                    <a:pt x="131" y="495"/>
                  </a:cubicBezTo>
                  <a:cubicBezTo>
                    <a:pt x="233" y="595"/>
                    <a:pt x="421" y="636"/>
                    <a:pt x="562" y="582"/>
                  </a:cubicBezTo>
                  <a:cubicBezTo>
                    <a:pt x="696" y="530"/>
                    <a:pt x="770" y="416"/>
                    <a:pt x="816" y="310"/>
                  </a:cubicBezTo>
                  <a:cubicBezTo>
                    <a:pt x="837" y="261"/>
                    <a:pt x="853" y="211"/>
                    <a:pt x="865" y="160"/>
                  </a:cubicBezTo>
                  <a:cubicBezTo>
                    <a:pt x="872" y="133"/>
                    <a:pt x="878" y="106"/>
                    <a:pt x="881" y="79"/>
                  </a:cubicBezTo>
                  <a:cubicBezTo>
                    <a:pt x="881" y="78"/>
                    <a:pt x="881" y="76"/>
                    <a:pt x="882" y="75"/>
                  </a:cubicBezTo>
                  <a:cubicBezTo>
                    <a:pt x="886" y="39"/>
                    <a:pt x="813" y="31"/>
                    <a:pt x="809" y="66"/>
                  </a:cubicBezTo>
                  <a:cubicBezTo>
                    <a:pt x="807" y="85"/>
                    <a:pt x="804" y="103"/>
                    <a:pt x="800" y="120"/>
                  </a:cubicBezTo>
                  <a:cubicBezTo>
                    <a:pt x="796" y="140"/>
                    <a:pt x="791" y="159"/>
                    <a:pt x="786" y="178"/>
                  </a:cubicBezTo>
                  <a:cubicBezTo>
                    <a:pt x="784" y="184"/>
                    <a:pt x="783" y="190"/>
                    <a:pt x="781" y="195"/>
                  </a:cubicBezTo>
                  <a:cubicBezTo>
                    <a:pt x="781" y="196"/>
                    <a:pt x="781" y="196"/>
                    <a:pt x="781" y="197"/>
                  </a:cubicBezTo>
                  <a:cubicBezTo>
                    <a:pt x="780" y="197"/>
                    <a:pt x="780" y="197"/>
                    <a:pt x="780" y="197"/>
                  </a:cubicBezTo>
                  <a:cubicBezTo>
                    <a:pt x="779" y="201"/>
                    <a:pt x="778" y="204"/>
                    <a:pt x="777" y="207"/>
                  </a:cubicBezTo>
                  <a:cubicBezTo>
                    <a:pt x="774" y="219"/>
                    <a:pt x="769" y="231"/>
                    <a:pt x="765" y="243"/>
                  </a:cubicBezTo>
                  <a:cubicBezTo>
                    <a:pt x="746" y="296"/>
                    <a:pt x="722" y="347"/>
                    <a:pt x="689" y="395"/>
                  </a:cubicBezTo>
                  <a:cubicBezTo>
                    <a:pt x="687" y="398"/>
                    <a:pt x="685" y="401"/>
                    <a:pt x="684" y="403"/>
                  </a:cubicBezTo>
                  <a:cubicBezTo>
                    <a:pt x="686" y="400"/>
                    <a:pt x="681" y="406"/>
                    <a:pt x="680" y="408"/>
                  </a:cubicBezTo>
                  <a:cubicBezTo>
                    <a:pt x="676" y="414"/>
                    <a:pt x="671" y="420"/>
                    <a:pt x="666" y="426"/>
                  </a:cubicBezTo>
                  <a:cubicBezTo>
                    <a:pt x="656" y="438"/>
                    <a:pt x="646" y="449"/>
                    <a:pt x="636" y="459"/>
                  </a:cubicBezTo>
                  <a:cubicBezTo>
                    <a:pt x="631" y="464"/>
                    <a:pt x="626" y="469"/>
                    <a:pt x="620" y="474"/>
                  </a:cubicBezTo>
                  <a:cubicBezTo>
                    <a:pt x="618" y="476"/>
                    <a:pt x="615" y="478"/>
                    <a:pt x="613" y="481"/>
                  </a:cubicBezTo>
                  <a:cubicBezTo>
                    <a:pt x="611" y="482"/>
                    <a:pt x="609" y="483"/>
                    <a:pt x="607" y="485"/>
                  </a:cubicBezTo>
                  <a:cubicBezTo>
                    <a:pt x="607" y="485"/>
                    <a:pt x="606" y="486"/>
                    <a:pt x="605" y="487"/>
                  </a:cubicBezTo>
                  <a:cubicBezTo>
                    <a:pt x="593" y="495"/>
                    <a:pt x="582" y="503"/>
                    <a:pt x="569" y="511"/>
                  </a:cubicBezTo>
                  <a:cubicBezTo>
                    <a:pt x="563" y="514"/>
                    <a:pt x="556" y="518"/>
                    <a:pt x="550" y="521"/>
                  </a:cubicBezTo>
                  <a:cubicBezTo>
                    <a:pt x="547" y="523"/>
                    <a:pt x="544" y="524"/>
                    <a:pt x="540" y="526"/>
                  </a:cubicBezTo>
                  <a:cubicBezTo>
                    <a:pt x="549" y="522"/>
                    <a:pt x="535" y="528"/>
                    <a:pt x="533" y="529"/>
                  </a:cubicBezTo>
                  <a:cubicBezTo>
                    <a:pt x="518" y="534"/>
                    <a:pt x="503" y="539"/>
                    <a:pt x="487" y="543"/>
                  </a:cubicBezTo>
                  <a:cubicBezTo>
                    <a:pt x="486" y="543"/>
                    <a:pt x="484" y="543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78" y="545"/>
                    <a:pt x="474" y="545"/>
                    <a:pt x="470" y="546"/>
                  </a:cubicBezTo>
                  <a:cubicBezTo>
                    <a:pt x="461" y="547"/>
                    <a:pt x="452" y="548"/>
                    <a:pt x="443" y="549"/>
                  </a:cubicBezTo>
                  <a:cubicBezTo>
                    <a:pt x="435" y="549"/>
                    <a:pt x="426" y="550"/>
                    <a:pt x="418" y="550"/>
                  </a:cubicBezTo>
                  <a:cubicBezTo>
                    <a:pt x="417" y="550"/>
                    <a:pt x="416" y="550"/>
                    <a:pt x="415" y="550"/>
                  </a:cubicBezTo>
                  <a:cubicBezTo>
                    <a:pt x="416" y="550"/>
                    <a:pt x="417" y="550"/>
                    <a:pt x="418" y="550"/>
                  </a:cubicBezTo>
                  <a:cubicBezTo>
                    <a:pt x="416" y="550"/>
                    <a:pt x="415" y="550"/>
                    <a:pt x="414" y="550"/>
                  </a:cubicBezTo>
                  <a:cubicBezTo>
                    <a:pt x="413" y="550"/>
                    <a:pt x="413" y="550"/>
                    <a:pt x="413" y="550"/>
                  </a:cubicBezTo>
                  <a:cubicBezTo>
                    <a:pt x="413" y="550"/>
                    <a:pt x="412" y="550"/>
                    <a:pt x="412" y="550"/>
                  </a:cubicBezTo>
                  <a:cubicBezTo>
                    <a:pt x="406" y="549"/>
                    <a:pt x="401" y="549"/>
                    <a:pt x="395" y="549"/>
                  </a:cubicBezTo>
                  <a:cubicBezTo>
                    <a:pt x="375" y="547"/>
                    <a:pt x="356" y="544"/>
                    <a:pt x="336" y="540"/>
                  </a:cubicBezTo>
                  <a:cubicBezTo>
                    <a:pt x="336" y="540"/>
                    <a:pt x="336" y="540"/>
                    <a:pt x="336" y="540"/>
                  </a:cubicBezTo>
                  <a:cubicBezTo>
                    <a:pt x="334" y="540"/>
                    <a:pt x="332" y="539"/>
                    <a:pt x="330" y="539"/>
                  </a:cubicBezTo>
                  <a:cubicBezTo>
                    <a:pt x="326" y="538"/>
                    <a:pt x="322" y="537"/>
                    <a:pt x="318" y="536"/>
                  </a:cubicBezTo>
                  <a:cubicBezTo>
                    <a:pt x="308" y="533"/>
                    <a:pt x="299" y="530"/>
                    <a:pt x="290" y="526"/>
                  </a:cubicBezTo>
                  <a:cubicBezTo>
                    <a:pt x="282" y="524"/>
                    <a:pt x="275" y="521"/>
                    <a:pt x="268" y="518"/>
                  </a:cubicBezTo>
                  <a:cubicBezTo>
                    <a:pt x="268" y="518"/>
                    <a:pt x="268" y="518"/>
                    <a:pt x="268" y="518"/>
                  </a:cubicBezTo>
                  <a:cubicBezTo>
                    <a:pt x="267" y="517"/>
                    <a:pt x="267" y="517"/>
                    <a:pt x="267" y="517"/>
                  </a:cubicBezTo>
                  <a:cubicBezTo>
                    <a:pt x="266" y="517"/>
                    <a:pt x="264" y="516"/>
                    <a:pt x="263" y="515"/>
                  </a:cubicBezTo>
                  <a:cubicBezTo>
                    <a:pt x="258" y="513"/>
                    <a:pt x="254" y="511"/>
                    <a:pt x="249" y="508"/>
                  </a:cubicBezTo>
                  <a:cubicBezTo>
                    <a:pt x="243" y="505"/>
                    <a:pt x="237" y="501"/>
                    <a:pt x="231" y="497"/>
                  </a:cubicBezTo>
                  <a:cubicBezTo>
                    <a:pt x="227" y="495"/>
                    <a:pt x="224" y="493"/>
                    <a:pt x="221" y="491"/>
                  </a:cubicBezTo>
                  <a:cubicBezTo>
                    <a:pt x="219" y="489"/>
                    <a:pt x="210" y="483"/>
                    <a:pt x="213" y="484"/>
                  </a:cubicBezTo>
                  <a:cubicBezTo>
                    <a:pt x="201" y="475"/>
                    <a:pt x="191" y="466"/>
                    <a:pt x="181" y="456"/>
                  </a:cubicBezTo>
                  <a:cubicBezTo>
                    <a:pt x="176" y="451"/>
                    <a:pt x="172" y="446"/>
                    <a:pt x="167" y="441"/>
                  </a:cubicBezTo>
                  <a:cubicBezTo>
                    <a:pt x="166" y="440"/>
                    <a:pt x="160" y="432"/>
                    <a:pt x="163" y="435"/>
                  </a:cubicBezTo>
                  <a:cubicBezTo>
                    <a:pt x="160" y="432"/>
                    <a:pt x="158" y="429"/>
                    <a:pt x="156" y="426"/>
                  </a:cubicBezTo>
                  <a:cubicBezTo>
                    <a:pt x="139" y="402"/>
                    <a:pt x="125" y="377"/>
                    <a:pt x="114" y="351"/>
                  </a:cubicBezTo>
                  <a:cubicBezTo>
                    <a:pt x="114" y="350"/>
                    <a:pt x="113" y="350"/>
                    <a:pt x="113" y="349"/>
                  </a:cubicBezTo>
                  <a:cubicBezTo>
                    <a:pt x="113" y="349"/>
                    <a:pt x="113" y="348"/>
                    <a:pt x="112" y="347"/>
                  </a:cubicBezTo>
                  <a:cubicBezTo>
                    <a:pt x="111" y="344"/>
                    <a:pt x="110" y="341"/>
                    <a:pt x="109" y="338"/>
                  </a:cubicBezTo>
                  <a:cubicBezTo>
                    <a:pt x="106" y="331"/>
                    <a:pt x="104" y="324"/>
                    <a:pt x="102" y="317"/>
                  </a:cubicBezTo>
                  <a:cubicBezTo>
                    <a:pt x="97" y="303"/>
                    <a:pt x="94" y="290"/>
                    <a:pt x="91" y="276"/>
                  </a:cubicBezTo>
                  <a:cubicBezTo>
                    <a:pt x="84" y="249"/>
                    <a:pt x="80" y="222"/>
                    <a:pt x="78" y="195"/>
                  </a:cubicBezTo>
                  <a:cubicBezTo>
                    <a:pt x="77" y="188"/>
                    <a:pt x="76" y="182"/>
                    <a:pt x="76" y="176"/>
                  </a:cubicBezTo>
                  <a:cubicBezTo>
                    <a:pt x="76" y="173"/>
                    <a:pt x="76" y="169"/>
                    <a:pt x="75" y="166"/>
                  </a:cubicBezTo>
                  <a:cubicBezTo>
                    <a:pt x="76" y="175"/>
                    <a:pt x="75" y="163"/>
                    <a:pt x="75" y="161"/>
                  </a:cubicBezTo>
                  <a:cubicBezTo>
                    <a:pt x="75" y="149"/>
                    <a:pt x="74" y="137"/>
                    <a:pt x="74" y="124"/>
                  </a:cubicBezTo>
                  <a:cubicBezTo>
                    <a:pt x="74" y="103"/>
                    <a:pt x="75" y="81"/>
                    <a:pt x="77" y="60"/>
                  </a:cubicBezTo>
                  <a:cubicBezTo>
                    <a:pt x="78" y="44"/>
                    <a:pt x="80" y="28"/>
                    <a:pt x="82" y="12"/>
                  </a:cubicBezTo>
                  <a:cubicBezTo>
                    <a:pt x="71" y="13"/>
                    <a:pt x="59" y="12"/>
                    <a:pt x="49" y="10"/>
                  </a:cubicBezTo>
                  <a:cubicBezTo>
                    <a:pt x="36" y="8"/>
                    <a:pt x="22" y="5"/>
                    <a:pt x="9" y="0"/>
                  </a:cubicBezTo>
                  <a:moveTo>
                    <a:pt x="335" y="540"/>
                  </a:moveTo>
                  <a:cubicBezTo>
                    <a:pt x="334" y="540"/>
                    <a:pt x="330" y="539"/>
                    <a:pt x="335" y="540"/>
                  </a:cubicBezTo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i$ľîḍè">
              <a:extLst>
                <a:ext uri="{FF2B5EF4-FFF2-40B4-BE49-F238E27FC236}">
                  <a16:creationId xmlns:a16="http://schemas.microsoft.com/office/drawing/2014/main" id="{01F67F03-2C13-4535-9551-B93954DDE284}"/>
                </a:ext>
              </a:extLst>
            </p:cNvPr>
            <p:cNvSpPr/>
            <p:nvPr/>
          </p:nvSpPr>
          <p:spPr bwMode="auto">
            <a:xfrm>
              <a:off x="6335713" y="3033713"/>
              <a:ext cx="250825" cy="425450"/>
            </a:xfrm>
            <a:custGeom>
              <a:avLst/>
              <a:gdLst>
                <a:gd name="T0" fmla="*/ 188 w 208"/>
                <a:gd name="T1" fmla="*/ 19 h 354"/>
                <a:gd name="T2" fmla="*/ 67 w 208"/>
                <a:gd name="T3" fmla="*/ 1 h 354"/>
                <a:gd name="T4" fmla="*/ 49 w 208"/>
                <a:gd name="T5" fmla="*/ 15 h 354"/>
                <a:gd name="T6" fmla="*/ 9 w 208"/>
                <a:gd name="T7" fmla="*/ 290 h 354"/>
                <a:gd name="T8" fmla="*/ 3 w 208"/>
                <a:gd name="T9" fmla="*/ 329 h 354"/>
                <a:gd name="T10" fmla="*/ 35 w 208"/>
                <a:gd name="T11" fmla="*/ 334 h 354"/>
                <a:gd name="T12" fmla="*/ 75 w 208"/>
                <a:gd name="T13" fmla="*/ 58 h 354"/>
                <a:gd name="T14" fmla="*/ 78 w 208"/>
                <a:gd name="T15" fmla="*/ 35 h 354"/>
                <a:gd name="T16" fmla="*/ 183 w 208"/>
                <a:gd name="T17" fmla="*/ 51 h 354"/>
                <a:gd name="T18" fmla="*/ 188 w 208"/>
                <a:gd name="T19" fmla="*/ 1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354">
                  <a:moveTo>
                    <a:pt x="188" y="19"/>
                  </a:moveTo>
                  <a:cubicBezTo>
                    <a:pt x="147" y="13"/>
                    <a:pt x="107" y="7"/>
                    <a:pt x="67" y="1"/>
                  </a:cubicBezTo>
                  <a:cubicBezTo>
                    <a:pt x="58" y="0"/>
                    <a:pt x="50" y="6"/>
                    <a:pt x="49" y="15"/>
                  </a:cubicBezTo>
                  <a:cubicBezTo>
                    <a:pt x="35" y="107"/>
                    <a:pt x="22" y="199"/>
                    <a:pt x="9" y="290"/>
                  </a:cubicBezTo>
                  <a:cubicBezTo>
                    <a:pt x="7" y="303"/>
                    <a:pt x="5" y="316"/>
                    <a:pt x="3" y="329"/>
                  </a:cubicBezTo>
                  <a:cubicBezTo>
                    <a:pt x="0" y="350"/>
                    <a:pt x="32" y="354"/>
                    <a:pt x="35" y="334"/>
                  </a:cubicBezTo>
                  <a:cubicBezTo>
                    <a:pt x="48" y="242"/>
                    <a:pt x="62" y="150"/>
                    <a:pt x="75" y="58"/>
                  </a:cubicBezTo>
                  <a:cubicBezTo>
                    <a:pt x="76" y="51"/>
                    <a:pt x="77" y="43"/>
                    <a:pt x="78" y="35"/>
                  </a:cubicBezTo>
                  <a:cubicBezTo>
                    <a:pt x="113" y="40"/>
                    <a:pt x="148" y="46"/>
                    <a:pt x="183" y="51"/>
                  </a:cubicBezTo>
                  <a:cubicBezTo>
                    <a:pt x="204" y="54"/>
                    <a:pt x="208" y="22"/>
                    <a:pt x="188" y="19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šḷîḍe">
              <a:extLst>
                <a:ext uri="{FF2B5EF4-FFF2-40B4-BE49-F238E27FC236}">
                  <a16:creationId xmlns:a16="http://schemas.microsoft.com/office/drawing/2014/main" id="{6DE03E50-2B45-4D4C-A3F9-FB96AA331FF1}"/>
                </a:ext>
              </a:extLst>
            </p:cNvPr>
            <p:cNvSpPr/>
            <p:nvPr/>
          </p:nvSpPr>
          <p:spPr bwMode="auto">
            <a:xfrm>
              <a:off x="6565900" y="3036888"/>
              <a:ext cx="85725" cy="85725"/>
            </a:xfrm>
            <a:custGeom>
              <a:avLst/>
              <a:gdLst>
                <a:gd name="T0" fmla="*/ 41 w 71"/>
                <a:gd name="T1" fmla="*/ 70 h 71"/>
                <a:gd name="T2" fmla="*/ 0 w 71"/>
                <a:gd name="T3" fmla="*/ 64 h 71"/>
                <a:gd name="T4" fmla="*/ 9 w 71"/>
                <a:gd name="T5" fmla="*/ 0 h 71"/>
                <a:gd name="T6" fmla="*/ 50 w 71"/>
                <a:gd name="T7" fmla="*/ 6 h 71"/>
                <a:gd name="T8" fmla="*/ 70 w 71"/>
                <a:gd name="T9" fmla="*/ 32 h 71"/>
                <a:gd name="T10" fmla="*/ 67 w 71"/>
                <a:gd name="T11" fmla="*/ 50 h 71"/>
                <a:gd name="T12" fmla="*/ 41 w 71"/>
                <a:gd name="T13" fmla="*/ 7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1">
                  <a:moveTo>
                    <a:pt x="41" y="7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63" y="8"/>
                    <a:pt x="71" y="20"/>
                    <a:pt x="70" y="32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5" y="63"/>
                    <a:pt x="53" y="71"/>
                    <a:pt x="41" y="70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ṩļîďè">
              <a:extLst>
                <a:ext uri="{FF2B5EF4-FFF2-40B4-BE49-F238E27FC236}">
                  <a16:creationId xmlns:a16="http://schemas.microsoft.com/office/drawing/2014/main" id="{868053DC-AD71-450D-AF92-88EE7AB1359D}"/>
                </a:ext>
              </a:extLst>
            </p:cNvPr>
            <p:cNvSpPr/>
            <p:nvPr/>
          </p:nvSpPr>
          <p:spPr bwMode="auto">
            <a:xfrm>
              <a:off x="6497638" y="3024188"/>
              <a:ext cx="85725" cy="95250"/>
            </a:xfrm>
            <a:custGeom>
              <a:avLst/>
              <a:gdLst>
                <a:gd name="T0" fmla="*/ 60 w 71"/>
                <a:gd name="T1" fmla="*/ 80 h 80"/>
                <a:gd name="T2" fmla="*/ 25 w 71"/>
                <a:gd name="T3" fmla="*/ 75 h 80"/>
                <a:gd name="T4" fmla="*/ 2 w 71"/>
                <a:gd name="T5" fmla="*/ 45 h 80"/>
                <a:gd name="T6" fmla="*/ 5 w 71"/>
                <a:gd name="T7" fmla="*/ 25 h 80"/>
                <a:gd name="T8" fmla="*/ 35 w 71"/>
                <a:gd name="T9" fmla="*/ 2 h 80"/>
                <a:gd name="T10" fmla="*/ 71 w 71"/>
                <a:gd name="T11" fmla="*/ 7 h 80"/>
                <a:gd name="T12" fmla="*/ 60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60" y="80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10" y="73"/>
                    <a:pt x="0" y="60"/>
                    <a:pt x="2" y="4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10"/>
                    <a:pt x="21" y="0"/>
                    <a:pt x="35" y="2"/>
                  </a:cubicBezTo>
                  <a:cubicBezTo>
                    <a:pt x="71" y="7"/>
                    <a:pt x="71" y="7"/>
                    <a:pt x="71" y="7"/>
                  </a:cubicBezTo>
                  <a:lnTo>
                    <a:pt x="60" y="80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ṥḷiḍe">
              <a:extLst>
                <a:ext uri="{FF2B5EF4-FFF2-40B4-BE49-F238E27FC236}">
                  <a16:creationId xmlns:a16="http://schemas.microsoft.com/office/drawing/2014/main" id="{83D10149-5889-4710-B4E1-57029378B081}"/>
                </a:ext>
              </a:extLst>
            </p:cNvPr>
            <p:cNvSpPr/>
            <p:nvPr/>
          </p:nvSpPr>
          <p:spPr bwMode="auto">
            <a:xfrm>
              <a:off x="6913563" y="3103563"/>
              <a:ext cx="193675" cy="450850"/>
            </a:xfrm>
            <a:custGeom>
              <a:avLst/>
              <a:gdLst>
                <a:gd name="T0" fmla="*/ 25 w 160"/>
                <a:gd name="T1" fmla="*/ 3 h 374"/>
                <a:gd name="T2" fmla="*/ 146 w 160"/>
                <a:gd name="T3" fmla="*/ 21 h 374"/>
                <a:gd name="T4" fmla="*/ 159 w 160"/>
                <a:gd name="T5" fmla="*/ 39 h 374"/>
                <a:gd name="T6" fmla="*/ 119 w 160"/>
                <a:gd name="T7" fmla="*/ 314 h 374"/>
                <a:gd name="T8" fmla="*/ 114 w 160"/>
                <a:gd name="T9" fmla="*/ 353 h 374"/>
                <a:gd name="T10" fmla="*/ 82 w 160"/>
                <a:gd name="T11" fmla="*/ 349 h 374"/>
                <a:gd name="T12" fmla="*/ 122 w 160"/>
                <a:gd name="T13" fmla="*/ 73 h 374"/>
                <a:gd name="T14" fmla="*/ 125 w 160"/>
                <a:gd name="T15" fmla="*/ 50 h 374"/>
                <a:gd name="T16" fmla="*/ 20 w 160"/>
                <a:gd name="T17" fmla="*/ 35 h 374"/>
                <a:gd name="T18" fmla="*/ 25 w 160"/>
                <a:gd name="T19" fmla="*/ 3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74">
                  <a:moveTo>
                    <a:pt x="25" y="3"/>
                  </a:moveTo>
                  <a:cubicBezTo>
                    <a:pt x="65" y="9"/>
                    <a:pt x="105" y="15"/>
                    <a:pt x="146" y="21"/>
                  </a:cubicBezTo>
                  <a:cubicBezTo>
                    <a:pt x="154" y="22"/>
                    <a:pt x="160" y="30"/>
                    <a:pt x="159" y="39"/>
                  </a:cubicBezTo>
                  <a:cubicBezTo>
                    <a:pt x="146" y="131"/>
                    <a:pt x="133" y="222"/>
                    <a:pt x="119" y="314"/>
                  </a:cubicBezTo>
                  <a:cubicBezTo>
                    <a:pt x="118" y="327"/>
                    <a:pt x="116" y="340"/>
                    <a:pt x="114" y="353"/>
                  </a:cubicBezTo>
                  <a:cubicBezTo>
                    <a:pt x="111" y="374"/>
                    <a:pt x="79" y="369"/>
                    <a:pt x="82" y="349"/>
                  </a:cubicBezTo>
                  <a:cubicBezTo>
                    <a:pt x="95" y="257"/>
                    <a:pt x="108" y="165"/>
                    <a:pt x="122" y="73"/>
                  </a:cubicBezTo>
                  <a:cubicBezTo>
                    <a:pt x="123" y="65"/>
                    <a:pt x="124" y="58"/>
                    <a:pt x="125" y="50"/>
                  </a:cubicBezTo>
                  <a:cubicBezTo>
                    <a:pt x="90" y="45"/>
                    <a:pt x="55" y="40"/>
                    <a:pt x="20" y="35"/>
                  </a:cubicBezTo>
                  <a:cubicBezTo>
                    <a:pt x="0" y="32"/>
                    <a:pt x="4" y="0"/>
                    <a:pt x="25" y="3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ṩḻídê">
              <a:extLst>
                <a:ext uri="{FF2B5EF4-FFF2-40B4-BE49-F238E27FC236}">
                  <a16:creationId xmlns:a16="http://schemas.microsoft.com/office/drawing/2014/main" id="{CD0272A2-E612-463D-AA43-AD3A5EF97F9D}"/>
                </a:ext>
              </a:extLst>
            </p:cNvPr>
            <p:cNvSpPr/>
            <p:nvPr/>
          </p:nvSpPr>
          <p:spPr bwMode="auto">
            <a:xfrm>
              <a:off x="6850063" y="3076575"/>
              <a:ext cx="85725" cy="87313"/>
            </a:xfrm>
            <a:custGeom>
              <a:avLst/>
              <a:gdLst>
                <a:gd name="T0" fmla="*/ 21 w 71"/>
                <a:gd name="T1" fmla="*/ 66 h 72"/>
                <a:gd name="T2" fmla="*/ 62 w 71"/>
                <a:gd name="T3" fmla="*/ 72 h 72"/>
                <a:gd name="T4" fmla="*/ 71 w 71"/>
                <a:gd name="T5" fmla="*/ 8 h 72"/>
                <a:gd name="T6" fmla="*/ 30 w 71"/>
                <a:gd name="T7" fmla="*/ 2 h 72"/>
                <a:gd name="T8" fmla="*/ 4 w 71"/>
                <a:gd name="T9" fmla="*/ 22 h 72"/>
                <a:gd name="T10" fmla="*/ 2 w 71"/>
                <a:gd name="T11" fmla="*/ 39 h 72"/>
                <a:gd name="T12" fmla="*/ 21 w 71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2">
                  <a:moveTo>
                    <a:pt x="21" y="66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18" y="0"/>
                    <a:pt x="6" y="9"/>
                    <a:pt x="4" y="22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0" y="52"/>
                    <a:pt x="9" y="64"/>
                    <a:pt x="21" y="66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îšľiďè">
              <a:extLst>
                <a:ext uri="{FF2B5EF4-FFF2-40B4-BE49-F238E27FC236}">
                  <a16:creationId xmlns:a16="http://schemas.microsoft.com/office/drawing/2014/main" id="{9CE41E03-FFD1-4AD4-B0FF-AFA70E502542}"/>
                </a:ext>
              </a:extLst>
            </p:cNvPr>
            <p:cNvSpPr/>
            <p:nvPr/>
          </p:nvSpPr>
          <p:spPr bwMode="auto">
            <a:xfrm>
              <a:off x="6916738" y="3078163"/>
              <a:ext cx="85725" cy="98425"/>
            </a:xfrm>
            <a:custGeom>
              <a:avLst/>
              <a:gdLst>
                <a:gd name="T0" fmla="*/ 0 w 71"/>
                <a:gd name="T1" fmla="*/ 74 h 81"/>
                <a:gd name="T2" fmla="*/ 36 w 71"/>
                <a:gd name="T3" fmla="*/ 79 h 81"/>
                <a:gd name="T4" fmla="*/ 66 w 71"/>
                <a:gd name="T5" fmla="*/ 56 h 81"/>
                <a:gd name="T6" fmla="*/ 69 w 71"/>
                <a:gd name="T7" fmla="*/ 36 h 81"/>
                <a:gd name="T8" fmla="*/ 46 w 71"/>
                <a:gd name="T9" fmla="*/ 5 h 81"/>
                <a:gd name="T10" fmla="*/ 11 w 71"/>
                <a:gd name="T11" fmla="*/ 0 h 81"/>
                <a:gd name="T12" fmla="*/ 0 w 71"/>
                <a:gd name="T13" fmla="*/ 7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1">
                  <a:moveTo>
                    <a:pt x="0" y="74"/>
                  </a:moveTo>
                  <a:cubicBezTo>
                    <a:pt x="36" y="79"/>
                    <a:pt x="36" y="79"/>
                    <a:pt x="36" y="79"/>
                  </a:cubicBezTo>
                  <a:cubicBezTo>
                    <a:pt x="50" y="81"/>
                    <a:pt x="64" y="71"/>
                    <a:pt x="66" y="5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1" y="21"/>
                    <a:pt x="61" y="8"/>
                    <a:pt x="46" y="5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ṧlîdê">
              <a:extLst>
                <a:ext uri="{FF2B5EF4-FFF2-40B4-BE49-F238E27FC236}">
                  <a16:creationId xmlns:a16="http://schemas.microsoft.com/office/drawing/2014/main" id="{1632A807-5108-44BE-989A-170EB8AD83C4}"/>
                </a:ext>
              </a:extLst>
            </p:cNvPr>
            <p:cNvSpPr/>
            <p:nvPr/>
          </p:nvSpPr>
          <p:spPr bwMode="auto">
            <a:xfrm>
              <a:off x="6630988" y="4132263"/>
              <a:ext cx="1588" cy="47625"/>
            </a:xfrm>
            <a:custGeom>
              <a:avLst/>
              <a:gdLst>
                <a:gd name="T0" fmla="*/ 2 w 2"/>
                <a:gd name="T1" fmla="*/ 0 h 39"/>
                <a:gd name="T2" fmla="*/ 2 w 2"/>
                <a:gd name="T3" fmla="*/ 3 h 39"/>
                <a:gd name="T4" fmla="*/ 0 w 2"/>
                <a:gd name="T5" fmla="*/ 39 h 39"/>
                <a:gd name="T6" fmla="*/ 0 w 2"/>
                <a:gd name="T7" fmla="*/ 39 h 39"/>
                <a:gd name="T8" fmla="*/ 2 w 2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9">
                  <a:moveTo>
                    <a:pt x="2" y="0"/>
                  </a:moveTo>
                  <a:cubicBezTo>
                    <a:pt x="2" y="1"/>
                    <a:pt x="2" y="2"/>
                    <a:pt x="2" y="3"/>
                  </a:cubicBezTo>
                  <a:cubicBezTo>
                    <a:pt x="1" y="15"/>
                    <a:pt x="0" y="27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4"/>
                    <a:pt x="1" y="9"/>
                    <a:pt x="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ṧ1îḋe">
              <a:extLst>
                <a:ext uri="{FF2B5EF4-FFF2-40B4-BE49-F238E27FC236}">
                  <a16:creationId xmlns:a16="http://schemas.microsoft.com/office/drawing/2014/main" id="{9C89203D-5DA5-4235-A2DA-B7760D0C433C}"/>
                </a:ext>
              </a:extLst>
            </p:cNvPr>
            <p:cNvSpPr/>
            <p:nvPr/>
          </p:nvSpPr>
          <p:spPr bwMode="auto">
            <a:xfrm>
              <a:off x="6545263" y="4095750"/>
              <a:ext cx="88900" cy="84138"/>
            </a:xfrm>
            <a:custGeom>
              <a:avLst/>
              <a:gdLst>
                <a:gd name="T0" fmla="*/ 4 w 74"/>
                <a:gd name="T1" fmla="*/ 0 h 69"/>
                <a:gd name="T2" fmla="*/ 0 w 74"/>
                <a:gd name="T3" fmla="*/ 28 h 69"/>
                <a:gd name="T4" fmla="*/ 71 w 74"/>
                <a:gd name="T5" fmla="*/ 69 h 69"/>
                <a:gd name="T6" fmla="*/ 73 w 74"/>
                <a:gd name="T7" fmla="*/ 33 h 69"/>
                <a:gd name="T8" fmla="*/ 73 w 74"/>
                <a:gd name="T9" fmla="*/ 30 h 69"/>
                <a:gd name="T10" fmla="*/ 74 w 74"/>
                <a:gd name="T11" fmla="*/ 18 h 69"/>
                <a:gd name="T12" fmla="*/ 4 w 74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9">
                  <a:moveTo>
                    <a:pt x="4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57"/>
                    <a:pt x="72" y="45"/>
                    <a:pt x="73" y="33"/>
                  </a:cubicBezTo>
                  <a:cubicBezTo>
                    <a:pt x="73" y="32"/>
                    <a:pt x="73" y="31"/>
                    <a:pt x="73" y="30"/>
                  </a:cubicBezTo>
                  <a:cubicBezTo>
                    <a:pt x="74" y="22"/>
                    <a:pt x="74" y="18"/>
                    <a:pt x="74" y="18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386F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ṥḷíḓê">
              <a:extLst>
                <a:ext uri="{FF2B5EF4-FFF2-40B4-BE49-F238E27FC236}">
                  <a16:creationId xmlns:a16="http://schemas.microsoft.com/office/drawing/2014/main" id="{444299CA-296A-42E1-BE4F-31573B6BA2DE}"/>
                </a:ext>
              </a:extLst>
            </p:cNvPr>
            <p:cNvSpPr/>
            <p:nvPr/>
          </p:nvSpPr>
          <p:spPr bwMode="auto">
            <a:xfrm>
              <a:off x="6303963" y="3402013"/>
              <a:ext cx="763588" cy="760413"/>
            </a:xfrm>
            <a:custGeom>
              <a:avLst/>
              <a:gdLst>
                <a:gd name="T0" fmla="*/ 1 w 633"/>
                <a:gd name="T1" fmla="*/ 199 h 631"/>
                <a:gd name="T2" fmla="*/ 377 w 633"/>
                <a:gd name="T3" fmla="*/ 580 h 631"/>
                <a:gd name="T4" fmla="*/ 613 w 633"/>
                <a:gd name="T5" fmla="*/ 190 h 631"/>
                <a:gd name="T6" fmla="*/ 628 w 633"/>
                <a:gd name="T7" fmla="*/ 112 h 631"/>
                <a:gd name="T8" fmla="*/ 568 w 633"/>
                <a:gd name="T9" fmla="*/ 154 h 631"/>
                <a:gd name="T10" fmla="*/ 551 w 633"/>
                <a:gd name="T11" fmla="*/ 223 h 631"/>
                <a:gd name="T12" fmla="*/ 548 w 633"/>
                <a:gd name="T13" fmla="*/ 234 h 631"/>
                <a:gd name="T14" fmla="*/ 476 w 633"/>
                <a:gd name="T15" fmla="*/ 408 h 631"/>
                <a:gd name="T16" fmla="*/ 469 w 633"/>
                <a:gd name="T17" fmla="*/ 419 h 631"/>
                <a:gd name="T18" fmla="*/ 435 w 633"/>
                <a:gd name="T19" fmla="*/ 467 h 631"/>
                <a:gd name="T20" fmla="*/ 418 w 633"/>
                <a:gd name="T21" fmla="*/ 487 h 631"/>
                <a:gd name="T22" fmla="*/ 413 w 633"/>
                <a:gd name="T23" fmla="*/ 491 h 631"/>
                <a:gd name="T24" fmla="*/ 371 w 633"/>
                <a:gd name="T25" fmla="*/ 524 h 631"/>
                <a:gd name="T26" fmla="*/ 359 w 633"/>
                <a:gd name="T27" fmla="*/ 531 h 631"/>
                <a:gd name="T28" fmla="*/ 322 w 633"/>
                <a:gd name="T29" fmla="*/ 546 h 631"/>
                <a:gd name="T30" fmla="*/ 314 w 633"/>
                <a:gd name="T31" fmla="*/ 548 h 631"/>
                <a:gd name="T32" fmla="*/ 276 w 633"/>
                <a:gd name="T33" fmla="*/ 552 h 631"/>
                <a:gd name="T34" fmla="*/ 272 w 633"/>
                <a:gd name="T35" fmla="*/ 551 h 631"/>
                <a:gd name="T36" fmla="*/ 218 w 633"/>
                <a:gd name="T37" fmla="*/ 543 h 631"/>
                <a:gd name="T38" fmla="*/ 214 w 633"/>
                <a:gd name="T39" fmla="*/ 542 h 631"/>
                <a:gd name="T40" fmla="*/ 186 w 633"/>
                <a:gd name="T41" fmla="*/ 531 h 631"/>
                <a:gd name="T42" fmla="*/ 171 w 633"/>
                <a:gd name="T43" fmla="*/ 523 h 631"/>
                <a:gd name="T44" fmla="*/ 159 w 633"/>
                <a:gd name="T45" fmla="*/ 515 h 631"/>
                <a:gd name="T46" fmla="*/ 139 w 633"/>
                <a:gd name="T47" fmla="*/ 499 h 631"/>
                <a:gd name="T48" fmla="*/ 113 w 633"/>
                <a:gd name="T49" fmla="*/ 467 h 631"/>
                <a:gd name="T50" fmla="*/ 102 w 633"/>
                <a:gd name="T51" fmla="*/ 450 h 631"/>
                <a:gd name="T52" fmla="*/ 70 w 633"/>
                <a:gd name="T53" fmla="*/ 371 h 631"/>
                <a:gd name="T54" fmla="*/ 69 w 633"/>
                <a:gd name="T55" fmla="*/ 367 h 631"/>
                <a:gd name="T56" fmla="*/ 63 w 633"/>
                <a:gd name="T57" fmla="*/ 340 h 631"/>
                <a:gd name="T58" fmla="*/ 52 w 633"/>
                <a:gd name="T59" fmla="*/ 228 h 631"/>
                <a:gd name="T60" fmla="*/ 52 w 633"/>
                <a:gd name="T61" fmla="*/ 202 h 631"/>
                <a:gd name="T62" fmla="*/ 53 w 633"/>
                <a:gd name="T63" fmla="*/ 163 h 631"/>
                <a:gd name="T64" fmla="*/ 68 w 633"/>
                <a:gd name="T65" fmla="*/ 35 h 631"/>
                <a:gd name="T66" fmla="*/ 47 w 633"/>
                <a:gd name="T67" fmla="*/ 2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3" h="631">
                  <a:moveTo>
                    <a:pt x="18" y="24"/>
                  </a:moveTo>
                  <a:cubicBezTo>
                    <a:pt x="6" y="81"/>
                    <a:pt x="2" y="141"/>
                    <a:pt x="1" y="199"/>
                  </a:cubicBezTo>
                  <a:cubicBezTo>
                    <a:pt x="0" y="303"/>
                    <a:pt x="12" y="418"/>
                    <a:pt x="75" y="503"/>
                  </a:cubicBezTo>
                  <a:cubicBezTo>
                    <a:pt x="143" y="594"/>
                    <a:pt x="274" y="631"/>
                    <a:pt x="377" y="580"/>
                  </a:cubicBezTo>
                  <a:cubicBezTo>
                    <a:pt x="475" y="531"/>
                    <a:pt x="532" y="426"/>
                    <a:pt x="570" y="328"/>
                  </a:cubicBezTo>
                  <a:cubicBezTo>
                    <a:pt x="587" y="283"/>
                    <a:pt x="601" y="237"/>
                    <a:pt x="613" y="190"/>
                  </a:cubicBezTo>
                  <a:cubicBezTo>
                    <a:pt x="618" y="165"/>
                    <a:pt x="624" y="140"/>
                    <a:pt x="628" y="115"/>
                  </a:cubicBezTo>
                  <a:cubicBezTo>
                    <a:pt x="628" y="114"/>
                    <a:pt x="628" y="113"/>
                    <a:pt x="628" y="112"/>
                  </a:cubicBezTo>
                  <a:cubicBezTo>
                    <a:pt x="633" y="79"/>
                    <a:pt x="582" y="72"/>
                    <a:pt x="577" y="104"/>
                  </a:cubicBezTo>
                  <a:cubicBezTo>
                    <a:pt x="575" y="121"/>
                    <a:pt x="572" y="138"/>
                    <a:pt x="568" y="154"/>
                  </a:cubicBezTo>
                  <a:cubicBezTo>
                    <a:pt x="564" y="172"/>
                    <a:pt x="560" y="190"/>
                    <a:pt x="555" y="208"/>
                  </a:cubicBezTo>
                  <a:cubicBezTo>
                    <a:pt x="554" y="213"/>
                    <a:pt x="552" y="218"/>
                    <a:pt x="551" y="223"/>
                  </a:cubicBezTo>
                  <a:cubicBezTo>
                    <a:pt x="549" y="230"/>
                    <a:pt x="552" y="219"/>
                    <a:pt x="550" y="225"/>
                  </a:cubicBezTo>
                  <a:cubicBezTo>
                    <a:pt x="550" y="228"/>
                    <a:pt x="549" y="231"/>
                    <a:pt x="548" y="234"/>
                  </a:cubicBezTo>
                  <a:cubicBezTo>
                    <a:pt x="545" y="245"/>
                    <a:pt x="541" y="256"/>
                    <a:pt x="537" y="267"/>
                  </a:cubicBezTo>
                  <a:cubicBezTo>
                    <a:pt x="521" y="316"/>
                    <a:pt x="502" y="363"/>
                    <a:pt x="476" y="408"/>
                  </a:cubicBezTo>
                  <a:cubicBezTo>
                    <a:pt x="475" y="410"/>
                    <a:pt x="473" y="413"/>
                    <a:pt x="471" y="416"/>
                  </a:cubicBezTo>
                  <a:cubicBezTo>
                    <a:pt x="474" y="411"/>
                    <a:pt x="470" y="418"/>
                    <a:pt x="469" y="419"/>
                  </a:cubicBezTo>
                  <a:cubicBezTo>
                    <a:pt x="466" y="425"/>
                    <a:pt x="462" y="431"/>
                    <a:pt x="458" y="436"/>
                  </a:cubicBezTo>
                  <a:cubicBezTo>
                    <a:pt x="451" y="447"/>
                    <a:pt x="443" y="457"/>
                    <a:pt x="435" y="467"/>
                  </a:cubicBezTo>
                  <a:cubicBezTo>
                    <a:pt x="431" y="472"/>
                    <a:pt x="427" y="476"/>
                    <a:pt x="423" y="480"/>
                  </a:cubicBezTo>
                  <a:cubicBezTo>
                    <a:pt x="421" y="483"/>
                    <a:pt x="420" y="485"/>
                    <a:pt x="418" y="487"/>
                  </a:cubicBezTo>
                  <a:cubicBezTo>
                    <a:pt x="416" y="488"/>
                    <a:pt x="415" y="489"/>
                    <a:pt x="414" y="491"/>
                  </a:cubicBezTo>
                  <a:cubicBezTo>
                    <a:pt x="413" y="492"/>
                    <a:pt x="408" y="496"/>
                    <a:pt x="413" y="491"/>
                  </a:cubicBezTo>
                  <a:cubicBezTo>
                    <a:pt x="404" y="500"/>
                    <a:pt x="395" y="507"/>
                    <a:pt x="385" y="515"/>
                  </a:cubicBezTo>
                  <a:cubicBezTo>
                    <a:pt x="381" y="518"/>
                    <a:pt x="376" y="521"/>
                    <a:pt x="371" y="524"/>
                  </a:cubicBezTo>
                  <a:cubicBezTo>
                    <a:pt x="369" y="526"/>
                    <a:pt x="367" y="527"/>
                    <a:pt x="364" y="528"/>
                  </a:cubicBezTo>
                  <a:cubicBezTo>
                    <a:pt x="370" y="525"/>
                    <a:pt x="361" y="530"/>
                    <a:pt x="359" y="531"/>
                  </a:cubicBezTo>
                  <a:cubicBezTo>
                    <a:pt x="348" y="537"/>
                    <a:pt x="337" y="541"/>
                    <a:pt x="326" y="545"/>
                  </a:cubicBezTo>
                  <a:cubicBezTo>
                    <a:pt x="324" y="545"/>
                    <a:pt x="323" y="545"/>
                    <a:pt x="322" y="546"/>
                  </a:cubicBezTo>
                  <a:cubicBezTo>
                    <a:pt x="316" y="548"/>
                    <a:pt x="328" y="544"/>
                    <a:pt x="322" y="546"/>
                  </a:cubicBezTo>
                  <a:cubicBezTo>
                    <a:pt x="319" y="546"/>
                    <a:pt x="316" y="547"/>
                    <a:pt x="314" y="548"/>
                  </a:cubicBezTo>
                  <a:cubicBezTo>
                    <a:pt x="307" y="549"/>
                    <a:pt x="301" y="550"/>
                    <a:pt x="294" y="551"/>
                  </a:cubicBezTo>
                  <a:cubicBezTo>
                    <a:pt x="288" y="551"/>
                    <a:pt x="282" y="551"/>
                    <a:pt x="276" y="552"/>
                  </a:cubicBezTo>
                  <a:cubicBezTo>
                    <a:pt x="274" y="552"/>
                    <a:pt x="270" y="551"/>
                    <a:pt x="276" y="552"/>
                  </a:cubicBezTo>
                  <a:cubicBezTo>
                    <a:pt x="275" y="552"/>
                    <a:pt x="273" y="552"/>
                    <a:pt x="272" y="551"/>
                  </a:cubicBezTo>
                  <a:cubicBezTo>
                    <a:pt x="268" y="551"/>
                    <a:pt x="264" y="551"/>
                    <a:pt x="260" y="551"/>
                  </a:cubicBezTo>
                  <a:cubicBezTo>
                    <a:pt x="246" y="549"/>
                    <a:pt x="232" y="547"/>
                    <a:pt x="218" y="543"/>
                  </a:cubicBezTo>
                  <a:cubicBezTo>
                    <a:pt x="217" y="543"/>
                    <a:pt x="214" y="542"/>
                    <a:pt x="219" y="544"/>
                  </a:cubicBezTo>
                  <a:cubicBezTo>
                    <a:pt x="218" y="543"/>
                    <a:pt x="216" y="543"/>
                    <a:pt x="214" y="542"/>
                  </a:cubicBezTo>
                  <a:cubicBezTo>
                    <a:pt x="212" y="541"/>
                    <a:pt x="209" y="540"/>
                    <a:pt x="206" y="539"/>
                  </a:cubicBezTo>
                  <a:cubicBezTo>
                    <a:pt x="199" y="537"/>
                    <a:pt x="193" y="534"/>
                    <a:pt x="186" y="531"/>
                  </a:cubicBezTo>
                  <a:cubicBezTo>
                    <a:pt x="181" y="529"/>
                    <a:pt x="176" y="526"/>
                    <a:pt x="171" y="523"/>
                  </a:cubicBezTo>
                  <a:cubicBezTo>
                    <a:pt x="166" y="520"/>
                    <a:pt x="176" y="526"/>
                    <a:pt x="171" y="523"/>
                  </a:cubicBezTo>
                  <a:cubicBezTo>
                    <a:pt x="170" y="522"/>
                    <a:pt x="169" y="522"/>
                    <a:pt x="168" y="521"/>
                  </a:cubicBezTo>
                  <a:cubicBezTo>
                    <a:pt x="165" y="519"/>
                    <a:pt x="162" y="517"/>
                    <a:pt x="159" y="515"/>
                  </a:cubicBezTo>
                  <a:cubicBezTo>
                    <a:pt x="154" y="511"/>
                    <a:pt x="150" y="508"/>
                    <a:pt x="146" y="505"/>
                  </a:cubicBezTo>
                  <a:cubicBezTo>
                    <a:pt x="144" y="503"/>
                    <a:pt x="141" y="501"/>
                    <a:pt x="139" y="499"/>
                  </a:cubicBezTo>
                  <a:cubicBezTo>
                    <a:pt x="138" y="497"/>
                    <a:pt x="130" y="489"/>
                    <a:pt x="135" y="494"/>
                  </a:cubicBezTo>
                  <a:cubicBezTo>
                    <a:pt x="127" y="486"/>
                    <a:pt x="119" y="477"/>
                    <a:pt x="113" y="467"/>
                  </a:cubicBezTo>
                  <a:cubicBezTo>
                    <a:pt x="109" y="462"/>
                    <a:pt x="107" y="458"/>
                    <a:pt x="104" y="453"/>
                  </a:cubicBezTo>
                  <a:cubicBezTo>
                    <a:pt x="103" y="452"/>
                    <a:pt x="98" y="443"/>
                    <a:pt x="102" y="450"/>
                  </a:cubicBezTo>
                  <a:cubicBezTo>
                    <a:pt x="100" y="447"/>
                    <a:pt x="98" y="443"/>
                    <a:pt x="96" y="440"/>
                  </a:cubicBezTo>
                  <a:cubicBezTo>
                    <a:pt x="85" y="418"/>
                    <a:pt x="77" y="395"/>
                    <a:pt x="70" y="371"/>
                  </a:cubicBezTo>
                  <a:cubicBezTo>
                    <a:pt x="70" y="370"/>
                    <a:pt x="70" y="369"/>
                    <a:pt x="69" y="367"/>
                  </a:cubicBezTo>
                  <a:cubicBezTo>
                    <a:pt x="71" y="373"/>
                    <a:pt x="70" y="369"/>
                    <a:pt x="69" y="367"/>
                  </a:cubicBezTo>
                  <a:cubicBezTo>
                    <a:pt x="69" y="365"/>
                    <a:pt x="68" y="362"/>
                    <a:pt x="67" y="359"/>
                  </a:cubicBezTo>
                  <a:cubicBezTo>
                    <a:pt x="66" y="353"/>
                    <a:pt x="64" y="346"/>
                    <a:pt x="63" y="340"/>
                  </a:cubicBezTo>
                  <a:cubicBezTo>
                    <a:pt x="61" y="327"/>
                    <a:pt x="59" y="315"/>
                    <a:pt x="57" y="302"/>
                  </a:cubicBezTo>
                  <a:cubicBezTo>
                    <a:pt x="54" y="277"/>
                    <a:pt x="53" y="253"/>
                    <a:pt x="52" y="228"/>
                  </a:cubicBezTo>
                  <a:cubicBezTo>
                    <a:pt x="52" y="222"/>
                    <a:pt x="52" y="216"/>
                    <a:pt x="52" y="210"/>
                  </a:cubicBezTo>
                  <a:cubicBezTo>
                    <a:pt x="52" y="207"/>
                    <a:pt x="52" y="204"/>
                    <a:pt x="52" y="202"/>
                  </a:cubicBezTo>
                  <a:cubicBezTo>
                    <a:pt x="52" y="210"/>
                    <a:pt x="52" y="199"/>
                    <a:pt x="52" y="197"/>
                  </a:cubicBezTo>
                  <a:cubicBezTo>
                    <a:pt x="52" y="186"/>
                    <a:pt x="53" y="174"/>
                    <a:pt x="53" y="163"/>
                  </a:cubicBezTo>
                  <a:cubicBezTo>
                    <a:pt x="54" y="143"/>
                    <a:pt x="56" y="123"/>
                    <a:pt x="58" y="104"/>
                  </a:cubicBezTo>
                  <a:cubicBezTo>
                    <a:pt x="61" y="81"/>
                    <a:pt x="64" y="58"/>
                    <a:pt x="68" y="35"/>
                  </a:cubicBezTo>
                  <a:cubicBezTo>
                    <a:pt x="68" y="34"/>
                    <a:pt x="68" y="33"/>
                    <a:pt x="69" y="31"/>
                  </a:cubicBezTo>
                  <a:cubicBezTo>
                    <a:pt x="72" y="18"/>
                    <a:pt x="60" y="4"/>
                    <a:pt x="47" y="2"/>
                  </a:cubicBezTo>
                  <a:cubicBezTo>
                    <a:pt x="32" y="0"/>
                    <a:pt x="21" y="10"/>
                    <a:pt x="18" y="24"/>
                  </a:cubicBezTo>
                  <a:close/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šḷíḓê">
              <a:extLst>
                <a:ext uri="{FF2B5EF4-FFF2-40B4-BE49-F238E27FC236}">
                  <a16:creationId xmlns:a16="http://schemas.microsoft.com/office/drawing/2014/main" id="{5020C854-C563-4947-AFE5-D403A63A72AA}"/>
                </a:ext>
              </a:extLst>
            </p:cNvPr>
            <p:cNvSpPr/>
            <p:nvPr/>
          </p:nvSpPr>
          <p:spPr bwMode="auto">
            <a:xfrm>
              <a:off x="7037388" y="3629025"/>
              <a:ext cx="430213" cy="360363"/>
            </a:xfrm>
            <a:custGeom>
              <a:avLst/>
              <a:gdLst>
                <a:gd name="T0" fmla="*/ 356 w 356"/>
                <a:gd name="T1" fmla="*/ 201 h 300"/>
                <a:gd name="T2" fmla="*/ 239 w 356"/>
                <a:gd name="T3" fmla="*/ 118 h 300"/>
                <a:gd name="T4" fmla="*/ 30 w 356"/>
                <a:gd name="T5" fmla="*/ 0 h 300"/>
                <a:gd name="T6" fmla="*/ 0 w 356"/>
                <a:gd name="T7" fmla="*/ 48 h 300"/>
                <a:gd name="T8" fmla="*/ 198 w 356"/>
                <a:gd name="T9" fmla="*/ 273 h 300"/>
                <a:gd name="T10" fmla="*/ 314 w 356"/>
                <a:gd name="T11" fmla="*/ 288 h 300"/>
                <a:gd name="T12" fmla="*/ 356 w 356"/>
                <a:gd name="T13" fmla="*/ 201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300">
                  <a:moveTo>
                    <a:pt x="356" y="201"/>
                  </a:moveTo>
                  <a:cubicBezTo>
                    <a:pt x="239" y="118"/>
                    <a:pt x="239" y="118"/>
                    <a:pt x="239" y="1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73"/>
                    <a:pt x="310" y="300"/>
                    <a:pt x="314" y="288"/>
                  </a:cubicBezTo>
                  <a:cubicBezTo>
                    <a:pt x="318" y="276"/>
                    <a:pt x="356" y="201"/>
                    <a:pt x="356" y="201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ŝḷïďé">
              <a:extLst>
                <a:ext uri="{FF2B5EF4-FFF2-40B4-BE49-F238E27FC236}">
                  <a16:creationId xmlns:a16="http://schemas.microsoft.com/office/drawing/2014/main" id="{0DB03730-D1F2-44EC-AEB0-8D16058AC3DD}"/>
                </a:ext>
              </a:extLst>
            </p:cNvPr>
            <p:cNvSpPr/>
            <p:nvPr/>
          </p:nvSpPr>
          <p:spPr bwMode="auto">
            <a:xfrm>
              <a:off x="6935788" y="3544888"/>
              <a:ext cx="166688" cy="163513"/>
            </a:xfrm>
            <a:custGeom>
              <a:avLst/>
              <a:gdLst>
                <a:gd name="T0" fmla="*/ 94 w 105"/>
                <a:gd name="T1" fmla="*/ 61 h 103"/>
                <a:gd name="T2" fmla="*/ 61 w 105"/>
                <a:gd name="T3" fmla="*/ 0 h 103"/>
                <a:gd name="T4" fmla="*/ 0 w 105"/>
                <a:gd name="T5" fmla="*/ 8 h 103"/>
                <a:gd name="T6" fmla="*/ 1 w 105"/>
                <a:gd name="T7" fmla="*/ 96 h 103"/>
                <a:gd name="T8" fmla="*/ 12 w 105"/>
                <a:gd name="T9" fmla="*/ 103 h 103"/>
                <a:gd name="T10" fmla="*/ 18 w 105"/>
                <a:gd name="T11" fmla="*/ 86 h 103"/>
                <a:gd name="T12" fmla="*/ 58 w 105"/>
                <a:gd name="T13" fmla="*/ 103 h 103"/>
                <a:gd name="T14" fmla="*/ 105 w 105"/>
                <a:gd name="T15" fmla="*/ 81 h 103"/>
                <a:gd name="T16" fmla="*/ 94 w 105"/>
                <a:gd name="T17" fmla="*/ 6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3">
                  <a:moveTo>
                    <a:pt x="94" y="61"/>
                  </a:moveTo>
                  <a:lnTo>
                    <a:pt x="61" y="0"/>
                  </a:lnTo>
                  <a:lnTo>
                    <a:pt x="0" y="8"/>
                  </a:lnTo>
                  <a:lnTo>
                    <a:pt x="1" y="96"/>
                  </a:lnTo>
                  <a:lnTo>
                    <a:pt x="12" y="103"/>
                  </a:lnTo>
                  <a:lnTo>
                    <a:pt x="18" y="86"/>
                  </a:lnTo>
                  <a:lnTo>
                    <a:pt x="58" y="103"/>
                  </a:lnTo>
                  <a:lnTo>
                    <a:pt x="105" y="81"/>
                  </a:lnTo>
                  <a:lnTo>
                    <a:pt x="94" y="61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Sľiḍe">
              <a:extLst>
                <a:ext uri="{FF2B5EF4-FFF2-40B4-BE49-F238E27FC236}">
                  <a16:creationId xmlns:a16="http://schemas.microsoft.com/office/drawing/2014/main" id="{3B491D4A-C463-4E43-BCDE-59BE1ECBDB1B}"/>
                </a:ext>
              </a:extLst>
            </p:cNvPr>
            <p:cNvSpPr/>
            <p:nvPr/>
          </p:nvSpPr>
          <p:spPr bwMode="auto">
            <a:xfrm>
              <a:off x="6091238" y="3381375"/>
              <a:ext cx="342900" cy="511175"/>
            </a:xfrm>
            <a:custGeom>
              <a:avLst/>
              <a:gdLst>
                <a:gd name="T0" fmla="*/ 0 w 284"/>
                <a:gd name="T1" fmla="*/ 320 h 424"/>
                <a:gd name="T2" fmla="*/ 20 w 284"/>
                <a:gd name="T3" fmla="*/ 232 h 424"/>
                <a:gd name="T4" fmla="*/ 192 w 284"/>
                <a:gd name="T5" fmla="*/ 20 h 424"/>
                <a:gd name="T6" fmla="*/ 268 w 284"/>
                <a:gd name="T7" fmla="*/ 0 h 424"/>
                <a:gd name="T8" fmla="*/ 284 w 284"/>
                <a:gd name="T9" fmla="*/ 60 h 424"/>
                <a:gd name="T10" fmla="*/ 232 w 284"/>
                <a:gd name="T11" fmla="*/ 150 h 424"/>
                <a:gd name="T12" fmla="*/ 224 w 284"/>
                <a:gd name="T13" fmla="*/ 136 h 424"/>
                <a:gd name="T14" fmla="*/ 182 w 284"/>
                <a:gd name="T15" fmla="*/ 134 h 424"/>
                <a:gd name="T16" fmla="*/ 176 w 284"/>
                <a:gd name="T17" fmla="*/ 160 h 424"/>
                <a:gd name="T18" fmla="*/ 142 w 284"/>
                <a:gd name="T19" fmla="*/ 162 h 424"/>
                <a:gd name="T20" fmla="*/ 120 w 284"/>
                <a:gd name="T21" fmla="*/ 372 h 424"/>
                <a:gd name="T22" fmla="*/ 36 w 284"/>
                <a:gd name="T23" fmla="*/ 424 h 424"/>
                <a:gd name="T24" fmla="*/ 0 w 284"/>
                <a:gd name="T25" fmla="*/ 32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424">
                  <a:moveTo>
                    <a:pt x="0" y="320"/>
                  </a:moveTo>
                  <a:cubicBezTo>
                    <a:pt x="0" y="316"/>
                    <a:pt x="20" y="232"/>
                    <a:pt x="20" y="232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2" y="20"/>
                    <a:pt x="260" y="0"/>
                    <a:pt x="268" y="0"/>
                  </a:cubicBezTo>
                  <a:cubicBezTo>
                    <a:pt x="276" y="0"/>
                    <a:pt x="284" y="60"/>
                    <a:pt x="284" y="6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182" y="134"/>
                    <a:pt x="182" y="134"/>
                    <a:pt x="182" y="134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42" y="162"/>
                    <a:pt x="142" y="162"/>
                    <a:pt x="142" y="162"/>
                  </a:cubicBezTo>
                  <a:cubicBezTo>
                    <a:pt x="120" y="372"/>
                    <a:pt x="120" y="372"/>
                    <a:pt x="120" y="372"/>
                  </a:cubicBezTo>
                  <a:cubicBezTo>
                    <a:pt x="36" y="424"/>
                    <a:pt x="36" y="424"/>
                    <a:pt x="36" y="424"/>
                  </a:cubicBezTo>
                  <a:lnTo>
                    <a:pt x="0" y="320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s1îḍé">
              <a:extLst>
                <a:ext uri="{FF2B5EF4-FFF2-40B4-BE49-F238E27FC236}">
                  <a16:creationId xmlns:a16="http://schemas.microsoft.com/office/drawing/2014/main" id="{027D61A7-C229-4A00-88C5-5C1E91570DF7}"/>
                </a:ext>
              </a:extLst>
            </p:cNvPr>
            <p:cNvSpPr/>
            <p:nvPr/>
          </p:nvSpPr>
          <p:spPr bwMode="auto">
            <a:xfrm>
              <a:off x="5029200" y="4210050"/>
              <a:ext cx="565150" cy="1128713"/>
            </a:xfrm>
            <a:custGeom>
              <a:avLst/>
              <a:gdLst>
                <a:gd name="T0" fmla="*/ 237 w 356"/>
                <a:gd name="T1" fmla="*/ 0 h 711"/>
                <a:gd name="T2" fmla="*/ 356 w 356"/>
                <a:gd name="T3" fmla="*/ 183 h 711"/>
                <a:gd name="T4" fmla="*/ 171 w 356"/>
                <a:gd name="T5" fmla="*/ 711 h 711"/>
                <a:gd name="T6" fmla="*/ 95 w 356"/>
                <a:gd name="T7" fmla="*/ 711 h 711"/>
                <a:gd name="T8" fmla="*/ 168 w 356"/>
                <a:gd name="T9" fmla="*/ 224 h 711"/>
                <a:gd name="T10" fmla="*/ 0 w 356"/>
                <a:gd name="T11" fmla="*/ 25 h 711"/>
                <a:gd name="T12" fmla="*/ 237 w 356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711">
                  <a:moveTo>
                    <a:pt x="237" y="0"/>
                  </a:moveTo>
                  <a:lnTo>
                    <a:pt x="356" y="183"/>
                  </a:lnTo>
                  <a:lnTo>
                    <a:pt x="171" y="711"/>
                  </a:lnTo>
                  <a:lnTo>
                    <a:pt x="95" y="711"/>
                  </a:lnTo>
                  <a:lnTo>
                    <a:pt x="168" y="224"/>
                  </a:lnTo>
                  <a:lnTo>
                    <a:pt x="0" y="25"/>
                  </a:lnTo>
                  <a:lnTo>
                    <a:pt x="23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S1îḍe">
              <a:extLst>
                <a:ext uri="{FF2B5EF4-FFF2-40B4-BE49-F238E27FC236}">
                  <a16:creationId xmlns:a16="http://schemas.microsoft.com/office/drawing/2014/main" id="{4EF8DE95-2A0E-47C0-8911-F252AC6EB5D9}"/>
                </a:ext>
              </a:extLst>
            </p:cNvPr>
            <p:cNvSpPr/>
            <p:nvPr/>
          </p:nvSpPr>
          <p:spPr bwMode="auto">
            <a:xfrm>
              <a:off x="4637088" y="4160838"/>
              <a:ext cx="587375" cy="1177925"/>
            </a:xfrm>
            <a:custGeom>
              <a:avLst/>
              <a:gdLst>
                <a:gd name="T0" fmla="*/ 320 w 370"/>
                <a:gd name="T1" fmla="*/ 50 h 742"/>
                <a:gd name="T2" fmla="*/ 370 w 370"/>
                <a:gd name="T3" fmla="*/ 251 h 742"/>
                <a:gd name="T4" fmla="*/ 251 w 370"/>
                <a:gd name="T5" fmla="*/ 742 h 742"/>
                <a:gd name="T6" fmla="*/ 173 w 370"/>
                <a:gd name="T7" fmla="*/ 729 h 742"/>
                <a:gd name="T8" fmla="*/ 185 w 370"/>
                <a:gd name="T9" fmla="*/ 264 h 742"/>
                <a:gd name="T10" fmla="*/ 0 w 370"/>
                <a:gd name="T11" fmla="*/ 138 h 742"/>
                <a:gd name="T12" fmla="*/ 132 w 370"/>
                <a:gd name="T13" fmla="*/ 0 h 742"/>
                <a:gd name="T14" fmla="*/ 320 w 370"/>
                <a:gd name="T15" fmla="*/ 5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0" h="742">
                  <a:moveTo>
                    <a:pt x="320" y="50"/>
                  </a:moveTo>
                  <a:lnTo>
                    <a:pt x="370" y="251"/>
                  </a:lnTo>
                  <a:lnTo>
                    <a:pt x="251" y="742"/>
                  </a:lnTo>
                  <a:lnTo>
                    <a:pt x="173" y="729"/>
                  </a:lnTo>
                  <a:lnTo>
                    <a:pt x="185" y="264"/>
                  </a:lnTo>
                  <a:lnTo>
                    <a:pt x="0" y="138"/>
                  </a:lnTo>
                  <a:lnTo>
                    <a:pt x="132" y="0"/>
                  </a:lnTo>
                  <a:lnTo>
                    <a:pt x="320" y="50"/>
                  </a:lnTo>
                  <a:close/>
                </a:path>
              </a:pathLst>
            </a:custGeom>
            <a:solidFill>
              <a:srgbClr val="59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ṧḻíḋè">
              <a:extLst>
                <a:ext uri="{FF2B5EF4-FFF2-40B4-BE49-F238E27FC236}">
                  <a16:creationId xmlns:a16="http://schemas.microsoft.com/office/drawing/2014/main" id="{2241AFFD-A4D8-44C7-AEE6-41C1BABE0F72}"/>
                </a:ext>
              </a:extLst>
            </p:cNvPr>
            <p:cNvSpPr/>
            <p:nvPr/>
          </p:nvSpPr>
          <p:spPr bwMode="auto">
            <a:xfrm>
              <a:off x="4595813" y="2919413"/>
              <a:ext cx="977900" cy="1535113"/>
            </a:xfrm>
            <a:custGeom>
              <a:avLst/>
              <a:gdLst>
                <a:gd name="T0" fmla="*/ 384 w 811"/>
                <a:gd name="T1" fmla="*/ 88 h 1274"/>
                <a:gd name="T2" fmla="*/ 544 w 811"/>
                <a:gd name="T3" fmla="*/ 274 h 1274"/>
                <a:gd name="T4" fmla="*/ 680 w 811"/>
                <a:gd name="T5" fmla="*/ 885 h 1274"/>
                <a:gd name="T6" fmla="*/ 692 w 811"/>
                <a:gd name="T7" fmla="*/ 1164 h 1274"/>
                <a:gd name="T8" fmla="*/ 76 w 811"/>
                <a:gd name="T9" fmla="*/ 1233 h 1274"/>
                <a:gd name="T10" fmla="*/ 16 w 811"/>
                <a:gd name="T11" fmla="*/ 1055 h 1274"/>
                <a:gd name="T12" fmla="*/ 384 w 811"/>
                <a:gd name="T13" fmla="*/ 88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1" h="1274">
                  <a:moveTo>
                    <a:pt x="384" y="88"/>
                  </a:moveTo>
                  <a:cubicBezTo>
                    <a:pt x="384" y="88"/>
                    <a:pt x="508" y="104"/>
                    <a:pt x="544" y="274"/>
                  </a:cubicBezTo>
                  <a:cubicBezTo>
                    <a:pt x="580" y="444"/>
                    <a:pt x="592" y="744"/>
                    <a:pt x="680" y="885"/>
                  </a:cubicBezTo>
                  <a:cubicBezTo>
                    <a:pt x="768" y="1027"/>
                    <a:pt x="811" y="1234"/>
                    <a:pt x="692" y="1164"/>
                  </a:cubicBezTo>
                  <a:cubicBezTo>
                    <a:pt x="556" y="1084"/>
                    <a:pt x="328" y="1108"/>
                    <a:pt x="76" y="1233"/>
                  </a:cubicBezTo>
                  <a:cubicBezTo>
                    <a:pt x="0" y="1274"/>
                    <a:pt x="8" y="1185"/>
                    <a:pt x="16" y="1055"/>
                  </a:cubicBezTo>
                  <a:cubicBezTo>
                    <a:pt x="24" y="926"/>
                    <a:pt x="36" y="0"/>
                    <a:pt x="384" y="88"/>
                  </a:cubicBezTo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ṡḷîdè">
              <a:extLst>
                <a:ext uri="{FF2B5EF4-FFF2-40B4-BE49-F238E27FC236}">
                  <a16:creationId xmlns:a16="http://schemas.microsoft.com/office/drawing/2014/main" id="{60BE6B41-A906-4D44-B6F8-3825D26FC60C}"/>
                </a:ext>
              </a:extLst>
            </p:cNvPr>
            <p:cNvSpPr/>
            <p:nvPr/>
          </p:nvSpPr>
          <p:spPr bwMode="auto">
            <a:xfrm>
              <a:off x="5189538" y="5338763"/>
              <a:ext cx="166688" cy="114300"/>
            </a:xfrm>
            <a:custGeom>
              <a:avLst/>
              <a:gdLst>
                <a:gd name="T0" fmla="*/ 57 w 105"/>
                <a:gd name="T1" fmla="*/ 0 h 72"/>
                <a:gd name="T2" fmla="*/ 105 w 105"/>
                <a:gd name="T3" fmla="*/ 50 h 72"/>
                <a:gd name="T4" fmla="*/ 82 w 105"/>
                <a:gd name="T5" fmla="*/ 72 h 72"/>
                <a:gd name="T6" fmla="*/ 0 w 105"/>
                <a:gd name="T7" fmla="*/ 44 h 72"/>
                <a:gd name="T8" fmla="*/ 7 w 105"/>
                <a:gd name="T9" fmla="*/ 0 h 72"/>
                <a:gd name="T10" fmla="*/ 57 w 105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72">
                  <a:moveTo>
                    <a:pt x="57" y="0"/>
                  </a:moveTo>
                  <a:lnTo>
                    <a:pt x="105" y="50"/>
                  </a:lnTo>
                  <a:lnTo>
                    <a:pt x="82" y="72"/>
                  </a:lnTo>
                  <a:lnTo>
                    <a:pt x="0" y="44"/>
                  </a:lnTo>
                  <a:lnTo>
                    <a:pt x="7" y="0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ṧ1îḋê">
              <a:extLst>
                <a:ext uri="{FF2B5EF4-FFF2-40B4-BE49-F238E27FC236}">
                  <a16:creationId xmlns:a16="http://schemas.microsoft.com/office/drawing/2014/main" id="{F8C47EC4-A6AE-4365-AFE8-2DC814833C11}"/>
                </a:ext>
              </a:extLst>
            </p:cNvPr>
            <p:cNvSpPr/>
            <p:nvPr/>
          </p:nvSpPr>
          <p:spPr bwMode="auto">
            <a:xfrm>
              <a:off x="4911725" y="5321300"/>
              <a:ext cx="184150" cy="131763"/>
            </a:xfrm>
            <a:custGeom>
              <a:avLst/>
              <a:gdLst>
                <a:gd name="T0" fmla="*/ 68 w 116"/>
                <a:gd name="T1" fmla="*/ 9 h 83"/>
                <a:gd name="T2" fmla="*/ 116 w 116"/>
                <a:gd name="T3" fmla="*/ 55 h 83"/>
                <a:gd name="T4" fmla="*/ 91 w 116"/>
                <a:gd name="T5" fmla="*/ 83 h 83"/>
                <a:gd name="T6" fmla="*/ 0 w 116"/>
                <a:gd name="T7" fmla="*/ 45 h 83"/>
                <a:gd name="T8" fmla="*/ 9 w 116"/>
                <a:gd name="T9" fmla="*/ 0 h 83"/>
                <a:gd name="T10" fmla="*/ 68 w 116"/>
                <a:gd name="T11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83">
                  <a:moveTo>
                    <a:pt x="68" y="9"/>
                  </a:moveTo>
                  <a:lnTo>
                    <a:pt x="116" y="55"/>
                  </a:lnTo>
                  <a:lnTo>
                    <a:pt x="91" y="83"/>
                  </a:lnTo>
                  <a:lnTo>
                    <a:pt x="0" y="45"/>
                  </a:lnTo>
                  <a:lnTo>
                    <a:pt x="9" y="0"/>
                  </a:lnTo>
                  <a:lnTo>
                    <a:pt x="68" y="9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ṥḻïḍé">
              <a:extLst>
                <a:ext uri="{FF2B5EF4-FFF2-40B4-BE49-F238E27FC236}">
                  <a16:creationId xmlns:a16="http://schemas.microsoft.com/office/drawing/2014/main" id="{48B50056-C32F-48BC-B60D-55694483800C}"/>
                </a:ext>
              </a:extLst>
            </p:cNvPr>
            <p:cNvSpPr/>
            <p:nvPr/>
          </p:nvSpPr>
          <p:spPr bwMode="auto">
            <a:xfrm>
              <a:off x="5099050" y="2622550"/>
              <a:ext cx="149225" cy="212725"/>
            </a:xfrm>
            <a:custGeom>
              <a:avLst/>
              <a:gdLst>
                <a:gd name="T0" fmla="*/ 0 w 124"/>
                <a:gd name="T1" fmla="*/ 70 h 177"/>
                <a:gd name="T2" fmla="*/ 83 w 124"/>
                <a:gd name="T3" fmla="*/ 177 h 177"/>
                <a:gd name="T4" fmla="*/ 121 w 124"/>
                <a:gd name="T5" fmla="*/ 85 h 177"/>
                <a:gd name="T6" fmla="*/ 68 w 124"/>
                <a:gd name="T7" fmla="*/ 0 h 177"/>
                <a:gd name="T8" fmla="*/ 4 w 124"/>
                <a:gd name="T9" fmla="*/ 71 h 177"/>
                <a:gd name="T10" fmla="*/ 0 w 124"/>
                <a:gd name="T11" fmla="*/ 7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77">
                  <a:moveTo>
                    <a:pt x="0" y="70"/>
                  </a:moveTo>
                  <a:cubicBezTo>
                    <a:pt x="46" y="85"/>
                    <a:pt x="80" y="129"/>
                    <a:pt x="83" y="177"/>
                  </a:cubicBezTo>
                  <a:cubicBezTo>
                    <a:pt x="109" y="155"/>
                    <a:pt x="124" y="119"/>
                    <a:pt x="121" y="85"/>
                  </a:cubicBezTo>
                  <a:cubicBezTo>
                    <a:pt x="118" y="50"/>
                    <a:pt x="98" y="18"/>
                    <a:pt x="68" y="0"/>
                  </a:cubicBezTo>
                  <a:cubicBezTo>
                    <a:pt x="38" y="14"/>
                    <a:pt x="15" y="40"/>
                    <a:pt x="4" y="71"/>
                  </a:cubicBezTo>
                  <a:lnTo>
                    <a:pt x="0" y="70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ŝľiḑê">
              <a:extLst>
                <a:ext uri="{FF2B5EF4-FFF2-40B4-BE49-F238E27FC236}">
                  <a16:creationId xmlns:a16="http://schemas.microsoft.com/office/drawing/2014/main" id="{A692A3FF-00A5-4C12-9EB3-B78731A88E7B}"/>
                </a:ext>
              </a:extLst>
            </p:cNvPr>
            <p:cNvSpPr/>
            <p:nvPr/>
          </p:nvSpPr>
          <p:spPr bwMode="auto">
            <a:xfrm>
              <a:off x="5081588" y="2657475"/>
              <a:ext cx="188913" cy="455613"/>
            </a:xfrm>
            <a:custGeom>
              <a:avLst/>
              <a:gdLst>
                <a:gd name="T0" fmla="*/ 117 w 156"/>
                <a:gd name="T1" fmla="*/ 4 h 379"/>
                <a:gd name="T2" fmla="*/ 131 w 156"/>
                <a:gd name="T3" fmla="*/ 160 h 379"/>
                <a:gd name="T4" fmla="*/ 113 w 156"/>
                <a:gd name="T5" fmla="*/ 362 h 379"/>
                <a:gd name="T6" fmla="*/ 41 w 156"/>
                <a:gd name="T7" fmla="*/ 359 h 379"/>
                <a:gd name="T8" fmla="*/ 14 w 156"/>
                <a:gd name="T9" fmla="*/ 285 h 379"/>
                <a:gd name="T10" fmla="*/ 62 w 156"/>
                <a:gd name="T11" fmla="*/ 0 h 379"/>
                <a:gd name="T12" fmla="*/ 117 w 156"/>
                <a:gd name="T13" fmla="*/ 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79">
                  <a:moveTo>
                    <a:pt x="117" y="4"/>
                  </a:moveTo>
                  <a:cubicBezTo>
                    <a:pt x="117" y="4"/>
                    <a:pt x="156" y="39"/>
                    <a:pt x="131" y="160"/>
                  </a:cubicBezTo>
                  <a:cubicBezTo>
                    <a:pt x="106" y="282"/>
                    <a:pt x="113" y="362"/>
                    <a:pt x="113" y="362"/>
                  </a:cubicBezTo>
                  <a:cubicBezTo>
                    <a:pt x="113" y="362"/>
                    <a:pt x="70" y="379"/>
                    <a:pt x="41" y="359"/>
                  </a:cubicBezTo>
                  <a:cubicBezTo>
                    <a:pt x="11" y="338"/>
                    <a:pt x="0" y="334"/>
                    <a:pt x="14" y="285"/>
                  </a:cubicBezTo>
                  <a:cubicBezTo>
                    <a:pt x="28" y="236"/>
                    <a:pt x="62" y="0"/>
                    <a:pt x="62" y="0"/>
                  </a:cubicBezTo>
                  <a:lnTo>
                    <a:pt x="117" y="4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şļíḑé">
              <a:extLst>
                <a:ext uri="{FF2B5EF4-FFF2-40B4-BE49-F238E27FC236}">
                  <a16:creationId xmlns:a16="http://schemas.microsoft.com/office/drawing/2014/main" id="{687C77CC-501F-4E57-B96B-E655894DC026}"/>
                </a:ext>
              </a:extLst>
            </p:cNvPr>
            <p:cNvSpPr/>
            <p:nvPr/>
          </p:nvSpPr>
          <p:spPr bwMode="auto">
            <a:xfrm>
              <a:off x="4900613" y="2633663"/>
              <a:ext cx="314325" cy="449263"/>
            </a:xfrm>
            <a:custGeom>
              <a:avLst/>
              <a:gdLst>
                <a:gd name="T0" fmla="*/ 255 w 261"/>
                <a:gd name="T1" fmla="*/ 127 h 373"/>
                <a:gd name="T2" fmla="*/ 28 w 261"/>
                <a:gd name="T3" fmla="*/ 114 h 373"/>
                <a:gd name="T4" fmla="*/ 72 w 261"/>
                <a:gd name="T5" fmla="*/ 308 h 373"/>
                <a:gd name="T6" fmla="*/ 80 w 261"/>
                <a:gd name="T7" fmla="*/ 364 h 373"/>
                <a:gd name="T8" fmla="*/ 130 w 261"/>
                <a:gd name="T9" fmla="*/ 364 h 373"/>
                <a:gd name="T10" fmla="*/ 139 w 261"/>
                <a:gd name="T11" fmla="*/ 361 h 373"/>
                <a:gd name="T12" fmla="*/ 144 w 261"/>
                <a:gd name="T13" fmla="*/ 326 h 373"/>
                <a:gd name="T14" fmla="*/ 170 w 261"/>
                <a:gd name="T15" fmla="*/ 322 h 373"/>
                <a:gd name="T16" fmla="*/ 249 w 261"/>
                <a:gd name="T17" fmla="*/ 242 h 373"/>
                <a:gd name="T18" fmla="*/ 255 w 261"/>
                <a:gd name="T19" fmla="*/ 127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1" h="373">
                  <a:moveTo>
                    <a:pt x="255" y="127"/>
                  </a:moveTo>
                  <a:cubicBezTo>
                    <a:pt x="238" y="0"/>
                    <a:pt x="79" y="14"/>
                    <a:pt x="28" y="114"/>
                  </a:cubicBezTo>
                  <a:cubicBezTo>
                    <a:pt x="0" y="171"/>
                    <a:pt x="0" y="285"/>
                    <a:pt x="72" y="308"/>
                  </a:cubicBezTo>
                  <a:cubicBezTo>
                    <a:pt x="72" y="319"/>
                    <a:pt x="72" y="356"/>
                    <a:pt x="80" y="364"/>
                  </a:cubicBezTo>
                  <a:cubicBezTo>
                    <a:pt x="89" y="373"/>
                    <a:pt x="119" y="366"/>
                    <a:pt x="130" y="364"/>
                  </a:cubicBezTo>
                  <a:cubicBezTo>
                    <a:pt x="133" y="364"/>
                    <a:pt x="137" y="363"/>
                    <a:pt x="139" y="361"/>
                  </a:cubicBezTo>
                  <a:cubicBezTo>
                    <a:pt x="142" y="358"/>
                    <a:pt x="144" y="334"/>
                    <a:pt x="144" y="326"/>
                  </a:cubicBezTo>
                  <a:cubicBezTo>
                    <a:pt x="153" y="326"/>
                    <a:pt x="161" y="324"/>
                    <a:pt x="170" y="322"/>
                  </a:cubicBezTo>
                  <a:cubicBezTo>
                    <a:pt x="208" y="312"/>
                    <a:pt x="236" y="279"/>
                    <a:pt x="249" y="242"/>
                  </a:cubicBezTo>
                  <a:cubicBezTo>
                    <a:pt x="261" y="206"/>
                    <a:pt x="261" y="166"/>
                    <a:pt x="255" y="127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šļidé">
              <a:extLst>
                <a:ext uri="{FF2B5EF4-FFF2-40B4-BE49-F238E27FC236}">
                  <a16:creationId xmlns:a16="http://schemas.microsoft.com/office/drawing/2014/main" id="{8B61DA7C-384E-47B6-8569-E6C4D4F212EB}"/>
                </a:ext>
              </a:extLst>
            </p:cNvPr>
            <p:cNvSpPr/>
            <p:nvPr/>
          </p:nvSpPr>
          <p:spPr bwMode="auto">
            <a:xfrm>
              <a:off x="4694238" y="2509838"/>
              <a:ext cx="496888" cy="596900"/>
            </a:xfrm>
            <a:custGeom>
              <a:avLst/>
              <a:gdLst>
                <a:gd name="T0" fmla="*/ 400 w 412"/>
                <a:gd name="T1" fmla="*/ 93 h 495"/>
                <a:gd name="T2" fmla="*/ 323 w 412"/>
                <a:gd name="T3" fmla="*/ 177 h 495"/>
                <a:gd name="T4" fmla="*/ 186 w 412"/>
                <a:gd name="T5" fmla="*/ 331 h 495"/>
                <a:gd name="T6" fmla="*/ 224 w 412"/>
                <a:gd name="T7" fmla="*/ 478 h 495"/>
                <a:gd name="T8" fmla="*/ 64 w 412"/>
                <a:gd name="T9" fmla="*/ 470 h 495"/>
                <a:gd name="T10" fmla="*/ 109 w 412"/>
                <a:gd name="T11" fmla="*/ 105 h 495"/>
                <a:gd name="T12" fmla="*/ 400 w 412"/>
                <a:gd name="T13" fmla="*/ 93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95">
                  <a:moveTo>
                    <a:pt x="400" y="93"/>
                  </a:moveTo>
                  <a:cubicBezTo>
                    <a:pt x="400" y="93"/>
                    <a:pt x="412" y="162"/>
                    <a:pt x="323" y="177"/>
                  </a:cubicBezTo>
                  <a:cubicBezTo>
                    <a:pt x="234" y="192"/>
                    <a:pt x="174" y="257"/>
                    <a:pt x="186" y="331"/>
                  </a:cubicBezTo>
                  <a:cubicBezTo>
                    <a:pt x="197" y="404"/>
                    <a:pt x="260" y="460"/>
                    <a:pt x="224" y="478"/>
                  </a:cubicBezTo>
                  <a:cubicBezTo>
                    <a:pt x="189" y="495"/>
                    <a:pt x="64" y="470"/>
                    <a:pt x="64" y="470"/>
                  </a:cubicBezTo>
                  <a:cubicBezTo>
                    <a:pt x="64" y="470"/>
                    <a:pt x="0" y="211"/>
                    <a:pt x="109" y="105"/>
                  </a:cubicBezTo>
                  <a:cubicBezTo>
                    <a:pt x="217" y="0"/>
                    <a:pt x="366" y="3"/>
                    <a:pt x="400" y="93"/>
                  </a:cubicBez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ṩ1ïdé">
              <a:extLst>
                <a:ext uri="{FF2B5EF4-FFF2-40B4-BE49-F238E27FC236}">
                  <a16:creationId xmlns:a16="http://schemas.microsoft.com/office/drawing/2014/main" id="{3065CB37-2633-4E55-A9C8-A00BB26534CC}"/>
                </a:ext>
              </a:extLst>
            </p:cNvPr>
            <p:cNvSpPr/>
            <p:nvPr/>
          </p:nvSpPr>
          <p:spPr bwMode="auto">
            <a:xfrm>
              <a:off x="4943475" y="2828925"/>
              <a:ext cx="273050" cy="220663"/>
            </a:xfrm>
            <a:custGeom>
              <a:avLst/>
              <a:gdLst>
                <a:gd name="T0" fmla="*/ 0 w 227"/>
                <a:gd name="T1" fmla="*/ 49 h 184"/>
                <a:gd name="T2" fmla="*/ 9 w 227"/>
                <a:gd name="T3" fmla="*/ 145 h 184"/>
                <a:gd name="T4" fmla="*/ 185 w 227"/>
                <a:gd name="T5" fmla="*/ 146 h 184"/>
                <a:gd name="T6" fmla="*/ 227 w 227"/>
                <a:gd name="T7" fmla="*/ 35 h 184"/>
                <a:gd name="T8" fmla="*/ 0 w 227"/>
                <a:gd name="T9" fmla="*/ 4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84">
                  <a:moveTo>
                    <a:pt x="0" y="49"/>
                  </a:moveTo>
                  <a:cubicBezTo>
                    <a:pt x="9" y="145"/>
                    <a:pt x="9" y="145"/>
                    <a:pt x="9" y="145"/>
                  </a:cubicBezTo>
                  <a:cubicBezTo>
                    <a:pt x="9" y="145"/>
                    <a:pt x="100" y="184"/>
                    <a:pt x="185" y="146"/>
                  </a:cubicBezTo>
                  <a:cubicBezTo>
                    <a:pt x="206" y="118"/>
                    <a:pt x="222" y="103"/>
                    <a:pt x="227" y="35"/>
                  </a:cubicBezTo>
                  <a:cubicBezTo>
                    <a:pt x="205" y="26"/>
                    <a:pt x="100" y="0"/>
                    <a:pt x="0" y="49"/>
                  </a:cubicBez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îṥḷiḍê">
              <a:extLst>
                <a:ext uri="{FF2B5EF4-FFF2-40B4-BE49-F238E27FC236}">
                  <a16:creationId xmlns:a16="http://schemas.microsoft.com/office/drawing/2014/main" id="{6CB1EF62-EF93-44BA-80C4-346A089BE1EE}"/>
                </a:ext>
              </a:extLst>
            </p:cNvPr>
            <p:cNvSpPr/>
            <p:nvPr/>
          </p:nvSpPr>
          <p:spPr bwMode="auto">
            <a:xfrm>
              <a:off x="4960938" y="2851150"/>
              <a:ext cx="254000" cy="179388"/>
            </a:xfrm>
            <a:custGeom>
              <a:avLst/>
              <a:gdLst>
                <a:gd name="T0" fmla="*/ 0 w 211"/>
                <a:gd name="T1" fmla="*/ 37 h 149"/>
                <a:gd name="T2" fmla="*/ 4 w 211"/>
                <a:gd name="T3" fmla="*/ 115 h 149"/>
                <a:gd name="T4" fmla="*/ 177 w 211"/>
                <a:gd name="T5" fmla="*/ 117 h 149"/>
                <a:gd name="T6" fmla="*/ 211 w 211"/>
                <a:gd name="T7" fmla="*/ 27 h 149"/>
                <a:gd name="T8" fmla="*/ 0 w 211"/>
                <a:gd name="T9" fmla="*/ 3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149">
                  <a:moveTo>
                    <a:pt x="0" y="37"/>
                  </a:move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103" y="149"/>
                    <a:pt x="177" y="117"/>
                  </a:cubicBezTo>
                  <a:cubicBezTo>
                    <a:pt x="185" y="108"/>
                    <a:pt x="210" y="79"/>
                    <a:pt x="211" y="27"/>
                  </a:cubicBezTo>
                  <a:cubicBezTo>
                    <a:pt x="171" y="12"/>
                    <a:pt x="77" y="0"/>
                    <a:pt x="0" y="37"/>
                  </a:cubicBez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ŝľíḑé">
              <a:extLst>
                <a:ext uri="{FF2B5EF4-FFF2-40B4-BE49-F238E27FC236}">
                  <a16:creationId xmlns:a16="http://schemas.microsoft.com/office/drawing/2014/main" id="{6D973AF1-F21D-4AD8-83F9-44BCAB611FC5}"/>
                </a:ext>
              </a:extLst>
            </p:cNvPr>
            <p:cNvSpPr/>
            <p:nvPr/>
          </p:nvSpPr>
          <p:spPr bwMode="auto">
            <a:xfrm>
              <a:off x="4916488" y="2881313"/>
              <a:ext cx="26988" cy="9525"/>
            </a:xfrm>
            <a:custGeom>
              <a:avLst/>
              <a:gdLst>
                <a:gd name="T0" fmla="*/ 17 w 17"/>
                <a:gd name="T1" fmla="*/ 4 h 6"/>
                <a:gd name="T2" fmla="*/ 0 w 17"/>
                <a:gd name="T3" fmla="*/ 0 h 6"/>
                <a:gd name="T4" fmla="*/ 0 w 17"/>
                <a:gd name="T5" fmla="*/ 3 h 6"/>
                <a:gd name="T6" fmla="*/ 17 w 17"/>
                <a:gd name="T7" fmla="*/ 6 h 6"/>
                <a:gd name="T8" fmla="*/ 17 w 17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17" y="4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6"/>
                  </a:lnTo>
                  <a:lnTo>
                    <a:pt x="17" y="4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şḻïde">
              <a:extLst>
                <a:ext uri="{FF2B5EF4-FFF2-40B4-BE49-F238E27FC236}">
                  <a16:creationId xmlns:a16="http://schemas.microsoft.com/office/drawing/2014/main" id="{E4E587E2-EDDE-45DB-B9ED-FEB5C898C722}"/>
                </a:ext>
              </a:extLst>
            </p:cNvPr>
            <p:cNvSpPr/>
            <p:nvPr/>
          </p:nvSpPr>
          <p:spPr bwMode="auto">
            <a:xfrm>
              <a:off x="4926013" y="2941638"/>
              <a:ext cx="23813" cy="23813"/>
            </a:xfrm>
            <a:custGeom>
              <a:avLst/>
              <a:gdLst>
                <a:gd name="T0" fmla="*/ 14 w 15"/>
                <a:gd name="T1" fmla="*/ 11 h 15"/>
                <a:gd name="T2" fmla="*/ 0 w 15"/>
                <a:gd name="T3" fmla="*/ 0 h 15"/>
                <a:gd name="T4" fmla="*/ 2 w 15"/>
                <a:gd name="T5" fmla="*/ 5 h 15"/>
                <a:gd name="T6" fmla="*/ 15 w 15"/>
                <a:gd name="T7" fmla="*/ 15 h 15"/>
                <a:gd name="T8" fmla="*/ 14 w 15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4" y="11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15" y="15"/>
                  </a:lnTo>
                  <a:lnTo>
                    <a:pt x="14" y="11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ślíḑè">
              <a:extLst>
                <a:ext uri="{FF2B5EF4-FFF2-40B4-BE49-F238E27FC236}">
                  <a16:creationId xmlns:a16="http://schemas.microsoft.com/office/drawing/2014/main" id="{9D2A6956-134B-44AA-BCB3-3889F431C59E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í$ļíďê">
              <a:extLst>
                <a:ext uri="{FF2B5EF4-FFF2-40B4-BE49-F238E27FC236}">
                  <a16:creationId xmlns:a16="http://schemas.microsoft.com/office/drawing/2014/main" id="{3DAA13F9-7469-4813-A904-D9C67C8B2F85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šļïḑê">
              <a:extLst>
                <a:ext uri="{FF2B5EF4-FFF2-40B4-BE49-F238E27FC236}">
                  <a16:creationId xmlns:a16="http://schemas.microsoft.com/office/drawing/2014/main" id="{F761E4D2-15AE-4FAA-A6E7-EA27540F227C}"/>
                </a:ext>
              </a:extLst>
            </p:cNvPr>
            <p:cNvSpPr/>
            <p:nvPr/>
          </p:nvSpPr>
          <p:spPr bwMode="auto">
            <a:xfrm>
              <a:off x="4437063" y="3014663"/>
              <a:ext cx="1339850" cy="1393825"/>
            </a:xfrm>
            <a:custGeom>
              <a:avLst/>
              <a:gdLst>
                <a:gd name="T0" fmla="*/ 881 w 1111"/>
                <a:gd name="T1" fmla="*/ 0 h 1156"/>
                <a:gd name="T2" fmla="*/ 408 w 1111"/>
                <a:gd name="T3" fmla="*/ 77 h 1156"/>
                <a:gd name="T4" fmla="*/ 407 w 1111"/>
                <a:gd name="T5" fmla="*/ 76 h 1156"/>
                <a:gd name="T6" fmla="*/ 406 w 1111"/>
                <a:gd name="T7" fmla="*/ 78 h 1156"/>
                <a:gd name="T8" fmla="*/ 0 w 1111"/>
                <a:gd name="T9" fmla="*/ 331 h 1156"/>
                <a:gd name="T10" fmla="*/ 386 w 1111"/>
                <a:gd name="T11" fmla="*/ 992 h 1156"/>
                <a:gd name="T12" fmla="*/ 813 w 1111"/>
                <a:gd name="T13" fmla="*/ 1155 h 1156"/>
                <a:gd name="T14" fmla="*/ 1027 w 1111"/>
                <a:gd name="T15" fmla="*/ 750 h 1156"/>
                <a:gd name="T16" fmla="*/ 881 w 1111"/>
                <a:gd name="T17" fmla="*/ 0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1" h="1156">
                  <a:moveTo>
                    <a:pt x="881" y="0"/>
                  </a:moveTo>
                  <a:cubicBezTo>
                    <a:pt x="625" y="165"/>
                    <a:pt x="435" y="89"/>
                    <a:pt x="408" y="77"/>
                  </a:cubicBezTo>
                  <a:cubicBezTo>
                    <a:pt x="408" y="77"/>
                    <a:pt x="407" y="75"/>
                    <a:pt x="407" y="76"/>
                  </a:cubicBezTo>
                  <a:cubicBezTo>
                    <a:pt x="406" y="76"/>
                    <a:pt x="406" y="78"/>
                    <a:pt x="406" y="78"/>
                  </a:cubicBezTo>
                  <a:cubicBezTo>
                    <a:pt x="394" y="104"/>
                    <a:pt x="302" y="287"/>
                    <a:pt x="0" y="331"/>
                  </a:cubicBezTo>
                  <a:cubicBezTo>
                    <a:pt x="0" y="331"/>
                    <a:pt x="146" y="849"/>
                    <a:pt x="386" y="992"/>
                  </a:cubicBezTo>
                  <a:cubicBezTo>
                    <a:pt x="642" y="1145"/>
                    <a:pt x="813" y="1156"/>
                    <a:pt x="813" y="1155"/>
                  </a:cubicBezTo>
                  <a:cubicBezTo>
                    <a:pt x="814" y="1155"/>
                    <a:pt x="937" y="1035"/>
                    <a:pt x="1027" y="750"/>
                  </a:cubicBezTo>
                  <a:cubicBezTo>
                    <a:pt x="1111" y="484"/>
                    <a:pt x="881" y="0"/>
                    <a:pt x="881" y="0"/>
                  </a:cubicBezTo>
                </a:path>
              </a:pathLst>
            </a:custGeom>
            <a:solidFill>
              <a:srgbClr val="066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śļïḋê">
              <a:extLst>
                <a:ext uri="{FF2B5EF4-FFF2-40B4-BE49-F238E27FC236}">
                  <a16:creationId xmlns:a16="http://schemas.microsoft.com/office/drawing/2014/main" id="{B232EF47-AD4E-4258-97BA-B8C9BD503F1A}"/>
                </a:ext>
              </a:extLst>
            </p:cNvPr>
            <p:cNvSpPr/>
            <p:nvPr/>
          </p:nvSpPr>
          <p:spPr bwMode="auto">
            <a:xfrm>
              <a:off x="4510088" y="3095625"/>
              <a:ext cx="1211263" cy="1258888"/>
            </a:xfrm>
            <a:custGeom>
              <a:avLst/>
              <a:gdLst>
                <a:gd name="T0" fmla="*/ 799 w 1005"/>
                <a:gd name="T1" fmla="*/ 0 h 1044"/>
                <a:gd name="T2" fmla="*/ 371 w 1005"/>
                <a:gd name="T3" fmla="*/ 71 h 1044"/>
                <a:gd name="T4" fmla="*/ 370 w 1005"/>
                <a:gd name="T5" fmla="*/ 70 h 1044"/>
                <a:gd name="T6" fmla="*/ 369 w 1005"/>
                <a:gd name="T7" fmla="*/ 72 h 1044"/>
                <a:gd name="T8" fmla="*/ 0 w 1005"/>
                <a:gd name="T9" fmla="*/ 300 h 1044"/>
                <a:gd name="T10" fmla="*/ 346 w 1005"/>
                <a:gd name="T11" fmla="*/ 888 h 1044"/>
                <a:gd name="T12" fmla="*/ 736 w 1005"/>
                <a:gd name="T13" fmla="*/ 1043 h 1044"/>
                <a:gd name="T14" fmla="*/ 927 w 1005"/>
                <a:gd name="T15" fmla="*/ 669 h 1044"/>
                <a:gd name="T16" fmla="*/ 799 w 1005"/>
                <a:gd name="T17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5" h="1044">
                  <a:moveTo>
                    <a:pt x="799" y="0"/>
                  </a:moveTo>
                  <a:cubicBezTo>
                    <a:pt x="567" y="148"/>
                    <a:pt x="395" y="82"/>
                    <a:pt x="371" y="71"/>
                  </a:cubicBezTo>
                  <a:cubicBezTo>
                    <a:pt x="371" y="71"/>
                    <a:pt x="370" y="69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130" y="761"/>
                    <a:pt x="346" y="888"/>
                  </a:cubicBezTo>
                  <a:cubicBezTo>
                    <a:pt x="576" y="1023"/>
                    <a:pt x="736" y="1044"/>
                    <a:pt x="736" y="1043"/>
                  </a:cubicBezTo>
                  <a:cubicBezTo>
                    <a:pt x="737" y="1043"/>
                    <a:pt x="845" y="923"/>
                    <a:pt x="927" y="669"/>
                  </a:cubicBezTo>
                  <a:cubicBezTo>
                    <a:pt x="1005" y="431"/>
                    <a:pt x="799" y="0"/>
                    <a:pt x="799" y="0"/>
                  </a:cubicBezTo>
                </a:path>
              </a:pathLst>
            </a:custGeom>
            <a:solidFill>
              <a:srgbClr val="4498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sľïḋé">
              <a:extLst>
                <a:ext uri="{FF2B5EF4-FFF2-40B4-BE49-F238E27FC236}">
                  <a16:creationId xmlns:a16="http://schemas.microsoft.com/office/drawing/2014/main" id="{10E308AF-5D6C-4B4B-84B3-367F32D5CACA}"/>
                </a:ext>
              </a:extLst>
            </p:cNvPr>
            <p:cNvSpPr/>
            <p:nvPr/>
          </p:nvSpPr>
          <p:spPr bwMode="auto">
            <a:xfrm>
              <a:off x="4510088" y="3095625"/>
              <a:ext cx="990600" cy="425450"/>
            </a:xfrm>
            <a:custGeom>
              <a:avLst/>
              <a:gdLst>
                <a:gd name="T0" fmla="*/ 799 w 821"/>
                <a:gd name="T1" fmla="*/ 0 h 353"/>
                <a:gd name="T2" fmla="*/ 504 w 821"/>
                <a:gd name="T3" fmla="*/ 95 h 353"/>
                <a:gd name="T4" fmla="*/ 371 w 821"/>
                <a:gd name="T5" fmla="*/ 71 h 353"/>
                <a:gd name="T6" fmla="*/ 370 w 821"/>
                <a:gd name="T7" fmla="*/ 70 h 353"/>
                <a:gd name="T8" fmla="*/ 370 w 821"/>
                <a:gd name="T9" fmla="*/ 70 h 353"/>
                <a:gd name="T10" fmla="*/ 370 w 821"/>
                <a:gd name="T11" fmla="*/ 70 h 353"/>
                <a:gd name="T12" fmla="*/ 369 w 821"/>
                <a:gd name="T13" fmla="*/ 72 h 353"/>
                <a:gd name="T14" fmla="*/ 0 w 821"/>
                <a:gd name="T15" fmla="*/ 300 h 353"/>
                <a:gd name="T16" fmla="*/ 17 w 821"/>
                <a:gd name="T17" fmla="*/ 353 h 353"/>
                <a:gd name="T18" fmla="*/ 386 w 821"/>
                <a:gd name="T19" fmla="*/ 116 h 353"/>
                <a:gd name="T20" fmla="*/ 386 w 821"/>
                <a:gd name="T21" fmla="*/ 114 h 353"/>
                <a:gd name="T22" fmla="*/ 386 w 821"/>
                <a:gd name="T23" fmla="*/ 114 h 353"/>
                <a:gd name="T24" fmla="*/ 387 w 821"/>
                <a:gd name="T25" fmla="*/ 114 h 353"/>
                <a:gd name="T26" fmla="*/ 388 w 821"/>
                <a:gd name="T27" fmla="*/ 115 h 353"/>
                <a:gd name="T28" fmla="*/ 527 w 821"/>
                <a:gd name="T29" fmla="*/ 140 h 353"/>
                <a:gd name="T30" fmla="*/ 821 w 821"/>
                <a:gd name="T31" fmla="*/ 49 h 353"/>
                <a:gd name="T32" fmla="*/ 799 w 821"/>
                <a:gd name="T33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1" h="353">
                  <a:moveTo>
                    <a:pt x="799" y="0"/>
                  </a:moveTo>
                  <a:cubicBezTo>
                    <a:pt x="681" y="75"/>
                    <a:pt x="579" y="95"/>
                    <a:pt x="504" y="95"/>
                  </a:cubicBezTo>
                  <a:cubicBezTo>
                    <a:pt x="431" y="95"/>
                    <a:pt x="383" y="76"/>
                    <a:pt x="371" y="71"/>
                  </a:cubicBezTo>
                  <a:cubicBezTo>
                    <a:pt x="371" y="71"/>
                    <a:pt x="371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6" y="320"/>
                    <a:pt x="17" y="353"/>
                  </a:cubicBezTo>
                  <a:cubicBezTo>
                    <a:pt x="289" y="305"/>
                    <a:pt x="375" y="140"/>
                    <a:pt x="386" y="116"/>
                  </a:cubicBezTo>
                  <a:cubicBezTo>
                    <a:pt x="386" y="116"/>
                    <a:pt x="386" y="114"/>
                    <a:pt x="386" y="114"/>
                  </a:cubicBezTo>
                  <a:cubicBezTo>
                    <a:pt x="386" y="114"/>
                    <a:pt x="386" y="114"/>
                    <a:pt x="386" y="114"/>
                  </a:cubicBezTo>
                  <a:cubicBezTo>
                    <a:pt x="387" y="114"/>
                    <a:pt x="387" y="114"/>
                    <a:pt x="387" y="114"/>
                  </a:cubicBezTo>
                  <a:cubicBezTo>
                    <a:pt x="387" y="114"/>
                    <a:pt x="388" y="115"/>
                    <a:pt x="388" y="115"/>
                  </a:cubicBezTo>
                  <a:cubicBezTo>
                    <a:pt x="400" y="120"/>
                    <a:pt x="450" y="140"/>
                    <a:pt x="527" y="140"/>
                  </a:cubicBezTo>
                  <a:cubicBezTo>
                    <a:pt x="602" y="140"/>
                    <a:pt x="704" y="121"/>
                    <a:pt x="821" y="49"/>
                  </a:cubicBezTo>
                  <a:cubicBezTo>
                    <a:pt x="808" y="18"/>
                    <a:pt x="799" y="0"/>
                    <a:pt x="799" y="0"/>
                  </a:cubicBezTo>
                </a:path>
              </a:pathLst>
            </a:custGeom>
            <a:solidFill>
              <a:srgbClr val="408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ṧḷíḓé">
              <a:extLst>
                <a:ext uri="{FF2B5EF4-FFF2-40B4-BE49-F238E27FC236}">
                  <a16:creationId xmlns:a16="http://schemas.microsoft.com/office/drawing/2014/main" id="{A8100813-79EE-4135-9494-4A3CD7302A17}"/>
                </a:ext>
              </a:extLst>
            </p:cNvPr>
            <p:cNvSpPr/>
            <p:nvPr/>
          </p:nvSpPr>
          <p:spPr bwMode="auto">
            <a:xfrm>
              <a:off x="4451350" y="3563938"/>
              <a:ext cx="650875" cy="366713"/>
            </a:xfrm>
            <a:custGeom>
              <a:avLst/>
              <a:gdLst>
                <a:gd name="T0" fmla="*/ 0 w 410"/>
                <a:gd name="T1" fmla="*/ 161 h 231"/>
                <a:gd name="T2" fmla="*/ 89 w 410"/>
                <a:gd name="T3" fmla="*/ 79 h 231"/>
                <a:gd name="T4" fmla="*/ 389 w 410"/>
                <a:gd name="T5" fmla="*/ 0 h 231"/>
                <a:gd name="T6" fmla="*/ 410 w 410"/>
                <a:gd name="T7" fmla="*/ 55 h 231"/>
                <a:gd name="T8" fmla="*/ 143 w 410"/>
                <a:gd name="T9" fmla="*/ 231 h 231"/>
                <a:gd name="T10" fmla="*/ 54 w 410"/>
                <a:gd name="T11" fmla="*/ 231 h 231"/>
                <a:gd name="T12" fmla="*/ 0 w 410"/>
                <a:gd name="T13" fmla="*/ 16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" h="231">
                  <a:moveTo>
                    <a:pt x="0" y="161"/>
                  </a:moveTo>
                  <a:lnTo>
                    <a:pt x="89" y="79"/>
                  </a:lnTo>
                  <a:lnTo>
                    <a:pt x="389" y="0"/>
                  </a:lnTo>
                  <a:lnTo>
                    <a:pt x="410" y="55"/>
                  </a:lnTo>
                  <a:lnTo>
                    <a:pt x="143" y="231"/>
                  </a:lnTo>
                  <a:lnTo>
                    <a:pt x="54" y="231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8" name="i$1íḑê">
            <a:extLst>
              <a:ext uri="{FF2B5EF4-FFF2-40B4-BE49-F238E27FC236}">
                <a16:creationId xmlns:a16="http://schemas.microsoft.com/office/drawing/2014/main" id="{96479E3F-D591-4344-BD82-468C95BC5B72}"/>
              </a:ext>
            </a:extLst>
          </p:cNvPr>
          <p:cNvSpPr/>
          <p:nvPr/>
        </p:nvSpPr>
        <p:spPr>
          <a:xfrm rot="5400000">
            <a:off x="462604" y="1492378"/>
            <a:ext cx="4724646" cy="4356099"/>
          </a:xfrm>
          <a:prstGeom prst="blockArc">
            <a:avLst>
              <a:gd name="adj1" fmla="val 11276733"/>
              <a:gd name="adj2" fmla="val 20956921"/>
              <a:gd name="adj3" fmla="val 8266"/>
            </a:avLst>
          </a:prstGeom>
          <a:gradFill>
            <a:gsLst>
              <a:gs pos="0">
                <a:schemeClr val="bg1">
                  <a:lumMod val="85000"/>
                  <a:alpha val="51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1" name="iṧlïďe">
            <a:extLst>
              <a:ext uri="{FF2B5EF4-FFF2-40B4-BE49-F238E27FC236}">
                <a16:creationId xmlns:a16="http://schemas.microsoft.com/office/drawing/2014/main" id="{0659F492-AD17-40CD-A782-9ADF5EEA4E4D}"/>
              </a:ext>
            </a:extLst>
          </p:cNvPr>
          <p:cNvSpPr txBox="1"/>
          <p:nvPr/>
        </p:nvSpPr>
        <p:spPr bwMode="auto">
          <a:xfrm>
            <a:off x="5326293" y="1411469"/>
            <a:ext cx="2715364" cy="4418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600" b="1" dirty="0"/>
              <a:t>Step 1.  Lower case</a:t>
            </a:r>
          </a:p>
        </p:txBody>
      </p:sp>
      <p:grpSp>
        <p:nvGrpSpPr>
          <p:cNvPr id="503" name="8b3f14cc-9f84-41e8-8138-7054b945ee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9A955C2-EA32-4A68-8A1E-218E6C22101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0787" y="2381790"/>
            <a:ext cx="2574972" cy="2556606"/>
            <a:chOff x="3870325" y="1222375"/>
            <a:chExt cx="4451350" cy="4419601"/>
          </a:xfrm>
        </p:grpSpPr>
        <p:sp>
          <p:nvSpPr>
            <p:cNvPr id="504" name="iś1îḋé">
              <a:extLst>
                <a:ext uri="{FF2B5EF4-FFF2-40B4-BE49-F238E27FC236}">
                  <a16:creationId xmlns:a16="http://schemas.microsoft.com/office/drawing/2014/main" id="{2140A1A5-D1F9-469E-B43C-3432C43CBE1D}"/>
                </a:ext>
              </a:extLst>
            </p:cNvPr>
            <p:cNvSpPr/>
            <p:nvPr/>
          </p:nvSpPr>
          <p:spPr bwMode="auto">
            <a:xfrm>
              <a:off x="5173663" y="5332413"/>
              <a:ext cx="733425" cy="111125"/>
            </a:xfrm>
            <a:custGeom>
              <a:avLst/>
              <a:gdLst>
                <a:gd name="T0" fmla="*/ 36 w 277"/>
                <a:gd name="T1" fmla="*/ 0 h 42"/>
                <a:gd name="T2" fmla="*/ 241 w 277"/>
                <a:gd name="T3" fmla="*/ 0 h 42"/>
                <a:gd name="T4" fmla="*/ 277 w 277"/>
                <a:gd name="T5" fmla="*/ 36 h 42"/>
                <a:gd name="T6" fmla="*/ 277 w 277"/>
                <a:gd name="T7" fmla="*/ 42 h 42"/>
                <a:gd name="T8" fmla="*/ 0 w 277"/>
                <a:gd name="T9" fmla="*/ 42 h 42"/>
                <a:gd name="T10" fmla="*/ 0 w 277"/>
                <a:gd name="T11" fmla="*/ 36 h 42"/>
                <a:gd name="T12" fmla="*/ 36 w 277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42">
                  <a:moveTo>
                    <a:pt x="36" y="0"/>
                  </a:moveTo>
                  <a:cubicBezTo>
                    <a:pt x="241" y="0"/>
                    <a:pt x="241" y="0"/>
                    <a:pt x="241" y="0"/>
                  </a:cubicBezTo>
                  <a:cubicBezTo>
                    <a:pt x="261" y="0"/>
                    <a:pt x="277" y="16"/>
                    <a:pt x="277" y="36"/>
                  </a:cubicBezTo>
                  <a:cubicBezTo>
                    <a:pt x="277" y="42"/>
                    <a:pt x="277" y="42"/>
                    <a:pt x="277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lose/>
                </a:path>
              </a:pathLst>
            </a:cu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išlïḑé">
              <a:extLst>
                <a:ext uri="{FF2B5EF4-FFF2-40B4-BE49-F238E27FC236}">
                  <a16:creationId xmlns:a16="http://schemas.microsoft.com/office/drawing/2014/main" id="{18DFA911-C41A-4BB0-998F-852C31966C54}"/>
                </a:ext>
              </a:extLst>
            </p:cNvPr>
            <p:cNvSpPr/>
            <p:nvPr/>
          </p:nvSpPr>
          <p:spPr bwMode="auto">
            <a:xfrm>
              <a:off x="5043488" y="1544638"/>
              <a:ext cx="1077913" cy="3843338"/>
            </a:xfrm>
            <a:custGeom>
              <a:avLst/>
              <a:gdLst>
                <a:gd name="T0" fmla="*/ 406 w 407"/>
                <a:gd name="T1" fmla="*/ 187 h 1453"/>
                <a:gd name="T2" fmla="*/ 238 w 407"/>
                <a:gd name="T3" fmla="*/ 284 h 1453"/>
                <a:gd name="T4" fmla="*/ 155 w 407"/>
                <a:gd name="T5" fmla="*/ 237 h 1453"/>
                <a:gd name="T6" fmla="*/ 155 w 407"/>
                <a:gd name="T7" fmla="*/ 140 h 1453"/>
                <a:gd name="T8" fmla="*/ 322 w 407"/>
                <a:gd name="T9" fmla="*/ 44 h 1453"/>
                <a:gd name="T10" fmla="*/ 167 w 407"/>
                <a:gd name="T11" fmla="*/ 12 h 1453"/>
                <a:gd name="T12" fmla="*/ 10 w 407"/>
                <a:gd name="T13" fmla="*/ 179 h 1453"/>
                <a:gd name="T14" fmla="*/ 75 w 407"/>
                <a:gd name="T15" fmla="*/ 356 h 1453"/>
                <a:gd name="T16" fmla="*/ 96 w 407"/>
                <a:gd name="T17" fmla="*/ 401 h 1453"/>
                <a:gd name="T18" fmla="*/ 96 w 407"/>
                <a:gd name="T19" fmla="*/ 555 h 1453"/>
                <a:gd name="T20" fmla="*/ 73 w 407"/>
                <a:gd name="T21" fmla="*/ 1337 h 1453"/>
                <a:gd name="T22" fmla="*/ 186 w 407"/>
                <a:gd name="T23" fmla="*/ 1453 h 1453"/>
                <a:gd name="T24" fmla="*/ 186 w 407"/>
                <a:gd name="T25" fmla="*/ 1453 h 1453"/>
                <a:gd name="T26" fmla="*/ 299 w 407"/>
                <a:gd name="T27" fmla="*/ 1337 h 1453"/>
                <a:gd name="T28" fmla="*/ 276 w 407"/>
                <a:gd name="T29" fmla="*/ 555 h 1453"/>
                <a:gd name="T30" fmla="*/ 276 w 407"/>
                <a:gd name="T31" fmla="*/ 431 h 1453"/>
                <a:gd name="T32" fmla="*/ 307 w 407"/>
                <a:gd name="T33" fmla="*/ 380 h 1453"/>
                <a:gd name="T34" fmla="*/ 407 w 407"/>
                <a:gd name="T35" fmla="*/ 207 h 1453"/>
                <a:gd name="T36" fmla="*/ 406 w 407"/>
                <a:gd name="T37" fmla="*/ 187 h 1453"/>
                <a:gd name="T38" fmla="*/ 188 w 407"/>
                <a:gd name="T39" fmla="*/ 1386 h 1453"/>
                <a:gd name="T40" fmla="*/ 129 w 407"/>
                <a:gd name="T41" fmla="*/ 1327 h 1453"/>
                <a:gd name="T42" fmla="*/ 188 w 407"/>
                <a:gd name="T43" fmla="*/ 1268 h 1453"/>
                <a:gd name="T44" fmla="*/ 247 w 407"/>
                <a:gd name="T45" fmla="*/ 1327 h 1453"/>
                <a:gd name="T46" fmla="*/ 188 w 407"/>
                <a:gd name="T47" fmla="*/ 1386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7" h="1453">
                  <a:moveTo>
                    <a:pt x="406" y="187"/>
                  </a:moveTo>
                  <a:cubicBezTo>
                    <a:pt x="238" y="284"/>
                    <a:pt x="238" y="284"/>
                    <a:pt x="238" y="284"/>
                  </a:cubicBezTo>
                  <a:cubicBezTo>
                    <a:pt x="155" y="237"/>
                    <a:pt x="155" y="237"/>
                    <a:pt x="155" y="237"/>
                  </a:cubicBezTo>
                  <a:cubicBezTo>
                    <a:pt x="155" y="140"/>
                    <a:pt x="155" y="140"/>
                    <a:pt x="155" y="140"/>
                  </a:cubicBezTo>
                  <a:cubicBezTo>
                    <a:pt x="322" y="44"/>
                    <a:pt x="322" y="44"/>
                    <a:pt x="322" y="44"/>
                  </a:cubicBezTo>
                  <a:cubicBezTo>
                    <a:pt x="280" y="14"/>
                    <a:pt x="225" y="0"/>
                    <a:pt x="167" y="12"/>
                  </a:cubicBezTo>
                  <a:cubicBezTo>
                    <a:pt x="84" y="28"/>
                    <a:pt x="22" y="94"/>
                    <a:pt x="10" y="179"/>
                  </a:cubicBezTo>
                  <a:cubicBezTo>
                    <a:pt x="0" y="249"/>
                    <a:pt x="28" y="314"/>
                    <a:pt x="75" y="356"/>
                  </a:cubicBezTo>
                  <a:cubicBezTo>
                    <a:pt x="88" y="368"/>
                    <a:pt x="96" y="384"/>
                    <a:pt x="96" y="401"/>
                  </a:cubicBezTo>
                  <a:cubicBezTo>
                    <a:pt x="96" y="555"/>
                    <a:pt x="96" y="555"/>
                    <a:pt x="96" y="555"/>
                  </a:cubicBezTo>
                  <a:cubicBezTo>
                    <a:pt x="73" y="1337"/>
                    <a:pt x="73" y="1337"/>
                    <a:pt x="73" y="1337"/>
                  </a:cubicBezTo>
                  <a:cubicBezTo>
                    <a:pt x="72" y="1400"/>
                    <a:pt x="123" y="1453"/>
                    <a:pt x="186" y="1453"/>
                  </a:cubicBezTo>
                  <a:cubicBezTo>
                    <a:pt x="186" y="1453"/>
                    <a:pt x="186" y="1453"/>
                    <a:pt x="186" y="1453"/>
                  </a:cubicBezTo>
                  <a:cubicBezTo>
                    <a:pt x="250" y="1453"/>
                    <a:pt x="301" y="1400"/>
                    <a:pt x="299" y="1337"/>
                  </a:cubicBezTo>
                  <a:cubicBezTo>
                    <a:pt x="276" y="555"/>
                    <a:pt x="276" y="555"/>
                    <a:pt x="276" y="555"/>
                  </a:cubicBezTo>
                  <a:cubicBezTo>
                    <a:pt x="276" y="431"/>
                    <a:pt x="276" y="431"/>
                    <a:pt x="276" y="431"/>
                  </a:cubicBezTo>
                  <a:cubicBezTo>
                    <a:pt x="276" y="410"/>
                    <a:pt x="288" y="390"/>
                    <a:pt x="307" y="380"/>
                  </a:cubicBezTo>
                  <a:cubicBezTo>
                    <a:pt x="367" y="345"/>
                    <a:pt x="407" y="281"/>
                    <a:pt x="407" y="207"/>
                  </a:cubicBezTo>
                  <a:cubicBezTo>
                    <a:pt x="407" y="200"/>
                    <a:pt x="407" y="194"/>
                    <a:pt x="406" y="187"/>
                  </a:cubicBezTo>
                  <a:close/>
                  <a:moveTo>
                    <a:pt x="188" y="1386"/>
                  </a:moveTo>
                  <a:cubicBezTo>
                    <a:pt x="156" y="1386"/>
                    <a:pt x="129" y="1360"/>
                    <a:pt x="129" y="1327"/>
                  </a:cubicBezTo>
                  <a:cubicBezTo>
                    <a:pt x="129" y="1295"/>
                    <a:pt x="156" y="1268"/>
                    <a:pt x="188" y="1268"/>
                  </a:cubicBezTo>
                  <a:cubicBezTo>
                    <a:pt x="221" y="1268"/>
                    <a:pt x="247" y="1295"/>
                    <a:pt x="247" y="1327"/>
                  </a:cubicBezTo>
                  <a:cubicBezTo>
                    <a:pt x="247" y="1360"/>
                    <a:pt x="221" y="1386"/>
                    <a:pt x="188" y="1386"/>
                  </a:cubicBez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íŝḻïḍé">
              <a:extLst>
                <a:ext uri="{FF2B5EF4-FFF2-40B4-BE49-F238E27FC236}">
                  <a16:creationId xmlns:a16="http://schemas.microsoft.com/office/drawing/2014/main" id="{5B009DC3-5D13-45AC-9B0A-27F638DC0230}"/>
                </a:ext>
              </a:extLst>
            </p:cNvPr>
            <p:cNvSpPr/>
            <p:nvPr/>
          </p:nvSpPr>
          <p:spPr bwMode="auto">
            <a:xfrm>
              <a:off x="5453063" y="2038350"/>
              <a:ext cx="665163" cy="328613"/>
            </a:xfrm>
            <a:custGeom>
              <a:avLst/>
              <a:gdLst>
                <a:gd name="T0" fmla="*/ 0 w 419"/>
                <a:gd name="T1" fmla="*/ 84 h 207"/>
                <a:gd name="T2" fmla="*/ 0 w 419"/>
                <a:gd name="T3" fmla="*/ 125 h 207"/>
                <a:gd name="T4" fmla="*/ 149 w 419"/>
                <a:gd name="T5" fmla="*/ 207 h 207"/>
                <a:gd name="T6" fmla="*/ 419 w 419"/>
                <a:gd name="T7" fmla="*/ 0 h 207"/>
                <a:gd name="T8" fmla="*/ 139 w 419"/>
                <a:gd name="T9" fmla="*/ 162 h 207"/>
                <a:gd name="T10" fmla="*/ 0 w 419"/>
                <a:gd name="T11" fmla="*/ 8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207">
                  <a:moveTo>
                    <a:pt x="0" y="84"/>
                  </a:moveTo>
                  <a:lnTo>
                    <a:pt x="0" y="125"/>
                  </a:lnTo>
                  <a:lnTo>
                    <a:pt x="149" y="207"/>
                  </a:lnTo>
                  <a:lnTo>
                    <a:pt x="419" y="0"/>
                  </a:lnTo>
                  <a:lnTo>
                    <a:pt x="139" y="16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7" name="î$lîḋê">
              <a:extLst>
                <a:ext uri="{FF2B5EF4-FFF2-40B4-BE49-F238E27FC236}">
                  <a16:creationId xmlns:a16="http://schemas.microsoft.com/office/drawing/2014/main" id="{103ACE64-A4A2-4446-8AFB-037D6DA1FA89}"/>
                </a:ext>
              </a:extLst>
            </p:cNvPr>
            <p:cNvSpPr/>
            <p:nvPr/>
          </p:nvSpPr>
          <p:spPr bwMode="auto">
            <a:xfrm>
              <a:off x="5419725" y="1636713"/>
              <a:ext cx="476250" cy="600075"/>
            </a:xfrm>
            <a:custGeom>
              <a:avLst/>
              <a:gdLst>
                <a:gd name="T0" fmla="*/ 21 w 300"/>
                <a:gd name="T1" fmla="*/ 378 h 378"/>
                <a:gd name="T2" fmla="*/ 0 w 300"/>
                <a:gd name="T3" fmla="*/ 367 h 378"/>
                <a:gd name="T4" fmla="*/ 0 w 300"/>
                <a:gd name="T5" fmla="*/ 163 h 378"/>
                <a:gd name="T6" fmla="*/ 277 w 300"/>
                <a:gd name="T7" fmla="*/ 0 h 378"/>
                <a:gd name="T8" fmla="*/ 300 w 300"/>
                <a:gd name="T9" fmla="*/ 15 h 378"/>
                <a:gd name="T10" fmla="*/ 21 w 300"/>
                <a:gd name="T11" fmla="*/ 175 h 378"/>
                <a:gd name="T12" fmla="*/ 21 w 300"/>
                <a:gd name="T13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0" h="378">
                  <a:moveTo>
                    <a:pt x="21" y="378"/>
                  </a:moveTo>
                  <a:lnTo>
                    <a:pt x="0" y="367"/>
                  </a:lnTo>
                  <a:lnTo>
                    <a:pt x="0" y="163"/>
                  </a:lnTo>
                  <a:lnTo>
                    <a:pt x="277" y="0"/>
                  </a:lnTo>
                  <a:lnTo>
                    <a:pt x="300" y="15"/>
                  </a:lnTo>
                  <a:lnTo>
                    <a:pt x="21" y="175"/>
                  </a:lnTo>
                  <a:lnTo>
                    <a:pt x="21" y="378"/>
                  </a:ln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8" name="íṥlïḓè">
              <a:extLst>
                <a:ext uri="{FF2B5EF4-FFF2-40B4-BE49-F238E27FC236}">
                  <a16:creationId xmlns:a16="http://schemas.microsoft.com/office/drawing/2014/main" id="{39894FE3-7072-4308-BF5F-6CD646EF35CE}"/>
                </a:ext>
              </a:extLst>
            </p:cNvPr>
            <p:cNvSpPr/>
            <p:nvPr/>
          </p:nvSpPr>
          <p:spPr bwMode="auto">
            <a:xfrm>
              <a:off x="5043488" y="1560513"/>
              <a:ext cx="693738" cy="3827463"/>
            </a:xfrm>
            <a:custGeom>
              <a:avLst/>
              <a:gdLst>
                <a:gd name="T0" fmla="*/ 160 w 262"/>
                <a:gd name="T1" fmla="*/ 1423 h 1447"/>
                <a:gd name="T2" fmla="*/ 94 w 262"/>
                <a:gd name="T3" fmla="*/ 1307 h 1447"/>
                <a:gd name="T4" fmla="*/ 120 w 262"/>
                <a:gd name="T5" fmla="*/ 394 h 1447"/>
                <a:gd name="T6" fmla="*/ 39 w 262"/>
                <a:gd name="T7" fmla="*/ 177 h 1447"/>
                <a:gd name="T8" fmla="*/ 262 w 262"/>
                <a:gd name="T9" fmla="*/ 10 h 1447"/>
                <a:gd name="T10" fmla="*/ 179 w 262"/>
                <a:gd name="T11" fmla="*/ 4 h 1447"/>
                <a:gd name="T12" fmla="*/ 10 w 262"/>
                <a:gd name="T13" fmla="*/ 172 h 1447"/>
                <a:gd name="T14" fmla="*/ 77 w 262"/>
                <a:gd name="T15" fmla="*/ 352 h 1447"/>
                <a:gd name="T16" fmla="*/ 96 w 262"/>
                <a:gd name="T17" fmla="*/ 395 h 1447"/>
                <a:gd name="T18" fmla="*/ 96 w 262"/>
                <a:gd name="T19" fmla="*/ 519 h 1447"/>
                <a:gd name="T20" fmla="*/ 96 w 262"/>
                <a:gd name="T21" fmla="*/ 519 h 1447"/>
                <a:gd name="T22" fmla="*/ 96 w 262"/>
                <a:gd name="T23" fmla="*/ 549 h 1447"/>
                <a:gd name="T24" fmla="*/ 73 w 262"/>
                <a:gd name="T25" fmla="*/ 1331 h 1447"/>
                <a:gd name="T26" fmla="*/ 186 w 262"/>
                <a:gd name="T27" fmla="*/ 1447 h 1447"/>
                <a:gd name="T28" fmla="*/ 254 w 262"/>
                <a:gd name="T29" fmla="*/ 1424 h 1447"/>
                <a:gd name="T30" fmla="*/ 160 w 262"/>
                <a:gd name="T31" fmla="*/ 1423 h 1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2" h="1447">
                  <a:moveTo>
                    <a:pt x="160" y="1423"/>
                  </a:moveTo>
                  <a:cubicBezTo>
                    <a:pt x="115" y="1407"/>
                    <a:pt x="94" y="1368"/>
                    <a:pt x="94" y="1307"/>
                  </a:cubicBezTo>
                  <a:cubicBezTo>
                    <a:pt x="94" y="1207"/>
                    <a:pt x="120" y="441"/>
                    <a:pt x="120" y="394"/>
                  </a:cubicBezTo>
                  <a:cubicBezTo>
                    <a:pt x="120" y="318"/>
                    <a:pt x="21" y="318"/>
                    <a:pt x="39" y="177"/>
                  </a:cubicBezTo>
                  <a:cubicBezTo>
                    <a:pt x="58" y="30"/>
                    <a:pt x="207" y="2"/>
                    <a:pt x="262" y="10"/>
                  </a:cubicBezTo>
                  <a:cubicBezTo>
                    <a:pt x="236" y="2"/>
                    <a:pt x="208" y="0"/>
                    <a:pt x="179" y="4"/>
                  </a:cubicBezTo>
                  <a:cubicBezTo>
                    <a:pt x="92" y="16"/>
                    <a:pt x="22" y="86"/>
                    <a:pt x="10" y="172"/>
                  </a:cubicBezTo>
                  <a:cubicBezTo>
                    <a:pt x="0" y="244"/>
                    <a:pt x="28" y="309"/>
                    <a:pt x="77" y="352"/>
                  </a:cubicBezTo>
                  <a:cubicBezTo>
                    <a:pt x="90" y="363"/>
                    <a:pt x="96" y="379"/>
                    <a:pt x="96" y="395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49"/>
                    <a:pt x="96" y="549"/>
                    <a:pt x="96" y="549"/>
                  </a:cubicBezTo>
                  <a:cubicBezTo>
                    <a:pt x="73" y="1331"/>
                    <a:pt x="73" y="1331"/>
                    <a:pt x="73" y="1331"/>
                  </a:cubicBezTo>
                  <a:cubicBezTo>
                    <a:pt x="72" y="1394"/>
                    <a:pt x="123" y="1447"/>
                    <a:pt x="186" y="1447"/>
                  </a:cubicBezTo>
                  <a:cubicBezTo>
                    <a:pt x="212" y="1447"/>
                    <a:pt x="235" y="1438"/>
                    <a:pt x="254" y="1424"/>
                  </a:cubicBezTo>
                  <a:cubicBezTo>
                    <a:pt x="255" y="1423"/>
                    <a:pt x="208" y="1441"/>
                    <a:pt x="160" y="1423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9" name="îṥľîḑè">
              <a:extLst>
                <a:ext uri="{FF2B5EF4-FFF2-40B4-BE49-F238E27FC236}">
                  <a16:creationId xmlns:a16="http://schemas.microsoft.com/office/drawing/2014/main" id="{BD1F1B36-7355-4FFD-8AA0-00D392E20FA6}"/>
                </a:ext>
              </a:extLst>
            </p:cNvPr>
            <p:cNvSpPr/>
            <p:nvPr/>
          </p:nvSpPr>
          <p:spPr bwMode="auto">
            <a:xfrm>
              <a:off x="5740400" y="2038350"/>
              <a:ext cx="381000" cy="3167063"/>
            </a:xfrm>
            <a:custGeom>
              <a:avLst/>
              <a:gdLst>
                <a:gd name="T0" fmla="*/ 143 w 144"/>
                <a:gd name="T1" fmla="*/ 0 h 1197"/>
                <a:gd name="T2" fmla="*/ 132 w 144"/>
                <a:gd name="T3" fmla="*/ 6 h 1197"/>
                <a:gd name="T4" fmla="*/ 108 w 144"/>
                <a:gd name="T5" fmla="*/ 114 h 1197"/>
                <a:gd name="T6" fmla="*/ 12 w 144"/>
                <a:gd name="T7" fmla="*/ 205 h 1197"/>
                <a:gd name="T8" fmla="*/ 2 w 144"/>
                <a:gd name="T9" fmla="*/ 284 h 1197"/>
                <a:gd name="T10" fmla="*/ 27 w 144"/>
                <a:gd name="T11" fmla="*/ 1035 h 1197"/>
                <a:gd name="T12" fmla="*/ 27 w 144"/>
                <a:gd name="T13" fmla="*/ 1197 h 1197"/>
                <a:gd name="T14" fmla="*/ 36 w 144"/>
                <a:gd name="T15" fmla="*/ 1150 h 1197"/>
                <a:gd name="T16" fmla="*/ 13 w 144"/>
                <a:gd name="T17" fmla="*/ 368 h 1197"/>
                <a:gd name="T18" fmla="*/ 13 w 144"/>
                <a:gd name="T19" fmla="*/ 355 h 1197"/>
                <a:gd name="T20" fmla="*/ 13 w 144"/>
                <a:gd name="T21" fmla="*/ 355 h 1197"/>
                <a:gd name="T22" fmla="*/ 13 w 144"/>
                <a:gd name="T23" fmla="*/ 244 h 1197"/>
                <a:gd name="T24" fmla="*/ 44 w 144"/>
                <a:gd name="T25" fmla="*/ 193 h 1197"/>
                <a:gd name="T26" fmla="*/ 144 w 144"/>
                <a:gd name="T27" fmla="*/ 20 h 1197"/>
                <a:gd name="T28" fmla="*/ 143 w 144"/>
                <a:gd name="T29" fmla="*/ 0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1197">
                  <a:moveTo>
                    <a:pt x="143" y="0"/>
                  </a:moveTo>
                  <a:cubicBezTo>
                    <a:pt x="132" y="6"/>
                    <a:pt x="132" y="6"/>
                    <a:pt x="132" y="6"/>
                  </a:cubicBezTo>
                  <a:cubicBezTo>
                    <a:pt x="132" y="6"/>
                    <a:pt x="138" y="60"/>
                    <a:pt x="108" y="114"/>
                  </a:cubicBezTo>
                  <a:cubicBezTo>
                    <a:pt x="78" y="168"/>
                    <a:pt x="38" y="169"/>
                    <a:pt x="12" y="205"/>
                  </a:cubicBezTo>
                  <a:cubicBezTo>
                    <a:pt x="0" y="220"/>
                    <a:pt x="1" y="246"/>
                    <a:pt x="2" y="284"/>
                  </a:cubicBezTo>
                  <a:cubicBezTo>
                    <a:pt x="2" y="308"/>
                    <a:pt x="15" y="789"/>
                    <a:pt x="27" y="1035"/>
                  </a:cubicBezTo>
                  <a:cubicBezTo>
                    <a:pt x="30" y="1101"/>
                    <a:pt x="36" y="1163"/>
                    <a:pt x="27" y="1197"/>
                  </a:cubicBezTo>
                  <a:cubicBezTo>
                    <a:pt x="33" y="1183"/>
                    <a:pt x="37" y="1167"/>
                    <a:pt x="36" y="1150"/>
                  </a:cubicBezTo>
                  <a:cubicBezTo>
                    <a:pt x="13" y="368"/>
                    <a:pt x="13" y="368"/>
                    <a:pt x="13" y="368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244"/>
                    <a:pt x="13" y="244"/>
                    <a:pt x="13" y="244"/>
                  </a:cubicBezTo>
                  <a:cubicBezTo>
                    <a:pt x="13" y="223"/>
                    <a:pt x="25" y="203"/>
                    <a:pt x="44" y="193"/>
                  </a:cubicBezTo>
                  <a:cubicBezTo>
                    <a:pt x="104" y="158"/>
                    <a:pt x="144" y="94"/>
                    <a:pt x="144" y="20"/>
                  </a:cubicBezTo>
                  <a:cubicBezTo>
                    <a:pt x="144" y="13"/>
                    <a:pt x="144" y="7"/>
                    <a:pt x="143" y="0"/>
                  </a:cubicBez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0" name="íšľîḋé">
              <a:extLst>
                <a:ext uri="{FF2B5EF4-FFF2-40B4-BE49-F238E27FC236}">
                  <a16:creationId xmlns:a16="http://schemas.microsoft.com/office/drawing/2014/main" id="{77706F0F-1BF6-4B79-9B2F-4366DC575D85}"/>
                </a:ext>
              </a:extLst>
            </p:cNvPr>
            <p:cNvSpPr/>
            <p:nvPr/>
          </p:nvSpPr>
          <p:spPr bwMode="auto">
            <a:xfrm>
              <a:off x="5372100" y="2608263"/>
              <a:ext cx="333375" cy="2208213"/>
            </a:xfrm>
            <a:custGeom>
              <a:avLst/>
              <a:gdLst>
                <a:gd name="T0" fmla="*/ 126 w 126"/>
                <a:gd name="T1" fmla="*/ 833 h 835"/>
                <a:gd name="T2" fmla="*/ 109 w 126"/>
                <a:gd name="T3" fmla="*/ 824 h 835"/>
                <a:gd name="T4" fmla="*/ 64 w 126"/>
                <a:gd name="T5" fmla="*/ 814 h 835"/>
                <a:gd name="T6" fmla="*/ 56 w 126"/>
                <a:gd name="T7" fmla="*/ 815 h 835"/>
                <a:gd name="T8" fmla="*/ 0 w 126"/>
                <a:gd name="T9" fmla="*/ 835 h 835"/>
                <a:gd name="T10" fmla="*/ 1 w 126"/>
                <a:gd name="T11" fmla="*/ 824 h 835"/>
                <a:gd name="T12" fmla="*/ 25 w 126"/>
                <a:gd name="T13" fmla="*/ 39 h 835"/>
                <a:gd name="T14" fmla="*/ 37 w 126"/>
                <a:gd name="T15" fmla="*/ 11 h 835"/>
                <a:gd name="T16" fmla="*/ 57 w 126"/>
                <a:gd name="T17" fmla="*/ 1 h 835"/>
                <a:gd name="T18" fmla="*/ 65 w 126"/>
                <a:gd name="T19" fmla="*/ 0 h 835"/>
                <a:gd name="T20" fmla="*/ 105 w 126"/>
                <a:gd name="T21" fmla="*/ 39 h 835"/>
                <a:gd name="T22" fmla="*/ 126 w 126"/>
                <a:gd name="T23" fmla="*/ 833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6" h="835">
                  <a:moveTo>
                    <a:pt x="126" y="833"/>
                  </a:moveTo>
                  <a:cubicBezTo>
                    <a:pt x="121" y="829"/>
                    <a:pt x="115" y="826"/>
                    <a:pt x="109" y="824"/>
                  </a:cubicBezTo>
                  <a:cubicBezTo>
                    <a:pt x="95" y="818"/>
                    <a:pt x="80" y="814"/>
                    <a:pt x="64" y="814"/>
                  </a:cubicBezTo>
                  <a:cubicBezTo>
                    <a:pt x="61" y="814"/>
                    <a:pt x="59" y="814"/>
                    <a:pt x="56" y="815"/>
                  </a:cubicBezTo>
                  <a:cubicBezTo>
                    <a:pt x="35" y="816"/>
                    <a:pt x="16" y="823"/>
                    <a:pt x="0" y="835"/>
                  </a:cubicBezTo>
                  <a:cubicBezTo>
                    <a:pt x="1" y="824"/>
                    <a:pt x="1" y="824"/>
                    <a:pt x="1" y="82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6" y="28"/>
                    <a:pt x="30" y="18"/>
                    <a:pt x="37" y="11"/>
                  </a:cubicBezTo>
                  <a:cubicBezTo>
                    <a:pt x="43" y="6"/>
                    <a:pt x="49" y="2"/>
                    <a:pt x="57" y="1"/>
                  </a:cubicBezTo>
                  <a:cubicBezTo>
                    <a:pt x="59" y="0"/>
                    <a:pt x="62" y="0"/>
                    <a:pt x="65" y="0"/>
                  </a:cubicBezTo>
                  <a:cubicBezTo>
                    <a:pt x="87" y="0"/>
                    <a:pt x="105" y="17"/>
                    <a:pt x="105" y="39"/>
                  </a:cubicBezTo>
                  <a:lnTo>
                    <a:pt x="126" y="833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1" name="îṩlîḓè">
              <a:extLst>
                <a:ext uri="{FF2B5EF4-FFF2-40B4-BE49-F238E27FC236}">
                  <a16:creationId xmlns:a16="http://schemas.microsoft.com/office/drawing/2014/main" id="{EA9A78A7-637B-4D51-A22D-0C3F39A4D9C7}"/>
                </a:ext>
              </a:extLst>
            </p:cNvPr>
            <p:cNvSpPr/>
            <p:nvPr/>
          </p:nvSpPr>
          <p:spPr bwMode="auto">
            <a:xfrm>
              <a:off x="5372100" y="2609850"/>
              <a:ext cx="288925" cy="2206625"/>
            </a:xfrm>
            <a:custGeom>
              <a:avLst/>
              <a:gdLst>
                <a:gd name="T0" fmla="*/ 109 w 109"/>
                <a:gd name="T1" fmla="*/ 823 h 834"/>
                <a:gd name="T2" fmla="*/ 0 w 109"/>
                <a:gd name="T3" fmla="*/ 834 h 834"/>
                <a:gd name="T4" fmla="*/ 25 w 109"/>
                <a:gd name="T5" fmla="*/ 38 h 834"/>
                <a:gd name="T6" fmla="*/ 37 w 109"/>
                <a:gd name="T7" fmla="*/ 10 h 834"/>
                <a:gd name="T8" fmla="*/ 57 w 109"/>
                <a:gd name="T9" fmla="*/ 0 h 834"/>
                <a:gd name="T10" fmla="*/ 88 w 109"/>
                <a:gd name="T11" fmla="*/ 38 h 834"/>
                <a:gd name="T12" fmla="*/ 109 w 109"/>
                <a:gd name="T13" fmla="*/ 823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834">
                  <a:moveTo>
                    <a:pt x="109" y="823"/>
                  </a:moveTo>
                  <a:cubicBezTo>
                    <a:pt x="75" y="811"/>
                    <a:pt x="38" y="807"/>
                    <a:pt x="0" y="834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27"/>
                    <a:pt x="30" y="17"/>
                    <a:pt x="37" y="10"/>
                  </a:cubicBezTo>
                  <a:cubicBezTo>
                    <a:pt x="43" y="5"/>
                    <a:pt x="49" y="1"/>
                    <a:pt x="57" y="0"/>
                  </a:cubicBezTo>
                  <a:cubicBezTo>
                    <a:pt x="74" y="4"/>
                    <a:pt x="88" y="19"/>
                    <a:pt x="88" y="38"/>
                  </a:cubicBezTo>
                  <a:cubicBezTo>
                    <a:pt x="109" y="823"/>
                    <a:pt x="109" y="823"/>
                    <a:pt x="109" y="82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2" name="ïsľîḍe">
              <a:extLst>
                <a:ext uri="{FF2B5EF4-FFF2-40B4-BE49-F238E27FC236}">
                  <a16:creationId xmlns:a16="http://schemas.microsoft.com/office/drawing/2014/main" id="{DEF16381-D280-4F5E-A5CF-F78D44095A3D}"/>
                </a:ext>
              </a:extLst>
            </p:cNvPr>
            <p:cNvSpPr/>
            <p:nvPr/>
          </p:nvSpPr>
          <p:spPr bwMode="auto">
            <a:xfrm>
              <a:off x="5387975" y="5032375"/>
              <a:ext cx="309563" cy="177800"/>
            </a:xfrm>
            <a:custGeom>
              <a:avLst/>
              <a:gdLst>
                <a:gd name="T0" fmla="*/ 117 w 117"/>
                <a:gd name="T1" fmla="*/ 8 h 67"/>
                <a:gd name="T2" fmla="*/ 58 w 117"/>
                <a:gd name="T3" fmla="*/ 67 h 67"/>
                <a:gd name="T4" fmla="*/ 0 w 117"/>
                <a:gd name="T5" fmla="*/ 8 h 67"/>
                <a:gd name="T6" fmla="*/ 0 w 117"/>
                <a:gd name="T7" fmla="*/ 0 h 67"/>
                <a:gd name="T8" fmla="*/ 58 w 117"/>
                <a:gd name="T9" fmla="*/ 50 h 67"/>
                <a:gd name="T10" fmla="*/ 117 w 117"/>
                <a:gd name="T11" fmla="*/ 0 h 67"/>
                <a:gd name="T12" fmla="*/ 117 w 117"/>
                <a:gd name="T13" fmla="*/ 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67">
                  <a:moveTo>
                    <a:pt x="117" y="8"/>
                  </a:moveTo>
                  <a:cubicBezTo>
                    <a:pt x="117" y="41"/>
                    <a:pt x="91" y="67"/>
                    <a:pt x="58" y="67"/>
                  </a:cubicBezTo>
                  <a:cubicBezTo>
                    <a:pt x="26" y="67"/>
                    <a:pt x="0" y="41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  <a:cubicBezTo>
                    <a:pt x="4" y="28"/>
                    <a:pt x="29" y="50"/>
                    <a:pt x="58" y="50"/>
                  </a:cubicBezTo>
                  <a:cubicBezTo>
                    <a:pt x="88" y="50"/>
                    <a:pt x="113" y="28"/>
                    <a:pt x="117" y="0"/>
                  </a:cubicBezTo>
                  <a:cubicBezTo>
                    <a:pt x="117" y="3"/>
                    <a:pt x="117" y="5"/>
                    <a:pt x="117" y="8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3" name="ïṩ1íḋé">
              <a:extLst>
                <a:ext uri="{FF2B5EF4-FFF2-40B4-BE49-F238E27FC236}">
                  <a16:creationId xmlns:a16="http://schemas.microsoft.com/office/drawing/2014/main" id="{D2564FE4-A153-4F22-BA63-69F41240A476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4" name="í$lïde">
              <a:extLst>
                <a:ext uri="{FF2B5EF4-FFF2-40B4-BE49-F238E27FC236}">
                  <a16:creationId xmlns:a16="http://schemas.microsoft.com/office/drawing/2014/main" id="{72F2BD48-BC50-4310-B72A-EFE402D90DB8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custGeom>
              <a:avLst/>
              <a:gdLst>
                <a:gd name="T0" fmla="*/ 0 w 565"/>
                <a:gd name="T1" fmla="*/ 91 h 91"/>
                <a:gd name="T2" fmla="*/ 565 w 565"/>
                <a:gd name="T3" fmla="*/ 0 h 91"/>
                <a:gd name="T4" fmla="*/ 0 w 565"/>
                <a:gd name="T5" fmla="*/ 0 h 91"/>
                <a:gd name="T6" fmla="*/ 0 w 565"/>
                <a:gd name="T7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91">
                  <a:moveTo>
                    <a:pt x="0" y="91"/>
                  </a:moveTo>
                  <a:lnTo>
                    <a:pt x="565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5" name="íṧ1íḑé">
              <a:extLst>
                <a:ext uri="{FF2B5EF4-FFF2-40B4-BE49-F238E27FC236}">
                  <a16:creationId xmlns:a16="http://schemas.microsoft.com/office/drawing/2014/main" id="{CAF5F313-57A5-40E3-9E31-3203F11BEC4D}"/>
                </a:ext>
              </a:extLst>
            </p:cNvPr>
            <p:cNvSpPr/>
            <p:nvPr/>
          </p:nvSpPr>
          <p:spPr bwMode="auto">
            <a:xfrm>
              <a:off x="5035550" y="5588000"/>
              <a:ext cx="1006475" cy="53975"/>
            </a:xfrm>
            <a:prstGeom prst="rect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6" name="isḻîďé">
              <a:extLst>
                <a:ext uri="{FF2B5EF4-FFF2-40B4-BE49-F238E27FC236}">
                  <a16:creationId xmlns:a16="http://schemas.microsoft.com/office/drawing/2014/main" id="{5A49CA1A-67FB-492C-BD21-621B4DCFD536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249238"/>
            </a:xfrm>
            <a:custGeom>
              <a:avLst/>
              <a:gdLst>
                <a:gd name="T0" fmla="*/ 142 w 147"/>
                <a:gd name="T1" fmla="*/ 157 h 157"/>
                <a:gd name="T2" fmla="*/ 7 w 147"/>
                <a:gd name="T3" fmla="*/ 157 h 157"/>
                <a:gd name="T4" fmla="*/ 0 w 147"/>
                <a:gd name="T5" fmla="*/ 0 h 157"/>
                <a:gd name="T6" fmla="*/ 147 w 147"/>
                <a:gd name="T7" fmla="*/ 0 h 157"/>
                <a:gd name="T8" fmla="*/ 142 w 147"/>
                <a:gd name="T9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7">
                  <a:moveTo>
                    <a:pt x="142" y="157"/>
                  </a:moveTo>
                  <a:lnTo>
                    <a:pt x="7" y="157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7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7" name="îṣḷîḋé">
              <a:extLst>
                <a:ext uri="{FF2B5EF4-FFF2-40B4-BE49-F238E27FC236}">
                  <a16:creationId xmlns:a16="http://schemas.microsoft.com/office/drawing/2014/main" id="{E25F0C7E-D155-4626-98E8-6BD1BCAD3637}"/>
                </a:ext>
              </a:extLst>
            </p:cNvPr>
            <p:cNvSpPr/>
            <p:nvPr/>
          </p:nvSpPr>
          <p:spPr bwMode="auto">
            <a:xfrm>
              <a:off x="3875088" y="5392738"/>
              <a:ext cx="225425" cy="249238"/>
            </a:xfrm>
            <a:custGeom>
              <a:avLst/>
              <a:gdLst>
                <a:gd name="T0" fmla="*/ 0 w 85"/>
                <a:gd name="T1" fmla="*/ 0 h 94"/>
                <a:gd name="T2" fmla="*/ 32 w 85"/>
                <a:gd name="T3" fmla="*/ 74 h 94"/>
                <a:gd name="T4" fmla="*/ 85 w 85"/>
                <a:gd name="T5" fmla="*/ 74 h 94"/>
                <a:gd name="T6" fmla="*/ 85 w 85"/>
                <a:gd name="T7" fmla="*/ 94 h 94"/>
                <a:gd name="T8" fmla="*/ 4 w 85"/>
                <a:gd name="T9" fmla="*/ 94 h 94"/>
                <a:gd name="T10" fmla="*/ 0 w 85"/>
                <a:gd name="T11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4">
                  <a:moveTo>
                    <a:pt x="0" y="0"/>
                  </a:moveTo>
                  <a:cubicBezTo>
                    <a:pt x="0" y="0"/>
                    <a:pt x="3" y="55"/>
                    <a:pt x="32" y="74"/>
                  </a:cubicBezTo>
                  <a:cubicBezTo>
                    <a:pt x="61" y="94"/>
                    <a:pt x="85" y="74"/>
                    <a:pt x="85" y="74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4" y="94"/>
                    <a:pt x="4" y="94"/>
                    <a:pt x="4" y="9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8" name="ïslíḓe">
              <a:extLst>
                <a:ext uri="{FF2B5EF4-FFF2-40B4-BE49-F238E27FC236}">
                  <a16:creationId xmlns:a16="http://schemas.microsoft.com/office/drawing/2014/main" id="{29C868C1-3009-422B-AF69-AFB2C25B27C8}"/>
                </a:ext>
              </a:extLst>
            </p:cNvPr>
            <p:cNvSpPr/>
            <p:nvPr/>
          </p:nvSpPr>
          <p:spPr bwMode="auto">
            <a:xfrm>
              <a:off x="3943350" y="5411788"/>
              <a:ext cx="26988" cy="25400"/>
            </a:xfrm>
            <a:custGeom>
              <a:avLst/>
              <a:gdLst>
                <a:gd name="T0" fmla="*/ 0 w 10"/>
                <a:gd name="T1" fmla="*/ 5 h 10"/>
                <a:gd name="T2" fmla="*/ 5 w 10"/>
                <a:gd name="T3" fmla="*/ 1 h 10"/>
                <a:gd name="T4" fmla="*/ 9 w 10"/>
                <a:gd name="T5" fmla="*/ 6 h 10"/>
                <a:gd name="T6" fmla="*/ 4 w 10"/>
                <a:gd name="T7" fmla="*/ 10 h 10"/>
                <a:gd name="T8" fmla="*/ 0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5"/>
                  </a:moveTo>
                  <a:cubicBezTo>
                    <a:pt x="0" y="2"/>
                    <a:pt x="3" y="0"/>
                    <a:pt x="5" y="1"/>
                  </a:cubicBezTo>
                  <a:cubicBezTo>
                    <a:pt x="8" y="1"/>
                    <a:pt x="10" y="3"/>
                    <a:pt x="9" y="6"/>
                  </a:cubicBezTo>
                  <a:cubicBezTo>
                    <a:pt x="9" y="8"/>
                    <a:pt x="7" y="10"/>
                    <a:pt x="4" y="10"/>
                  </a:cubicBezTo>
                  <a:cubicBezTo>
                    <a:pt x="2" y="10"/>
                    <a:pt x="0" y="7"/>
                    <a:pt x="0" y="5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9" name="íSļîḋe">
              <a:extLst>
                <a:ext uri="{FF2B5EF4-FFF2-40B4-BE49-F238E27FC236}">
                  <a16:creationId xmlns:a16="http://schemas.microsoft.com/office/drawing/2014/main" id="{33D22A43-2DC0-43BD-9981-3A364F73FEE0}"/>
                </a:ext>
              </a:extLst>
            </p:cNvPr>
            <p:cNvSpPr/>
            <p:nvPr/>
          </p:nvSpPr>
          <p:spPr bwMode="auto">
            <a:xfrm>
              <a:off x="3957638" y="5424488"/>
              <a:ext cx="171450" cy="123825"/>
            </a:xfrm>
            <a:custGeom>
              <a:avLst/>
              <a:gdLst>
                <a:gd name="T0" fmla="*/ 0 w 65"/>
                <a:gd name="T1" fmla="*/ 0 h 47"/>
                <a:gd name="T2" fmla="*/ 65 w 65"/>
                <a:gd name="T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7">
                  <a:moveTo>
                    <a:pt x="0" y="0"/>
                  </a:moveTo>
                  <a:cubicBezTo>
                    <a:pt x="12" y="17"/>
                    <a:pt x="34" y="41"/>
                    <a:pt x="65" y="47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0" name="íŝľiḍe">
              <a:extLst>
                <a:ext uri="{FF2B5EF4-FFF2-40B4-BE49-F238E27FC236}">
                  <a16:creationId xmlns:a16="http://schemas.microsoft.com/office/drawing/2014/main" id="{11713F6C-B7FF-4E2F-A4A2-5AF6DDF7AF75}"/>
                </a:ext>
              </a:extLst>
            </p:cNvPr>
            <p:cNvSpPr/>
            <p:nvPr/>
          </p:nvSpPr>
          <p:spPr bwMode="auto">
            <a:xfrm>
              <a:off x="4105275" y="5535613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6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2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3"/>
                    <a:pt x="14" y="4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1" name="íṡļïḍe">
              <a:extLst>
                <a:ext uri="{FF2B5EF4-FFF2-40B4-BE49-F238E27FC236}">
                  <a16:creationId xmlns:a16="http://schemas.microsoft.com/office/drawing/2014/main" id="{CA55C231-15FC-4A1D-8C19-5ED00883D96F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6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6"/>
                  </a:cubicBezTo>
                  <a:cubicBezTo>
                    <a:pt x="87" y="26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2" name="iṡļíḑé">
              <a:extLst>
                <a:ext uri="{FF2B5EF4-FFF2-40B4-BE49-F238E27FC236}">
                  <a16:creationId xmlns:a16="http://schemas.microsoft.com/office/drawing/2014/main" id="{ABEDC04F-4C5F-4B64-8EBA-CFA160A1B68E}"/>
                </a:ext>
              </a:extLst>
            </p:cNvPr>
            <p:cNvSpPr/>
            <p:nvPr/>
          </p:nvSpPr>
          <p:spPr bwMode="auto">
            <a:xfrm>
              <a:off x="4049713" y="5392738"/>
              <a:ext cx="19050" cy="68263"/>
            </a:xfrm>
            <a:custGeom>
              <a:avLst/>
              <a:gdLst>
                <a:gd name="T0" fmla="*/ 3 w 7"/>
                <a:gd name="T1" fmla="*/ 26 h 26"/>
                <a:gd name="T2" fmla="*/ 3 w 7"/>
                <a:gd name="T3" fmla="*/ 26 h 26"/>
                <a:gd name="T4" fmla="*/ 0 w 7"/>
                <a:gd name="T5" fmla="*/ 22 h 26"/>
                <a:gd name="T6" fmla="*/ 0 w 7"/>
                <a:gd name="T7" fmla="*/ 0 h 26"/>
                <a:gd name="T8" fmla="*/ 7 w 7"/>
                <a:gd name="T9" fmla="*/ 0 h 26"/>
                <a:gd name="T10" fmla="*/ 7 w 7"/>
                <a:gd name="T11" fmla="*/ 22 h 26"/>
                <a:gd name="T12" fmla="*/ 3 w 7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6"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5" y="26"/>
                    <a:pt x="3" y="26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3" name="iṣ1îde">
              <a:extLst>
                <a:ext uri="{FF2B5EF4-FFF2-40B4-BE49-F238E27FC236}">
                  <a16:creationId xmlns:a16="http://schemas.microsoft.com/office/drawing/2014/main" id="{ACD087E8-9F3C-4B56-B1DE-5590F1F46004}"/>
                </a:ext>
              </a:extLst>
            </p:cNvPr>
            <p:cNvSpPr/>
            <p:nvPr/>
          </p:nvSpPr>
          <p:spPr bwMode="auto">
            <a:xfrm>
              <a:off x="3870325" y="5384800"/>
              <a:ext cx="242888" cy="7938"/>
            </a:xfrm>
            <a:custGeom>
              <a:avLst/>
              <a:gdLst>
                <a:gd name="T0" fmla="*/ 90 w 92"/>
                <a:gd name="T1" fmla="*/ 0 h 3"/>
                <a:gd name="T2" fmla="*/ 2 w 92"/>
                <a:gd name="T3" fmla="*/ 0 h 3"/>
                <a:gd name="T4" fmla="*/ 0 w 92"/>
                <a:gd name="T5" fmla="*/ 2 h 3"/>
                <a:gd name="T6" fmla="*/ 0 w 92"/>
                <a:gd name="T7" fmla="*/ 2 h 3"/>
                <a:gd name="T8" fmla="*/ 2 w 92"/>
                <a:gd name="T9" fmla="*/ 3 h 3"/>
                <a:gd name="T10" fmla="*/ 90 w 92"/>
                <a:gd name="T11" fmla="*/ 3 h 3"/>
                <a:gd name="T12" fmla="*/ 92 w 92"/>
                <a:gd name="T13" fmla="*/ 2 h 3"/>
                <a:gd name="T14" fmla="*/ 92 w 92"/>
                <a:gd name="T15" fmla="*/ 2 h 3"/>
                <a:gd name="T16" fmla="*/ 90 w 9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">
                  <a:moveTo>
                    <a:pt x="9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2" y="2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4" name="ïş1ïďé">
              <a:extLst>
                <a:ext uri="{FF2B5EF4-FFF2-40B4-BE49-F238E27FC236}">
                  <a16:creationId xmlns:a16="http://schemas.microsoft.com/office/drawing/2014/main" id="{DDCBEEDB-923A-4C2C-9F33-ED767AEF73CF}"/>
                </a:ext>
              </a:extLst>
            </p:cNvPr>
            <p:cNvSpPr/>
            <p:nvPr/>
          </p:nvSpPr>
          <p:spPr bwMode="auto">
            <a:xfrm>
              <a:off x="4049713" y="5468938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5" name="ïṥḻïḋe">
              <a:extLst>
                <a:ext uri="{FF2B5EF4-FFF2-40B4-BE49-F238E27FC236}">
                  <a16:creationId xmlns:a16="http://schemas.microsoft.com/office/drawing/2014/main" id="{98ABC332-584B-4BB9-A4F9-7DADD3FA38D9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244475"/>
            </a:xfrm>
            <a:custGeom>
              <a:avLst/>
              <a:gdLst>
                <a:gd name="T0" fmla="*/ 142 w 147"/>
                <a:gd name="T1" fmla="*/ 154 h 154"/>
                <a:gd name="T2" fmla="*/ 7 w 147"/>
                <a:gd name="T3" fmla="*/ 154 h 154"/>
                <a:gd name="T4" fmla="*/ 0 w 147"/>
                <a:gd name="T5" fmla="*/ 0 h 154"/>
                <a:gd name="T6" fmla="*/ 147 w 147"/>
                <a:gd name="T7" fmla="*/ 0 h 154"/>
                <a:gd name="T8" fmla="*/ 142 w 147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4">
                  <a:moveTo>
                    <a:pt x="142" y="154"/>
                  </a:moveTo>
                  <a:lnTo>
                    <a:pt x="7" y="154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6" name="íṥlîḋê">
              <a:extLst>
                <a:ext uri="{FF2B5EF4-FFF2-40B4-BE49-F238E27FC236}">
                  <a16:creationId xmlns:a16="http://schemas.microsoft.com/office/drawing/2014/main" id="{2D2F06CF-DE40-4924-8D4E-3ABACDA7C064}"/>
                </a:ext>
              </a:extLst>
            </p:cNvPr>
            <p:cNvSpPr/>
            <p:nvPr/>
          </p:nvSpPr>
          <p:spPr bwMode="auto">
            <a:xfrm>
              <a:off x="4759325" y="4724400"/>
              <a:ext cx="225425" cy="244475"/>
            </a:xfrm>
            <a:custGeom>
              <a:avLst/>
              <a:gdLst>
                <a:gd name="T0" fmla="*/ 0 w 85"/>
                <a:gd name="T1" fmla="*/ 0 h 93"/>
                <a:gd name="T2" fmla="*/ 32 w 85"/>
                <a:gd name="T3" fmla="*/ 74 h 93"/>
                <a:gd name="T4" fmla="*/ 85 w 85"/>
                <a:gd name="T5" fmla="*/ 74 h 93"/>
                <a:gd name="T6" fmla="*/ 85 w 85"/>
                <a:gd name="T7" fmla="*/ 93 h 93"/>
                <a:gd name="T8" fmla="*/ 4 w 85"/>
                <a:gd name="T9" fmla="*/ 93 h 93"/>
                <a:gd name="T10" fmla="*/ 0 w 85"/>
                <a:gd name="T1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3">
                  <a:moveTo>
                    <a:pt x="0" y="0"/>
                  </a:moveTo>
                  <a:cubicBezTo>
                    <a:pt x="0" y="0"/>
                    <a:pt x="3" y="54"/>
                    <a:pt x="32" y="74"/>
                  </a:cubicBezTo>
                  <a:cubicBezTo>
                    <a:pt x="61" y="93"/>
                    <a:pt x="85" y="74"/>
                    <a:pt x="85" y="74"/>
                  </a:cubicBezTo>
                  <a:cubicBezTo>
                    <a:pt x="85" y="93"/>
                    <a:pt x="85" y="93"/>
                    <a:pt x="85" y="93"/>
                  </a:cubicBezTo>
                  <a:cubicBezTo>
                    <a:pt x="4" y="93"/>
                    <a:pt x="4" y="93"/>
                    <a:pt x="4" y="9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7" name="işḷiḋè">
              <a:extLst>
                <a:ext uri="{FF2B5EF4-FFF2-40B4-BE49-F238E27FC236}">
                  <a16:creationId xmlns:a16="http://schemas.microsoft.com/office/drawing/2014/main" id="{1A65A147-B113-4C90-94FE-3E0B5B339D0D}"/>
                </a:ext>
              </a:extLst>
            </p:cNvPr>
            <p:cNvSpPr/>
            <p:nvPr/>
          </p:nvSpPr>
          <p:spPr bwMode="auto">
            <a:xfrm>
              <a:off x="4829175" y="4741863"/>
              <a:ext cx="25400" cy="23813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0 h 9"/>
                <a:gd name="T4" fmla="*/ 10 w 10"/>
                <a:gd name="T5" fmla="*/ 5 h 9"/>
                <a:gd name="T6" fmla="*/ 4 w 10"/>
                <a:gd name="T7" fmla="*/ 9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1" y="1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9" y="8"/>
                    <a:pt x="7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8" name="îSľïḑé">
              <a:extLst>
                <a:ext uri="{FF2B5EF4-FFF2-40B4-BE49-F238E27FC236}">
                  <a16:creationId xmlns:a16="http://schemas.microsoft.com/office/drawing/2014/main" id="{5227F7FF-1A7E-4F09-A456-C0374A4305F6}"/>
                </a:ext>
              </a:extLst>
            </p:cNvPr>
            <p:cNvSpPr/>
            <p:nvPr/>
          </p:nvSpPr>
          <p:spPr bwMode="auto">
            <a:xfrm>
              <a:off x="4841875" y="4756150"/>
              <a:ext cx="171450" cy="120650"/>
            </a:xfrm>
            <a:custGeom>
              <a:avLst/>
              <a:gdLst>
                <a:gd name="T0" fmla="*/ 0 w 65"/>
                <a:gd name="T1" fmla="*/ 0 h 46"/>
                <a:gd name="T2" fmla="*/ 65 w 65"/>
                <a:gd name="T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6">
                  <a:moveTo>
                    <a:pt x="0" y="0"/>
                  </a:moveTo>
                  <a:cubicBezTo>
                    <a:pt x="12" y="16"/>
                    <a:pt x="34" y="40"/>
                    <a:pt x="65" y="46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9" name="ïṧļíḍè">
              <a:extLst>
                <a:ext uri="{FF2B5EF4-FFF2-40B4-BE49-F238E27FC236}">
                  <a16:creationId xmlns:a16="http://schemas.microsoft.com/office/drawing/2014/main" id="{7A4564F7-2137-4E5F-9AAB-D2771A975695}"/>
                </a:ext>
              </a:extLst>
            </p:cNvPr>
            <p:cNvSpPr/>
            <p:nvPr/>
          </p:nvSpPr>
          <p:spPr bwMode="auto">
            <a:xfrm>
              <a:off x="4989513" y="4864100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7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3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5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3" y="0"/>
                    <a:pt x="4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0" name="ïṩľïďê">
              <a:extLst>
                <a:ext uri="{FF2B5EF4-FFF2-40B4-BE49-F238E27FC236}">
                  <a16:creationId xmlns:a16="http://schemas.microsoft.com/office/drawing/2014/main" id="{40028441-771B-4FD4-85F5-5694ECE1D47A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5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5"/>
                  </a:cubicBezTo>
                  <a:cubicBezTo>
                    <a:pt x="87" y="25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1" name="ís1íďe">
              <a:extLst>
                <a:ext uri="{FF2B5EF4-FFF2-40B4-BE49-F238E27FC236}">
                  <a16:creationId xmlns:a16="http://schemas.microsoft.com/office/drawing/2014/main" id="{B39118C1-4347-4283-90D4-9AD647C4C423}"/>
                </a:ext>
              </a:extLst>
            </p:cNvPr>
            <p:cNvSpPr/>
            <p:nvPr/>
          </p:nvSpPr>
          <p:spPr bwMode="auto">
            <a:xfrm>
              <a:off x="4933950" y="4724400"/>
              <a:ext cx="19050" cy="65088"/>
            </a:xfrm>
            <a:custGeom>
              <a:avLst/>
              <a:gdLst>
                <a:gd name="T0" fmla="*/ 3 w 7"/>
                <a:gd name="T1" fmla="*/ 25 h 25"/>
                <a:gd name="T2" fmla="*/ 3 w 7"/>
                <a:gd name="T3" fmla="*/ 25 h 25"/>
                <a:gd name="T4" fmla="*/ 0 w 7"/>
                <a:gd name="T5" fmla="*/ 22 h 25"/>
                <a:gd name="T6" fmla="*/ 0 w 7"/>
                <a:gd name="T7" fmla="*/ 0 h 25"/>
                <a:gd name="T8" fmla="*/ 7 w 7"/>
                <a:gd name="T9" fmla="*/ 0 h 25"/>
                <a:gd name="T10" fmla="*/ 7 w 7"/>
                <a:gd name="T11" fmla="*/ 22 h 25"/>
                <a:gd name="T12" fmla="*/ 3 w 7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5">
                  <a:moveTo>
                    <a:pt x="3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1" y="25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6" y="25"/>
                    <a:pt x="3" y="25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2" name="íślíḑe">
              <a:extLst>
                <a:ext uri="{FF2B5EF4-FFF2-40B4-BE49-F238E27FC236}">
                  <a16:creationId xmlns:a16="http://schemas.microsoft.com/office/drawing/2014/main" id="{408AAAFD-3C44-4979-8ADC-58A09DF036A7}"/>
                </a:ext>
              </a:extLst>
            </p:cNvPr>
            <p:cNvSpPr/>
            <p:nvPr/>
          </p:nvSpPr>
          <p:spPr bwMode="auto">
            <a:xfrm>
              <a:off x="4757738" y="4713288"/>
              <a:ext cx="239713" cy="11113"/>
            </a:xfrm>
            <a:custGeom>
              <a:avLst/>
              <a:gdLst>
                <a:gd name="T0" fmla="*/ 89 w 91"/>
                <a:gd name="T1" fmla="*/ 0 h 4"/>
                <a:gd name="T2" fmla="*/ 1 w 91"/>
                <a:gd name="T3" fmla="*/ 0 h 4"/>
                <a:gd name="T4" fmla="*/ 0 w 91"/>
                <a:gd name="T5" fmla="*/ 2 h 4"/>
                <a:gd name="T6" fmla="*/ 0 w 91"/>
                <a:gd name="T7" fmla="*/ 2 h 4"/>
                <a:gd name="T8" fmla="*/ 1 w 91"/>
                <a:gd name="T9" fmla="*/ 4 h 4"/>
                <a:gd name="T10" fmla="*/ 89 w 91"/>
                <a:gd name="T11" fmla="*/ 4 h 4"/>
                <a:gd name="T12" fmla="*/ 91 w 91"/>
                <a:gd name="T13" fmla="*/ 2 h 4"/>
                <a:gd name="T14" fmla="*/ 91 w 91"/>
                <a:gd name="T15" fmla="*/ 2 h 4"/>
                <a:gd name="T16" fmla="*/ 89 w 9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4">
                  <a:moveTo>
                    <a:pt x="8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0" y="4"/>
                    <a:pt x="91" y="3"/>
                    <a:pt x="91" y="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0" y="0"/>
                    <a:pt x="8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3" name="íṧļïḋê">
              <a:extLst>
                <a:ext uri="{FF2B5EF4-FFF2-40B4-BE49-F238E27FC236}">
                  <a16:creationId xmlns:a16="http://schemas.microsoft.com/office/drawing/2014/main" id="{1F48A8E5-8F49-42AE-9AC5-77371B0D7568}"/>
                </a:ext>
              </a:extLst>
            </p:cNvPr>
            <p:cNvSpPr/>
            <p:nvPr/>
          </p:nvSpPr>
          <p:spPr bwMode="auto">
            <a:xfrm>
              <a:off x="4933950" y="4797425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4" name="iSḻíďè">
              <a:extLst>
                <a:ext uri="{FF2B5EF4-FFF2-40B4-BE49-F238E27FC236}">
                  <a16:creationId xmlns:a16="http://schemas.microsoft.com/office/drawing/2014/main" id="{17AAC21D-5892-4E84-BEE1-DAB1DBAE444E}"/>
                </a:ext>
              </a:extLst>
            </p:cNvPr>
            <p:cNvSpPr/>
            <p:nvPr/>
          </p:nvSpPr>
          <p:spPr bwMode="auto">
            <a:xfrm>
              <a:off x="4240213" y="5610225"/>
              <a:ext cx="79375" cy="31750"/>
            </a:xfrm>
            <a:prstGeom prst="rect">
              <a:avLst/>
            </a:pr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5" name="îSlïḓê">
              <a:extLst>
                <a:ext uri="{FF2B5EF4-FFF2-40B4-BE49-F238E27FC236}">
                  <a16:creationId xmlns:a16="http://schemas.microsoft.com/office/drawing/2014/main" id="{9397DA82-6FC3-4571-913B-DB9BDD58BEEE}"/>
                </a:ext>
              </a:extLst>
            </p:cNvPr>
            <p:cNvSpPr/>
            <p:nvPr/>
          </p:nvSpPr>
          <p:spPr bwMode="auto">
            <a:xfrm>
              <a:off x="4319588" y="5610225"/>
              <a:ext cx="79375" cy="31750"/>
            </a:xfrm>
            <a:custGeom>
              <a:avLst/>
              <a:gdLst>
                <a:gd name="T0" fmla="*/ 26 w 30"/>
                <a:gd name="T1" fmla="*/ 0 h 12"/>
                <a:gd name="T2" fmla="*/ 0 w 30"/>
                <a:gd name="T3" fmla="*/ 0 h 12"/>
                <a:gd name="T4" fmla="*/ 0 w 30"/>
                <a:gd name="T5" fmla="*/ 12 h 12"/>
                <a:gd name="T6" fmla="*/ 26 w 30"/>
                <a:gd name="T7" fmla="*/ 12 h 12"/>
                <a:gd name="T8" fmla="*/ 30 w 30"/>
                <a:gd name="T9" fmla="*/ 8 h 12"/>
                <a:gd name="T10" fmla="*/ 30 w 30"/>
                <a:gd name="T11" fmla="*/ 4 h 12"/>
                <a:gd name="T12" fmla="*/ 26 w 3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9" y="12"/>
                    <a:pt x="30" y="10"/>
                    <a:pt x="30" y="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2"/>
                    <a:pt x="29" y="0"/>
                    <a:pt x="26" y="0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6" name="ís1ïḓe">
              <a:extLst>
                <a:ext uri="{FF2B5EF4-FFF2-40B4-BE49-F238E27FC236}">
                  <a16:creationId xmlns:a16="http://schemas.microsoft.com/office/drawing/2014/main" id="{6E93EE6E-596D-447E-AA05-50B34EBEE62F}"/>
                </a:ext>
              </a:extLst>
            </p:cNvPr>
            <p:cNvSpPr/>
            <p:nvPr/>
          </p:nvSpPr>
          <p:spPr bwMode="auto">
            <a:xfrm>
              <a:off x="4240213" y="5626100"/>
              <a:ext cx="79375" cy="15875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7" name="iś1íḍè">
              <a:extLst>
                <a:ext uri="{FF2B5EF4-FFF2-40B4-BE49-F238E27FC236}">
                  <a16:creationId xmlns:a16="http://schemas.microsoft.com/office/drawing/2014/main" id="{7CE93240-5FDB-43BA-B388-9C6917753D04}"/>
                </a:ext>
              </a:extLst>
            </p:cNvPr>
            <p:cNvSpPr/>
            <p:nvPr/>
          </p:nvSpPr>
          <p:spPr bwMode="auto">
            <a:xfrm>
              <a:off x="4319588" y="5626100"/>
              <a:ext cx="79375" cy="15875"/>
            </a:xfrm>
            <a:custGeom>
              <a:avLst/>
              <a:gdLst>
                <a:gd name="T0" fmla="*/ 30 w 30"/>
                <a:gd name="T1" fmla="*/ 0 h 6"/>
                <a:gd name="T2" fmla="*/ 0 w 30"/>
                <a:gd name="T3" fmla="*/ 0 h 6"/>
                <a:gd name="T4" fmla="*/ 0 w 30"/>
                <a:gd name="T5" fmla="*/ 6 h 6"/>
                <a:gd name="T6" fmla="*/ 26 w 30"/>
                <a:gd name="T7" fmla="*/ 6 h 6"/>
                <a:gd name="T8" fmla="*/ 30 w 30"/>
                <a:gd name="T9" fmla="*/ 2 h 6"/>
                <a:gd name="T10" fmla="*/ 30 w 3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9" y="6"/>
                    <a:pt x="30" y="4"/>
                    <a:pt x="30" y="2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8" name="íŝlíďé">
              <a:extLst>
                <a:ext uri="{FF2B5EF4-FFF2-40B4-BE49-F238E27FC236}">
                  <a16:creationId xmlns:a16="http://schemas.microsoft.com/office/drawing/2014/main" id="{6334D236-3372-4324-A78F-C7BBF2DB7A78}"/>
                </a:ext>
              </a:extLst>
            </p:cNvPr>
            <p:cNvSpPr/>
            <p:nvPr/>
          </p:nvSpPr>
          <p:spPr bwMode="auto">
            <a:xfrm>
              <a:off x="4398963" y="5619750"/>
              <a:ext cx="22225" cy="14288"/>
            </a:xfrm>
            <a:prstGeom prst="rect">
              <a:avLst/>
            </a:pr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9" name="ï$líďê">
              <a:extLst>
                <a:ext uri="{FF2B5EF4-FFF2-40B4-BE49-F238E27FC236}">
                  <a16:creationId xmlns:a16="http://schemas.microsoft.com/office/drawing/2014/main" id="{30DC902C-743B-4BA4-8578-342385CD71A9}"/>
                </a:ext>
              </a:extLst>
            </p:cNvPr>
            <p:cNvSpPr/>
            <p:nvPr/>
          </p:nvSpPr>
          <p:spPr bwMode="auto">
            <a:xfrm>
              <a:off x="4421188" y="5619750"/>
              <a:ext cx="80963" cy="14288"/>
            </a:xfrm>
            <a:custGeom>
              <a:avLst/>
              <a:gdLst>
                <a:gd name="T0" fmla="*/ 29 w 31"/>
                <a:gd name="T1" fmla="*/ 5 h 5"/>
                <a:gd name="T2" fmla="*/ 0 w 31"/>
                <a:gd name="T3" fmla="*/ 5 h 5"/>
                <a:gd name="T4" fmla="*/ 0 w 31"/>
                <a:gd name="T5" fmla="*/ 0 h 5"/>
                <a:gd name="T6" fmla="*/ 29 w 31"/>
                <a:gd name="T7" fmla="*/ 0 h 5"/>
                <a:gd name="T8" fmla="*/ 31 w 31"/>
                <a:gd name="T9" fmla="*/ 2 h 5"/>
                <a:gd name="T10" fmla="*/ 31 w 31"/>
                <a:gd name="T11" fmla="*/ 2 h 5"/>
                <a:gd name="T12" fmla="*/ 29 w 31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">
                  <a:moveTo>
                    <a:pt x="29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4"/>
                    <a:pt x="30" y="5"/>
                    <a:pt x="29" y="5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0" name="işlîḓê">
              <a:extLst>
                <a:ext uri="{FF2B5EF4-FFF2-40B4-BE49-F238E27FC236}">
                  <a16:creationId xmlns:a16="http://schemas.microsoft.com/office/drawing/2014/main" id="{75105E11-C002-48D2-81F7-6140D8E4A037}"/>
                </a:ext>
              </a:extLst>
            </p:cNvPr>
            <p:cNvSpPr/>
            <p:nvPr/>
          </p:nvSpPr>
          <p:spPr bwMode="auto">
            <a:xfrm>
              <a:off x="4398963" y="5626100"/>
              <a:ext cx="22225" cy="7938"/>
            </a:xfrm>
            <a:prstGeom prst="rect">
              <a:avLst/>
            </a:pr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1" name="ïŝļíďè">
              <a:extLst>
                <a:ext uri="{FF2B5EF4-FFF2-40B4-BE49-F238E27FC236}">
                  <a16:creationId xmlns:a16="http://schemas.microsoft.com/office/drawing/2014/main" id="{AF3E1E0B-6DD4-4107-B3B4-5A56A52F2812}"/>
                </a:ext>
              </a:extLst>
            </p:cNvPr>
            <p:cNvSpPr/>
            <p:nvPr/>
          </p:nvSpPr>
          <p:spPr bwMode="auto">
            <a:xfrm>
              <a:off x="4421188" y="5626100"/>
              <a:ext cx="80963" cy="7938"/>
            </a:xfrm>
            <a:custGeom>
              <a:avLst/>
              <a:gdLst>
                <a:gd name="T0" fmla="*/ 31 w 31"/>
                <a:gd name="T1" fmla="*/ 0 h 3"/>
                <a:gd name="T2" fmla="*/ 31 w 31"/>
                <a:gd name="T3" fmla="*/ 0 h 3"/>
                <a:gd name="T4" fmla="*/ 0 w 31"/>
                <a:gd name="T5" fmla="*/ 0 h 3"/>
                <a:gd name="T6" fmla="*/ 0 w 31"/>
                <a:gd name="T7" fmla="*/ 3 h 3"/>
                <a:gd name="T8" fmla="*/ 29 w 31"/>
                <a:gd name="T9" fmla="*/ 3 h 3"/>
                <a:gd name="T10" fmla="*/ 31 w 31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3"/>
                    <a:pt x="31" y="2"/>
                    <a:pt x="31" y="0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2" name="iṥ1îḑê">
              <a:extLst>
                <a:ext uri="{FF2B5EF4-FFF2-40B4-BE49-F238E27FC236}">
                  <a16:creationId xmlns:a16="http://schemas.microsoft.com/office/drawing/2014/main" id="{29997ACF-9D79-4D89-B58A-6535BBD63ACC}"/>
                </a:ext>
              </a:extLst>
            </p:cNvPr>
            <p:cNvSpPr/>
            <p:nvPr/>
          </p:nvSpPr>
          <p:spPr bwMode="auto">
            <a:xfrm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3" name="ïṧļîde">
              <a:extLst>
                <a:ext uri="{FF2B5EF4-FFF2-40B4-BE49-F238E27FC236}">
                  <a16:creationId xmlns:a16="http://schemas.microsoft.com/office/drawing/2014/main" id="{0B85B9D3-276B-4B02-916D-053624577935}"/>
                </a:ext>
              </a:extLst>
            </p:cNvPr>
            <p:cNvSpPr/>
            <p:nvPr/>
          </p:nvSpPr>
          <p:spPr bwMode="auto">
            <a:xfrm flipH="1"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4" name="is1îďé">
              <a:extLst>
                <a:ext uri="{FF2B5EF4-FFF2-40B4-BE49-F238E27FC236}">
                  <a16:creationId xmlns:a16="http://schemas.microsoft.com/office/drawing/2014/main" id="{F61D14AE-002A-4210-9C3B-3B70B425724A}"/>
                </a:ext>
              </a:extLst>
            </p:cNvPr>
            <p:cNvSpPr/>
            <p:nvPr/>
          </p:nvSpPr>
          <p:spPr bwMode="auto">
            <a:xfrm>
              <a:off x="6118225" y="3565525"/>
              <a:ext cx="1235075" cy="115888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5" name="îşliḓé">
              <a:extLst>
                <a:ext uri="{FF2B5EF4-FFF2-40B4-BE49-F238E27FC236}">
                  <a16:creationId xmlns:a16="http://schemas.microsoft.com/office/drawing/2014/main" id="{4063C4A3-CF02-409F-B06A-F76622E4CD8F}"/>
                </a:ext>
              </a:extLst>
            </p:cNvPr>
            <p:cNvSpPr/>
            <p:nvPr/>
          </p:nvSpPr>
          <p:spPr bwMode="auto">
            <a:xfrm>
              <a:off x="6121400" y="3622675"/>
              <a:ext cx="1231900" cy="58738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6" name="ïṩļiḍê">
              <a:extLst>
                <a:ext uri="{FF2B5EF4-FFF2-40B4-BE49-F238E27FC236}">
                  <a16:creationId xmlns:a16="http://schemas.microsoft.com/office/drawing/2014/main" id="{08AD2B9D-21FD-46C8-9FF6-B217648FCF2A}"/>
                </a:ext>
              </a:extLst>
            </p:cNvPr>
            <p:cNvSpPr/>
            <p:nvPr/>
          </p:nvSpPr>
          <p:spPr bwMode="auto">
            <a:xfrm>
              <a:off x="6189663" y="3681413"/>
              <a:ext cx="93663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7" name="îṧḻïḍè">
              <a:extLst>
                <a:ext uri="{FF2B5EF4-FFF2-40B4-BE49-F238E27FC236}">
                  <a16:creationId xmlns:a16="http://schemas.microsoft.com/office/drawing/2014/main" id="{FFBEF4F4-9301-4F5E-A8CF-85658D20D9D8}"/>
                </a:ext>
              </a:extLst>
            </p:cNvPr>
            <p:cNvSpPr/>
            <p:nvPr/>
          </p:nvSpPr>
          <p:spPr bwMode="auto">
            <a:xfrm>
              <a:off x="7191375" y="3681413"/>
              <a:ext cx="92075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8" name="îśļíḑe">
              <a:extLst>
                <a:ext uri="{FF2B5EF4-FFF2-40B4-BE49-F238E27FC236}">
                  <a16:creationId xmlns:a16="http://schemas.microsoft.com/office/drawing/2014/main" id="{14980F14-C338-4AF5-8C7B-4ADB70E570C0}"/>
                </a:ext>
              </a:extLst>
            </p:cNvPr>
            <p:cNvSpPr/>
            <p:nvPr/>
          </p:nvSpPr>
          <p:spPr bwMode="auto">
            <a:xfrm>
              <a:off x="6283325" y="4078288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9" name="iṥḻïḑé">
              <a:extLst>
                <a:ext uri="{FF2B5EF4-FFF2-40B4-BE49-F238E27FC236}">
                  <a16:creationId xmlns:a16="http://schemas.microsoft.com/office/drawing/2014/main" id="{78C71DB4-B8C7-4BF3-AC9B-99B86C27D29C}"/>
                </a:ext>
              </a:extLst>
            </p:cNvPr>
            <p:cNvSpPr/>
            <p:nvPr/>
          </p:nvSpPr>
          <p:spPr bwMode="auto">
            <a:xfrm>
              <a:off x="6356350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0" name="ïśḷiďê">
              <a:extLst>
                <a:ext uri="{FF2B5EF4-FFF2-40B4-BE49-F238E27FC236}">
                  <a16:creationId xmlns:a16="http://schemas.microsoft.com/office/drawing/2014/main" id="{B2CFEF42-A6E5-4334-8032-0D9A2C359E22}"/>
                </a:ext>
              </a:extLst>
            </p:cNvPr>
            <p:cNvSpPr/>
            <p:nvPr/>
          </p:nvSpPr>
          <p:spPr bwMode="auto">
            <a:xfrm>
              <a:off x="65373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1" name="işḻíḑe">
              <a:extLst>
                <a:ext uri="{FF2B5EF4-FFF2-40B4-BE49-F238E27FC236}">
                  <a16:creationId xmlns:a16="http://schemas.microsoft.com/office/drawing/2014/main" id="{0019FCCB-A555-4F78-A40E-2F517590D32A}"/>
                </a:ext>
              </a:extLst>
            </p:cNvPr>
            <p:cNvSpPr/>
            <p:nvPr/>
          </p:nvSpPr>
          <p:spPr bwMode="auto">
            <a:xfrm>
              <a:off x="6719888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2" name="íšľïḓe">
              <a:extLst>
                <a:ext uri="{FF2B5EF4-FFF2-40B4-BE49-F238E27FC236}">
                  <a16:creationId xmlns:a16="http://schemas.microsoft.com/office/drawing/2014/main" id="{18B4DE7B-7D1C-4F65-968C-62EFF0E92297}"/>
                </a:ext>
              </a:extLst>
            </p:cNvPr>
            <p:cNvSpPr/>
            <p:nvPr/>
          </p:nvSpPr>
          <p:spPr bwMode="auto">
            <a:xfrm>
              <a:off x="6899275" y="4106863"/>
              <a:ext cx="38100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3" name="íṡḷîdé">
              <a:extLst>
                <a:ext uri="{FF2B5EF4-FFF2-40B4-BE49-F238E27FC236}">
                  <a16:creationId xmlns:a16="http://schemas.microsoft.com/office/drawing/2014/main" id="{364EFD09-7E65-45A6-A519-D20FC6921C96}"/>
                </a:ext>
              </a:extLst>
            </p:cNvPr>
            <p:cNvSpPr/>
            <p:nvPr/>
          </p:nvSpPr>
          <p:spPr bwMode="auto">
            <a:xfrm>
              <a:off x="70834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4" name="ïṡľide">
              <a:extLst>
                <a:ext uri="{FF2B5EF4-FFF2-40B4-BE49-F238E27FC236}">
                  <a16:creationId xmlns:a16="http://schemas.microsoft.com/office/drawing/2014/main" id="{23731BA6-336F-411A-8AFD-47129F36729A}"/>
                </a:ext>
              </a:extLst>
            </p:cNvPr>
            <p:cNvSpPr/>
            <p:nvPr/>
          </p:nvSpPr>
          <p:spPr bwMode="auto">
            <a:xfrm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5" name="ïşḻïḋe">
              <a:extLst>
                <a:ext uri="{FF2B5EF4-FFF2-40B4-BE49-F238E27FC236}">
                  <a16:creationId xmlns:a16="http://schemas.microsoft.com/office/drawing/2014/main" id="{1DFF9A24-7177-40EF-9E2D-E7D391701E08}"/>
                </a:ext>
              </a:extLst>
            </p:cNvPr>
            <p:cNvSpPr/>
            <p:nvPr/>
          </p:nvSpPr>
          <p:spPr bwMode="auto">
            <a:xfrm flipH="1"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6" name="iṣḻïḑè">
              <a:extLst>
                <a:ext uri="{FF2B5EF4-FFF2-40B4-BE49-F238E27FC236}">
                  <a16:creationId xmlns:a16="http://schemas.microsoft.com/office/drawing/2014/main" id="{3C223B6B-7204-49AD-8F8B-7007014A1D95}"/>
                </a:ext>
              </a:extLst>
            </p:cNvPr>
            <p:cNvSpPr/>
            <p:nvPr/>
          </p:nvSpPr>
          <p:spPr bwMode="auto">
            <a:xfrm>
              <a:off x="6283325" y="457041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7" name="î$ḷíďé">
              <a:extLst>
                <a:ext uri="{FF2B5EF4-FFF2-40B4-BE49-F238E27FC236}">
                  <a16:creationId xmlns:a16="http://schemas.microsoft.com/office/drawing/2014/main" id="{8C04C025-936A-449D-A523-77E927EF31D2}"/>
                </a:ext>
              </a:extLst>
            </p:cNvPr>
            <p:cNvSpPr/>
            <p:nvPr/>
          </p:nvSpPr>
          <p:spPr bwMode="auto">
            <a:xfrm>
              <a:off x="6356350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8" name="îśḷïḑe">
              <a:extLst>
                <a:ext uri="{FF2B5EF4-FFF2-40B4-BE49-F238E27FC236}">
                  <a16:creationId xmlns:a16="http://schemas.microsoft.com/office/drawing/2014/main" id="{4875B503-8668-4DF9-8066-EDD0F1DD1661}"/>
                </a:ext>
              </a:extLst>
            </p:cNvPr>
            <p:cNvSpPr/>
            <p:nvPr/>
          </p:nvSpPr>
          <p:spPr bwMode="auto">
            <a:xfrm>
              <a:off x="65373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9" name="ï$lïḋè">
              <a:extLst>
                <a:ext uri="{FF2B5EF4-FFF2-40B4-BE49-F238E27FC236}">
                  <a16:creationId xmlns:a16="http://schemas.microsoft.com/office/drawing/2014/main" id="{7D25754C-6D3E-46B4-A375-DE11C5ED5765}"/>
                </a:ext>
              </a:extLst>
            </p:cNvPr>
            <p:cNvSpPr/>
            <p:nvPr/>
          </p:nvSpPr>
          <p:spPr bwMode="auto">
            <a:xfrm>
              <a:off x="6719888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0" name="íSḻîḑé">
              <a:extLst>
                <a:ext uri="{FF2B5EF4-FFF2-40B4-BE49-F238E27FC236}">
                  <a16:creationId xmlns:a16="http://schemas.microsoft.com/office/drawing/2014/main" id="{73832A55-7E77-41B7-83CE-8517957C36FE}"/>
                </a:ext>
              </a:extLst>
            </p:cNvPr>
            <p:cNvSpPr/>
            <p:nvPr/>
          </p:nvSpPr>
          <p:spPr bwMode="auto">
            <a:xfrm>
              <a:off x="6899275" y="4597400"/>
              <a:ext cx="38100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1" name="iṡļiḓe">
              <a:extLst>
                <a:ext uri="{FF2B5EF4-FFF2-40B4-BE49-F238E27FC236}">
                  <a16:creationId xmlns:a16="http://schemas.microsoft.com/office/drawing/2014/main" id="{4922490F-AB65-41D3-9EAD-B928D09878D5}"/>
                </a:ext>
              </a:extLst>
            </p:cNvPr>
            <p:cNvSpPr/>
            <p:nvPr/>
          </p:nvSpPr>
          <p:spPr bwMode="auto">
            <a:xfrm>
              <a:off x="70834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2" name="íṡḷídê">
              <a:extLst>
                <a:ext uri="{FF2B5EF4-FFF2-40B4-BE49-F238E27FC236}">
                  <a16:creationId xmlns:a16="http://schemas.microsoft.com/office/drawing/2014/main" id="{26CEED95-C7A2-4344-A27D-59D4C560A723}"/>
                </a:ext>
              </a:extLst>
            </p:cNvPr>
            <p:cNvSpPr/>
            <p:nvPr/>
          </p:nvSpPr>
          <p:spPr bwMode="auto">
            <a:xfrm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3" name="iṡľïḍé">
              <a:extLst>
                <a:ext uri="{FF2B5EF4-FFF2-40B4-BE49-F238E27FC236}">
                  <a16:creationId xmlns:a16="http://schemas.microsoft.com/office/drawing/2014/main" id="{EC9691ED-768A-4E48-90BE-2EEACDAB634E}"/>
                </a:ext>
              </a:extLst>
            </p:cNvPr>
            <p:cNvSpPr/>
            <p:nvPr/>
          </p:nvSpPr>
          <p:spPr bwMode="auto">
            <a:xfrm flipH="1"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4" name="íSľïdê">
              <a:extLst>
                <a:ext uri="{FF2B5EF4-FFF2-40B4-BE49-F238E27FC236}">
                  <a16:creationId xmlns:a16="http://schemas.microsoft.com/office/drawing/2014/main" id="{1060E4BA-D598-4EEB-8AC6-63EB79EC43DD}"/>
                </a:ext>
              </a:extLst>
            </p:cNvPr>
            <p:cNvSpPr/>
            <p:nvPr/>
          </p:nvSpPr>
          <p:spPr bwMode="auto">
            <a:xfrm>
              <a:off x="6283325" y="505936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5" name="ïSľíḑé">
              <a:extLst>
                <a:ext uri="{FF2B5EF4-FFF2-40B4-BE49-F238E27FC236}">
                  <a16:creationId xmlns:a16="http://schemas.microsoft.com/office/drawing/2014/main" id="{3996CDA7-9B40-499B-81F5-8BF1600452A1}"/>
                </a:ext>
              </a:extLst>
            </p:cNvPr>
            <p:cNvSpPr/>
            <p:nvPr/>
          </p:nvSpPr>
          <p:spPr bwMode="auto">
            <a:xfrm>
              <a:off x="6356350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6" name="îşḷiḋé">
              <a:extLst>
                <a:ext uri="{FF2B5EF4-FFF2-40B4-BE49-F238E27FC236}">
                  <a16:creationId xmlns:a16="http://schemas.microsoft.com/office/drawing/2014/main" id="{F1A6EE6B-CCC3-4C92-8109-7D956D2CAA32}"/>
                </a:ext>
              </a:extLst>
            </p:cNvPr>
            <p:cNvSpPr/>
            <p:nvPr/>
          </p:nvSpPr>
          <p:spPr bwMode="auto">
            <a:xfrm>
              <a:off x="65373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7" name="iṥľîḍe">
              <a:extLst>
                <a:ext uri="{FF2B5EF4-FFF2-40B4-BE49-F238E27FC236}">
                  <a16:creationId xmlns:a16="http://schemas.microsoft.com/office/drawing/2014/main" id="{4AF8C5C1-717D-4B7F-8C23-CCBFFFCF5331}"/>
                </a:ext>
              </a:extLst>
            </p:cNvPr>
            <p:cNvSpPr/>
            <p:nvPr/>
          </p:nvSpPr>
          <p:spPr bwMode="auto">
            <a:xfrm>
              <a:off x="6719888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8" name="íṥ1íďê">
              <a:extLst>
                <a:ext uri="{FF2B5EF4-FFF2-40B4-BE49-F238E27FC236}">
                  <a16:creationId xmlns:a16="http://schemas.microsoft.com/office/drawing/2014/main" id="{E6884545-0687-4ECD-A7F3-6CE8ED4677DE}"/>
                </a:ext>
              </a:extLst>
            </p:cNvPr>
            <p:cNvSpPr/>
            <p:nvPr/>
          </p:nvSpPr>
          <p:spPr bwMode="auto">
            <a:xfrm>
              <a:off x="6899275" y="5087938"/>
              <a:ext cx="38100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9" name="iṣļiḋé">
              <a:extLst>
                <a:ext uri="{FF2B5EF4-FFF2-40B4-BE49-F238E27FC236}">
                  <a16:creationId xmlns:a16="http://schemas.microsoft.com/office/drawing/2014/main" id="{1BC1AA29-B544-4947-BE9F-5937BF595089}"/>
                </a:ext>
              </a:extLst>
            </p:cNvPr>
            <p:cNvSpPr/>
            <p:nvPr/>
          </p:nvSpPr>
          <p:spPr bwMode="auto">
            <a:xfrm>
              <a:off x="70834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0" name="íślîḋê">
              <a:extLst>
                <a:ext uri="{FF2B5EF4-FFF2-40B4-BE49-F238E27FC236}">
                  <a16:creationId xmlns:a16="http://schemas.microsoft.com/office/drawing/2014/main" id="{55933BC2-FB90-4CAB-AEE1-D287E47972EC}"/>
                </a:ext>
              </a:extLst>
            </p:cNvPr>
            <p:cNvSpPr/>
            <p:nvPr/>
          </p:nvSpPr>
          <p:spPr bwMode="auto">
            <a:xfrm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1" name="îṧḻiḓe">
              <a:extLst>
                <a:ext uri="{FF2B5EF4-FFF2-40B4-BE49-F238E27FC236}">
                  <a16:creationId xmlns:a16="http://schemas.microsoft.com/office/drawing/2014/main" id="{BB64666F-9B6A-4EAD-9DC9-97F012075404}"/>
                </a:ext>
              </a:extLst>
            </p:cNvPr>
            <p:cNvSpPr/>
            <p:nvPr/>
          </p:nvSpPr>
          <p:spPr bwMode="auto">
            <a:xfrm flipH="1"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2" name="iş1ïḓê">
              <a:extLst>
                <a:ext uri="{FF2B5EF4-FFF2-40B4-BE49-F238E27FC236}">
                  <a16:creationId xmlns:a16="http://schemas.microsoft.com/office/drawing/2014/main" id="{6A85EDED-FC29-49F1-BECD-F94D138EFCA8}"/>
                </a:ext>
              </a:extLst>
            </p:cNvPr>
            <p:cNvSpPr/>
            <p:nvPr/>
          </p:nvSpPr>
          <p:spPr bwMode="auto">
            <a:xfrm>
              <a:off x="6283325" y="5548313"/>
              <a:ext cx="908050" cy="93663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3" name="iṧļiḑè">
              <a:extLst>
                <a:ext uri="{FF2B5EF4-FFF2-40B4-BE49-F238E27FC236}">
                  <a16:creationId xmlns:a16="http://schemas.microsoft.com/office/drawing/2014/main" id="{83792892-EAFE-4132-AF61-DDFD87E2231D}"/>
                </a:ext>
              </a:extLst>
            </p:cNvPr>
            <p:cNvSpPr/>
            <p:nvPr/>
          </p:nvSpPr>
          <p:spPr bwMode="auto">
            <a:xfrm>
              <a:off x="6356350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4" name="ïṣ1îḍê">
              <a:extLst>
                <a:ext uri="{FF2B5EF4-FFF2-40B4-BE49-F238E27FC236}">
                  <a16:creationId xmlns:a16="http://schemas.microsoft.com/office/drawing/2014/main" id="{00E91DF8-A600-40D8-B44F-C3567CA47C56}"/>
                </a:ext>
              </a:extLst>
            </p:cNvPr>
            <p:cNvSpPr/>
            <p:nvPr/>
          </p:nvSpPr>
          <p:spPr bwMode="auto">
            <a:xfrm>
              <a:off x="65373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5" name="ïśḷiḓê">
              <a:extLst>
                <a:ext uri="{FF2B5EF4-FFF2-40B4-BE49-F238E27FC236}">
                  <a16:creationId xmlns:a16="http://schemas.microsoft.com/office/drawing/2014/main" id="{61E97DD7-5521-4D4F-B08B-31F8845D58A7}"/>
                </a:ext>
              </a:extLst>
            </p:cNvPr>
            <p:cNvSpPr/>
            <p:nvPr/>
          </p:nvSpPr>
          <p:spPr bwMode="auto">
            <a:xfrm>
              <a:off x="6719888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6" name="iṡlîďé">
              <a:extLst>
                <a:ext uri="{FF2B5EF4-FFF2-40B4-BE49-F238E27FC236}">
                  <a16:creationId xmlns:a16="http://schemas.microsoft.com/office/drawing/2014/main" id="{8DA7F7D8-91AF-4EB6-A6D2-E14348DE7A4E}"/>
                </a:ext>
              </a:extLst>
            </p:cNvPr>
            <p:cNvSpPr/>
            <p:nvPr/>
          </p:nvSpPr>
          <p:spPr bwMode="auto">
            <a:xfrm>
              <a:off x="6899275" y="5578475"/>
              <a:ext cx="38100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7" name="íSḷïde">
              <a:extLst>
                <a:ext uri="{FF2B5EF4-FFF2-40B4-BE49-F238E27FC236}">
                  <a16:creationId xmlns:a16="http://schemas.microsoft.com/office/drawing/2014/main" id="{07F42A09-85EA-40C4-AF09-C323CFB55077}"/>
                </a:ext>
              </a:extLst>
            </p:cNvPr>
            <p:cNvSpPr/>
            <p:nvPr/>
          </p:nvSpPr>
          <p:spPr bwMode="auto">
            <a:xfrm>
              <a:off x="70834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8" name="îSḻîdè">
              <a:extLst>
                <a:ext uri="{FF2B5EF4-FFF2-40B4-BE49-F238E27FC236}">
                  <a16:creationId xmlns:a16="http://schemas.microsoft.com/office/drawing/2014/main" id="{CADB6879-E92F-4CC4-AAE3-BF8B777A3A55}"/>
                </a:ext>
              </a:extLst>
            </p:cNvPr>
            <p:cNvSpPr/>
            <p:nvPr/>
          </p:nvSpPr>
          <p:spPr bwMode="auto">
            <a:xfrm>
              <a:off x="5229225" y="3236913"/>
              <a:ext cx="71438" cy="84138"/>
            </a:xfrm>
            <a:custGeom>
              <a:avLst/>
              <a:gdLst>
                <a:gd name="T0" fmla="*/ 0 w 45"/>
                <a:gd name="T1" fmla="*/ 42 h 53"/>
                <a:gd name="T2" fmla="*/ 28 w 45"/>
                <a:gd name="T3" fmla="*/ 0 h 53"/>
                <a:gd name="T4" fmla="*/ 45 w 45"/>
                <a:gd name="T5" fmla="*/ 12 h 53"/>
                <a:gd name="T6" fmla="*/ 16 w 45"/>
                <a:gd name="T7" fmla="*/ 53 h 53"/>
                <a:gd name="T8" fmla="*/ 0 w 4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3">
                  <a:moveTo>
                    <a:pt x="0" y="42"/>
                  </a:moveTo>
                  <a:lnTo>
                    <a:pt x="28" y="0"/>
                  </a:lnTo>
                  <a:lnTo>
                    <a:pt x="45" y="12"/>
                  </a:lnTo>
                  <a:lnTo>
                    <a:pt x="16" y="53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9" name="ïsḷïḓé">
              <a:extLst>
                <a:ext uri="{FF2B5EF4-FFF2-40B4-BE49-F238E27FC236}">
                  <a16:creationId xmlns:a16="http://schemas.microsoft.com/office/drawing/2014/main" id="{B2EEF2FD-3B4D-4099-B120-471EA19E1C34}"/>
                </a:ext>
              </a:extLst>
            </p:cNvPr>
            <p:cNvSpPr/>
            <p:nvPr/>
          </p:nvSpPr>
          <p:spPr bwMode="auto">
            <a:xfrm>
              <a:off x="5186363" y="3303588"/>
              <a:ext cx="68263" cy="80963"/>
            </a:xfrm>
            <a:custGeom>
              <a:avLst/>
              <a:gdLst>
                <a:gd name="T0" fmla="*/ 1 w 26"/>
                <a:gd name="T1" fmla="*/ 21 h 31"/>
                <a:gd name="T2" fmla="*/ 16 w 26"/>
                <a:gd name="T3" fmla="*/ 0 h 31"/>
                <a:gd name="T4" fmla="*/ 26 w 26"/>
                <a:gd name="T5" fmla="*/ 7 h 31"/>
                <a:gd name="T6" fmla="*/ 11 w 26"/>
                <a:gd name="T7" fmla="*/ 28 h 31"/>
                <a:gd name="T8" fmla="*/ 5 w 26"/>
                <a:gd name="T9" fmla="*/ 29 h 31"/>
                <a:gd name="T10" fmla="*/ 2 w 26"/>
                <a:gd name="T11" fmla="*/ 27 h 31"/>
                <a:gd name="T12" fmla="*/ 1 w 26"/>
                <a:gd name="T1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1">
                  <a:moveTo>
                    <a:pt x="1" y="21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9" y="30"/>
                    <a:pt x="7" y="31"/>
                    <a:pt x="5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6"/>
                    <a:pt x="0" y="23"/>
                    <a:pt x="1" y="21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0" name="îSľiḋè">
              <a:extLst>
                <a:ext uri="{FF2B5EF4-FFF2-40B4-BE49-F238E27FC236}">
                  <a16:creationId xmlns:a16="http://schemas.microsoft.com/office/drawing/2014/main" id="{622EDE9C-8162-48CB-99EF-B3997E6F81D0}"/>
                </a:ext>
              </a:extLst>
            </p:cNvPr>
            <p:cNvSpPr/>
            <p:nvPr/>
          </p:nvSpPr>
          <p:spPr bwMode="auto">
            <a:xfrm>
              <a:off x="5241925" y="3248025"/>
              <a:ext cx="58738" cy="73025"/>
            </a:xfrm>
            <a:custGeom>
              <a:avLst/>
              <a:gdLst>
                <a:gd name="T0" fmla="*/ 0 w 37"/>
                <a:gd name="T1" fmla="*/ 40 h 46"/>
                <a:gd name="T2" fmla="*/ 28 w 37"/>
                <a:gd name="T3" fmla="*/ 0 h 46"/>
                <a:gd name="T4" fmla="*/ 37 w 37"/>
                <a:gd name="T5" fmla="*/ 5 h 46"/>
                <a:gd name="T6" fmla="*/ 8 w 37"/>
                <a:gd name="T7" fmla="*/ 46 h 46"/>
                <a:gd name="T8" fmla="*/ 0 w 37"/>
                <a:gd name="T9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6">
                  <a:moveTo>
                    <a:pt x="0" y="40"/>
                  </a:moveTo>
                  <a:lnTo>
                    <a:pt x="28" y="0"/>
                  </a:lnTo>
                  <a:lnTo>
                    <a:pt x="37" y="5"/>
                  </a:lnTo>
                  <a:lnTo>
                    <a:pt x="8" y="46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1" name="íS1iḓè">
              <a:extLst>
                <a:ext uri="{FF2B5EF4-FFF2-40B4-BE49-F238E27FC236}">
                  <a16:creationId xmlns:a16="http://schemas.microsoft.com/office/drawing/2014/main" id="{7B132FDE-6F8A-439A-9428-092FCD3B55FD}"/>
                </a:ext>
              </a:extLst>
            </p:cNvPr>
            <p:cNvSpPr/>
            <p:nvPr/>
          </p:nvSpPr>
          <p:spPr bwMode="auto">
            <a:xfrm>
              <a:off x="5194300" y="3311525"/>
              <a:ext cx="60325" cy="73025"/>
            </a:xfrm>
            <a:custGeom>
              <a:avLst/>
              <a:gdLst>
                <a:gd name="T0" fmla="*/ 0 w 23"/>
                <a:gd name="T1" fmla="*/ 25 h 28"/>
                <a:gd name="T2" fmla="*/ 18 w 23"/>
                <a:gd name="T3" fmla="*/ 0 h 28"/>
                <a:gd name="T4" fmla="*/ 23 w 23"/>
                <a:gd name="T5" fmla="*/ 4 h 28"/>
                <a:gd name="T6" fmla="*/ 8 w 23"/>
                <a:gd name="T7" fmla="*/ 25 h 28"/>
                <a:gd name="T8" fmla="*/ 2 w 23"/>
                <a:gd name="T9" fmla="*/ 26 h 28"/>
                <a:gd name="T10" fmla="*/ 0 w 23"/>
                <a:gd name="T11" fmla="*/ 2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8">
                  <a:moveTo>
                    <a:pt x="0" y="25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6" y="27"/>
                    <a:pt x="4" y="28"/>
                    <a:pt x="2" y="26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2" name="îṩḷïďè">
              <a:extLst>
                <a:ext uri="{FF2B5EF4-FFF2-40B4-BE49-F238E27FC236}">
                  <a16:creationId xmlns:a16="http://schemas.microsoft.com/office/drawing/2014/main" id="{1498D65B-BE1B-46FC-843A-815186FC727D}"/>
                </a:ext>
              </a:extLst>
            </p:cNvPr>
            <p:cNvSpPr/>
            <p:nvPr/>
          </p:nvSpPr>
          <p:spPr bwMode="auto">
            <a:xfrm>
              <a:off x="5178425" y="3375025"/>
              <a:ext cx="23813" cy="23813"/>
            </a:xfrm>
            <a:custGeom>
              <a:avLst/>
              <a:gdLst>
                <a:gd name="T0" fmla="*/ 8 w 15"/>
                <a:gd name="T1" fmla="*/ 15 h 15"/>
                <a:gd name="T2" fmla="*/ 15 w 15"/>
                <a:gd name="T3" fmla="*/ 5 h 15"/>
                <a:gd name="T4" fmla="*/ 8 w 15"/>
                <a:gd name="T5" fmla="*/ 0 h 15"/>
                <a:gd name="T6" fmla="*/ 0 w 15"/>
                <a:gd name="T7" fmla="*/ 10 h 15"/>
                <a:gd name="T8" fmla="*/ 8 w 1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8" y="15"/>
                  </a:moveTo>
                  <a:lnTo>
                    <a:pt x="15" y="5"/>
                  </a:lnTo>
                  <a:lnTo>
                    <a:pt x="8" y="0"/>
                  </a:lnTo>
                  <a:lnTo>
                    <a:pt x="0" y="10"/>
                  </a:lnTo>
                  <a:lnTo>
                    <a:pt x="8" y="15"/>
                  </a:lnTo>
                  <a:close/>
                </a:path>
              </a:pathLst>
            </a:cu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3" name="îşļidè">
              <a:extLst>
                <a:ext uri="{FF2B5EF4-FFF2-40B4-BE49-F238E27FC236}">
                  <a16:creationId xmlns:a16="http://schemas.microsoft.com/office/drawing/2014/main" id="{1949BB1D-6E98-4B76-8402-F7BD9D8447CA}"/>
                </a:ext>
              </a:extLst>
            </p:cNvPr>
            <p:cNvSpPr/>
            <p:nvPr/>
          </p:nvSpPr>
          <p:spPr bwMode="auto">
            <a:xfrm>
              <a:off x="5133975" y="3390900"/>
              <a:ext cx="57150" cy="73025"/>
            </a:xfrm>
            <a:custGeom>
              <a:avLst/>
              <a:gdLst>
                <a:gd name="T0" fmla="*/ 5 w 22"/>
                <a:gd name="T1" fmla="*/ 27 h 28"/>
                <a:gd name="T2" fmla="*/ 22 w 22"/>
                <a:gd name="T3" fmla="*/ 3 h 28"/>
                <a:gd name="T4" fmla="*/ 17 w 22"/>
                <a:gd name="T5" fmla="*/ 0 h 28"/>
                <a:gd name="T6" fmla="*/ 1 w 22"/>
                <a:gd name="T7" fmla="*/ 24 h 28"/>
                <a:gd name="T8" fmla="*/ 1 w 22"/>
                <a:gd name="T9" fmla="*/ 27 h 28"/>
                <a:gd name="T10" fmla="*/ 1 w 22"/>
                <a:gd name="T11" fmla="*/ 27 h 28"/>
                <a:gd name="T12" fmla="*/ 5 w 22"/>
                <a:gd name="T13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5" y="27"/>
                  </a:moveTo>
                  <a:cubicBezTo>
                    <a:pt x="22" y="3"/>
                    <a:pt x="22" y="3"/>
                    <a:pt x="22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5"/>
                    <a:pt x="0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3" y="28"/>
                    <a:pt x="4" y="28"/>
                    <a:pt x="5" y="27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4" name="ï$líḋé">
              <a:extLst>
                <a:ext uri="{FF2B5EF4-FFF2-40B4-BE49-F238E27FC236}">
                  <a16:creationId xmlns:a16="http://schemas.microsoft.com/office/drawing/2014/main" id="{232D2721-D53B-468A-9EAF-B7ADB9D94279}"/>
                </a:ext>
              </a:extLst>
            </p:cNvPr>
            <p:cNvSpPr/>
            <p:nvPr/>
          </p:nvSpPr>
          <p:spPr bwMode="auto">
            <a:xfrm>
              <a:off x="5183188" y="3376613"/>
              <a:ext cx="19050" cy="22225"/>
            </a:xfrm>
            <a:custGeom>
              <a:avLst/>
              <a:gdLst>
                <a:gd name="T0" fmla="*/ 7 w 12"/>
                <a:gd name="T1" fmla="*/ 0 h 14"/>
                <a:gd name="T2" fmla="*/ 0 w 12"/>
                <a:gd name="T3" fmla="*/ 10 h 14"/>
                <a:gd name="T4" fmla="*/ 5 w 12"/>
                <a:gd name="T5" fmla="*/ 14 h 14"/>
                <a:gd name="T6" fmla="*/ 12 w 12"/>
                <a:gd name="T7" fmla="*/ 4 h 14"/>
                <a:gd name="T8" fmla="*/ 7 w 12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7" y="0"/>
                  </a:moveTo>
                  <a:lnTo>
                    <a:pt x="0" y="10"/>
                  </a:lnTo>
                  <a:lnTo>
                    <a:pt x="5" y="14"/>
                  </a:lnTo>
                  <a:lnTo>
                    <a:pt x="12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5" name="iṡļídê">
              <a:extLst>
                <a:ext uri="{FF2B5EF4-FFF2-40B4-BE49-F238E27FC236}">
                  <a16:creationId xmlns:a16="http://schemas.microsoft.com/office/drawing/2014/main" id="{3399FDCF-1A75-438B-BE29-E6C1FCED2B4D}"/>
                </a:ext>
              </a:extLst>
            </p:cNvPr>
            <p:cNvSpPr/>
            <p:nvPr/>
          </p:nvSpPr>
          <p:spPr bwMode="auto">
            <a:xfrm>
              <a:off x="5135563" y="3392488"/>
              <a:ext cx="55563" cy="71438"/>
            </a:xfrm>
            <a:custGeom>
              <a:avLst/>
              <a:gdLst>
                <a:gd name="T0" fmla="*/ 0 w 21"/>
                <a:gd name="T1" fmla="*/ 26 h 27"/>
                <a:gd name="T2" fmla="*/ 0 w 21"/>
                <a:gd name="T3" fmla="*/ 26 h 27"/>
                <a:gd name="T4" fmla="*/ 18 w 21"/>
                <a:gd name="T5" fmla="*/ 0 h 27"/>
                <a:gd name="T6" fmla="*/ 21 w 21"/>
                <a:gd name="T7" fmla="*/ 2 h 27"/>
                <a:gd name="T8" fmla="*/ 4 w 21"/>
                <a:gd name="T9" fmla="*/ 26 h 27"/>
                <a:gd name="T10" fmla="*/ 0 w 21"/>
                <a:gd name="T1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7">
                  <a:moveTo>
                    <a:pt x="0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7"/>
                    <a:pt x="2" y="27"/>
                    <a:pt x="0" y="26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6" name="íśḷíḍê">
              <a:extLst>
                <a:ext uri="{FF2B5EF4-FFF2-40B4-BE49-F238E27FC236}">
                  <a16:creationId xmlns:a16="http://schemas.microsoft.com/office/drawing/2014/main" id="{65F8A47A-E2A6-41FE-94A0-ACBC23899B78}"/>
                </a:ext>
              </a:extLst>
            </p:cNvPr>
            <p:cNvSpPr/>
            <p:nvPr/>
          </p:nvSpPr>
          <p:spPr bwMode="auto">
            <a:xfrm>
              <a:off x="4600575" y="4141788"/>
              <a:ext cx="177800" cy="762000"/>
            </a:xfrm>
            <a:custGeom>
              <a:avLst/>
              <a:gdLst>
                <a:gd name="T0" fmla="*/ 0 w 112"/>
                <a:gd name="T1" fmla="*/ 0 h 480"/>
                <a:gd name="T2" fmla="*/ 22 w 112"/>
                <a:gd name="T3" fmla="*/ 235 h 480"/>
                <a:gd name="T4" fmla="*/ 17 w 112"/>
                <a:gd name="T5" fmla="*/ 480 h 480"/>
                <a:gd name="T6" fmla="*/ 54 w 112"/>
                <a:gd name="T7" fmla="*/ 480 h 480"/>
                <a:gd name="T8" fmla="*/ 105 w 112"/>
                <a:gd name="T9" fmla="*/ 237 h 480"/>
                <a:gd name="T10" fmla="*/ 112 w 112"/>
                <a:gd name="T11" fmla="*/ 0 h 480"/>
                <a:gd name="T12" fmla="*/ 0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0" y="0"/>
                  </a:moveTo>
                  <a:lnTo>
                    <a:pt x="22" y="235"/>
                  </a:lnTo>
                  <a:lnTo>
                    <a:pt x="17" y="480"/>
                  </a:lnTo>
                  <a:lnTo>
                    <a:pt x="54" y="480"/>
                  </a:lnTo>
                  <a:lnTo>
                    <a:pt x="105" y="237"/>
                  </a:lnTo>
                  <a:lnTo>
                    <a:pt x="1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7" name="ïṥlîďé">
              <a:extLst>
                <a:ext uri="{FF2B5EF4-FFF2-40B4-BE49-F238E27FC236}">
                  <a16:creationId xmlns:a16="http://schemas.microsoft.com/office/drawing/2014/main" id="{793F4CEF-B44F-4D6A-9533-21017B444C96}"/>
                </a:ext>
              </a:extLst>
            </p:cNvPr>
            <p:cNvSpPr/>
            <p:nvPr/>
          </p:nvSpPr>
          <p:spPr bwMode="auto">
            <a:xfrm>
              <a:off x="4614863" y="4141788"/>
              <a:ext cx="303213" cy="762000"/>
            </a:xfrm>
            <a:custGeom>
              <a:avLst/>
              <a:gdLst>
                <a:gd name="T0" fmla="*/ 128 w 191"/>
                <a:gd name="T1" fmla="*/ 0 h 480"/>
                <a:gd name="T2" fmla="*/ 191 w 191"/>
                <a:gd name="T3" fmla="*/ 220 h 480"/>
                <a:gd name="T4" fmla="*/ 118 w 191"/>
                <a:gd name="T5" fmla="*/ 480 h 480"/>
                <a:gd name="T6" fmla="*/ 81 w 191"/>
                <a:gd name="T7" fmla="*/ 480 h 480"/>
                <a:gd name="T8" fmla="*/ 110 w 191"/>
                <a:gd name="T9" fmla="*/ 230 h 480"/>
                <a:gd name="T10" fmla="*/ 0 w 191"/>
                <a:gd name="T11" fmla="*/ 0 h 480"/>
                <a:gd name="T12" fmla="*/ 128 w 191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480">
                  <a:moveTo>
                    <a:pt x="128" y="0"/>
                  </a:moveTo>
                  <a:lnTo>
                    <a:pt x="191" y="220"/>
                  </a:lnTo>
                  <a:lnTo>
                    <a:pt x="118" y="480"/>
                  </a:lnTo>
                  <a:lnTo>
                    <a:pt x="81" y="480"/>
                  </a:lnTo>
                  <a:lnTo>
                    <a:pt x="110" y="230"/>
                  </a:lnTo>
                  <a:lnTo>
                    <a:pt x="0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8" name="îslídê">
              <a:extLst>
                <a:ext uri="{FF2B5EF4-FFF2-40B4-BE49-F238E27FC236}">
                  <a16:creationId xmlns:a16="http://schemas.microsoft.com/office/drawing/2014/main" id="{29B53A95-3FFE-4F37-9B8C-3CD17579BFEE}"/>
                </a:ext>
              </a:extLst>
            </p:cNvPr>
            <p:cNvSpPr/>
            <p:nvPr/>
          </p:nvSpPr>
          <p:spPr bwMode="auto">
            <a:xfrm>
              <a:off x="4733925" y="4903788"/>
              <a:ext cx="215900" cy="65088"/>
            </a:xfrm>
            <a:custGeom>
              <a:avLst/>
              <a:gdLst>
                <a:gd name="T0" fmla="*/ 4 w 82"/>
                <a:gd name="T1" fmla="*/ 0 h 25"/>
                <a:gd name="T2" fmla="*/ 0 w 82"/>
                <a:gd name="T3" fmla="*/ 25 h 25"/>
                <a:gd name="T4" fmla="*/ 79 w 82"/>
                <a:gd name="T5" fmla="*/ 25 h 25"/>
                <a:gd name="T6" fmla="*/ 82 w 82"/>
                <a:gd name="T7" fmla="*/ 17 h 25"/>
                <a:gd name="T8" fmla="*/ 29 w 82"/>
                <a:gd name="T9" fmla="*/ 4 h 25"/>
                <a:gd name="T10" fmla="*/ 26 w 82"/>
                <a:gd name="T11" fmla="*/ 0 h 25"/>
                <a:gd name="T12" fmla="*/ 4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1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9" name="iŝ1ïde">
              <a:extLst>
                <a:ext uri="{FF2B5EF4-FFF2-40B4-BE49-F238E27FC236}">
                  <a16:creationId xmlns:a16="http://schemas.microsoft.com/office/drawing/2014/main" id="{A4EF147C-03A1-4E3A-8733-1F74AE381EA9}"/>
                </a:ext>
              </a:extLst>
            </p:cNvPr>
            <p:cNvSpPr/>
            <p:nvPr/>
          </p:nvSpPr>
          <p:spPr bwMode="auto">
            <a:xfrm>
              <a:off x="4616450" y="4903788"/>
              <a:ext cx="220663" cy="65088"/>
            </a:xfrm>
            <a:custGeom>
              <a:avLst/>
              <a:gdLst>
                <a:gd name="T0" fmla="*/ 4 w 83"/>
                <a:gd name="T1" fmla="*/ 0 h 25"/>
                <a:gd name="T2" fmla="*/ 0 w 83"/>
                <a:gd name="T3" fmla="*/ 25 h 25"/>
                <a:gd name="T4" fmla="*/ 79 w 83"/>
                <a:gd name="T5" fmla="*/ 25 h 25"/>
                <a:gd name="T6" fmla="*/ 83 w 83"/>
                <a:gd name="T7" fmla="*/ 17 h 25"/>
                <a:gd name="T8" fmla="*/ 29 w 83"/>
                <a:gd name="T9" fmla="*/ 4 h 25"/>
                <a:gd name="T10" fmla="*/ 26 w 83"/>
                <a:gd name="T11" fmla="*/ 0 h 25"/>
                <a:gd name="T12" fmla="*/ 4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2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0" name="isḻíďè">
              <a:extLst>
                <a:ext uri="{FF2B5EF4-FFF2-40B4-BE49-F238E27FC236}">
                  <a16:creationId xmlns:a16="http://schemas.microsoft.com/office/drawing/2014/main" id="{038720FD-BF98-4978-9E88-DAA04207FBB0}"/>
                </a:ext>
              </a:extLst>
            </p:cNvPr>
            <p:cNvSpPr/>
            <p:nvPr/>
          </p:nvSpPr>
          <p:spPr bwMode="auto">
            <a:xfrm>
              <a:off x="4608513" y="3629025"/>
              <a:ext cx="106363" cy="128588"/>
            </a:xfrm>
            <a:custGeom>
              <a:avLst/>
              <a:gdLst>
                <a:gd name="T0" fmla="*/ 11 w 40"/>
                <a:gd name="T1" fmla="*/ 0 h 49"/>
                <a:gd name="T2" fmla="*/ 0 w 40"/>
                <a:gd name="T3" fmla="*/ 33 h 49"/>
                <a:gd name="T4" fmla="*/ 29 w 40"/>
                <a:gd name="T5" fmla="*/ 46 h 49"/>
                <a:gd name="T6" fmla="*/ 40 w 40"/>
                <a:gd name="T7" fmla="*/ 11 h 49"/>
                <a:gd name="T8" fmla="*/ 11 w 40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9">
                  <a:moveTo>
                    <a:pt x="11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2" y="38"/>
                    <a:pt x="11" y="49"/>
                    <a:pt x="29" y="46"/>
                  </a:cubicBezTo>
                  <a:cubicBezTo>
                    <a:pt x="30" y="43"/>
                    <a:pt x="40" y="11"/>
                    <a:pt x="40" y="11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1" name="î$ľïḑé">
              <a:extLst>
                <a:ext uri="{FF2B5EF4-FFF2-40B4-BE49-F238E27FC236}">
                  <a16:creationId xmlns:a16="http://schemas.microsoft.com/office/drawing/2014/main" id="{0F3BB526-CD70-4049-BCC2-8934217E716A}"/>
                </a:ext>
              </a:extLst>
            </p:cNvPr>
            <p:cNvSpPr/>
            <p:nvPr/>
          </p:nvSpPr>
          <p:spPr bwMode="auto">
            <a:xfrm>
              <a:off x="4576763" y="3427413"/>
              <a:ext cx="220663" cy="249238"/>
            </a:xfrm>
            <a:custGeom>
              <a:avLst/>
              <a:gdLst>
                <a:gd name="T0" fmla="*/ 61 w 83"/>
                <a:gd name="T1" fmla="*/ 87 h 94"/>
                <a:gd name="T2" fmla="*/ 61 w 83"/>
                <a:gd name="T3" fmla="*/ 87 h 94"/>
                <a:gd name="T4" fmla="*/ 18 w 83"/>
                <a:gd name="T5" fmla="*/ 72 h 94"/>
                <a:gd name="T6" fmla="*/ 8 w 83"/>
                <a:gd name="T7" fmla="*/ 50 h 94"/>
                <a:gd name="T8" fmla="*/ 23 w 83"/>
                <a:gd name="T9" fmla="*/ 8 h 94"/>
                <a:gd name="T10" fmla="*/ 23 w 83"/>
                <a:gd name="T11" fmla="*/ 8 h 94"/>
                <a:gd name="T12" fmla="*/ 65 w 83"/>
                <a:gd name="T13" fmla="*/ 23 h 94"/>
                <a:gd name="T14" fmla="*/ 76 w 83"/>
                <a:gd name="T15" fmla="*/ 44 h 94"/>
                <a:gd name="T16" fmla="*/ 61 w 83"/>
                <a:gd name="T17" fmla="*/ 8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94">
                  <a:moveTo>
                    <a:pt x="61" y="87"/>
                  </a:moveTo>
                  <a:cubicBezTo>
                    <a:pt x="61" y="87"/>
                    <a:pt x="61" y="87"/>
                    <a:pt x="61" y="87"/>
                  </a:cubicBezTo>
                  <a:cubicBezTo>
                    <a:pt x="45" y="94"/>
                    <a:pt x="26" y="88"/>
                    <a:pt x="18" y="72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0" y="35"/>
                    <a:pt x="7" y="16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39" y="0"/>
                    <a:pt x="58" y="7"/>
                    <a:pt x="65" y="2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83" y="60"/>
                    <a:pt x="77" y="79"/>
                    <a:pt x="61" y="87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2" name="îṡľîdè">
              <a:extLst>
                <a:ext uri="{FF2B5EF4-FFF2-40B4-BE49-F238E27FC236}">
                  <a16:creationId xmlns:a16="http://schemas.microsoft.com/office/drawing/2014/main" id="{EB3320E2-93EE-4CF9-8CD4-A5711270CCE0}"/>
                </a:ext>
              </a:extLst>
            </p:cNvPr>
            <p:cNvSpPr/>
            <p:nvPr/>
          </p:nvSpPr>
          <p:spPr bwMode="auto">
            <a:xfrm>
              <a:off x="4573588" y="3665538"/>
              <a:ext cx="260350" cy="512763"/>
            </a:xfrm>
            <a:custGeom>
              <a:avLst/>
              <a:gdLst>
                <a:gd name="T0" fmla="*/ 0 w 164"/>
                <a:gd name="T1" fmla="*/ 0 h 323"/>
                <a:gd name="T2" fmla="*/ 112 w 164"/>
                <a:gd name="T3" fmla="*/ 72 h 323"/>
                <a:gd name="T4" fmla="*/ 164 w 164"/>
                <a:gd name="T5" fmla="*/ 302 h 323"/>
                <a:gd name="T6" fmla="*/ 10 w 164"/>
                <a:gd name="T7" fmla="*/ 323 h 323"/>
                <a:gd name="T8" fmla="*/ 0 w 164"/>
                <a:gd name="T9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323">
                  <a:moveTo>
                    <a:pt x="0" y="0"/>
                  </a:moveTo>
                  <a:lnTo>
                    <a:pt x="112" y="72"/>
                  </a:lnTo>
                  <a:lnTo>
                    <a:pt x="164" y="302"/>
                  </a:lnTo>
                  <a:lnTo>
                    <a:pt x="10" y="3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3" name="iṩlïḓe">
              <a:extLst>
                <a:ext uri="{FF2B5EF4-FFF2-40B4-BE49-F238E27FC236}">
                  <a16:creationId xmlns:a16="http://schemas.microsoft.com/office/drawing/2014/main" id="{D1405692-8EC7-4184-8E26-07A9812D8E77}"/>
                </a:ext>
              </a:extLst>
            </p:cNvPr>
            <p:cNvSpPr/>
            <p:nvPr/>
          </p:nvSpPr>
          <p:spPr bwMode="auto">
            <a:xfrm>
              <a:off x="4525963" y="3387725"/>
              <a:ext cx="223838" cy="246063"/>
            </a:xfrm>
            <a:custGeom>
              <a:avLst/>
              <a:gdLst>
                <a:gd name="T0" fmla="*/ 41 w 84"/>
                <a:gd name="T1" fmla="*/ 93 h 93"/>
                <a:gd name="T2" fmla="*/ 57 w 84"/>
                <a:gd name="T3" fmla="*/ 41 h 93"/>
                <a:gd name="T4" fmla="*/ 84 w 84"/>
                <a:gd name="T5" fmla="*/ 0 h 93"/>
                <a:gd name="T6" fmla="*/ 23 w 84"/>
                <a:gd name="T7" fmla="*/ 31 h 93"/>
                <a:gd name="T8" fmla="*/ 41 w 84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93">
                  <a:moveTo>
                    <a:pt x="41" y="93"/>
                  </a:moveTo>
                  <a:cubicBezTo>
                    <a:pt x="41" y="93"/>
                    <a:pt x="71" y="78"/>
                    <a:pt x="57" y="41"/>
                  </a:cubicBezTo>
                  <a:cubicBezTo>
                    <a:pt x="57" y="41"/>
                    <a:pt x="82" y="29"/>
                    <a:pt x="84" y="0"/>
                  </a:cubicBezTo>
                  <a:cubicBezTo>
                    <a:pt x="84" y="0"/>
                    <a:pt x="30" y="27"/>
                    <a:pt x="23" y="31"/>
                  </a:cubicBezTo>
                  <a:cubicBezTo>
                    <a:pt x="15" y="35"/>
                    <a:pt x="0" y="51"/>
                    <a:pt x="41" y="93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4" name="íšlïḍè">
              <a:extLst>
                <a:ext uri="{FF2B5EF4-FFF2-40B4-BE49-F238E27FC236}">
                  <a16:creationId xmlns:a16="http://schemas.microsoft.com/office/drawing/2014/main" id="{FD5DEC19-C240-4EE4-93E0-2F43FA57CF43}"/>
                </a:ext>
              </a:extLst>
            </p:cNvPr>
            <p:cNvSpPr/>
            <p:nvPr/>
          </p:nvSpPr>
          <p:spPr bwMode="auto">
            <a:xfrm>
              <a:off x="4635500" y="3538538"/>
              <a:ext cx="60325" cy="60325"/>
            </a:xfrm>
            <a:custGeom>
              <a:avLst/>
              <a:gdLst>
                <a:gd name="T0" fmla="*/ 2 w 23"/>
                <a:gd name="T1" fmla="*/ 16 h 23"/>
                <a:gd name="T2" fmla="*/ 7 w 23"/>
                <a:gd name="T3" fmla="*/ 2 h 23"/>
                <a:gd name="T4" fmla="*/ 21 w 23"/>
                <a:gd name="T5" fmla="*/ 7 h 23"/>
                <a:gd name="T6" fmla="*/ 16 w 23"/>
                <a:gd name="T7" fmla="*/ 21 h 23"/>
                <a:gd name="T8" fmla="*/ 2 w 23"/>
                <a:gd name="T9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16"/>
                  </a:moveTo>
                  <a:cubicBezTo>
                    <a:pt x="0" y="11"/>
                    <a:pt x="2" y="5"/>
                    <a:pt x="7" y="2"/>
                  </a:cubicBezTo>
                  <a:cubicBezTo>
                    <a:pt x="12" y="0"/>
                    <a:pt x="18" y="2"/>
                    <a:pt x="21" y="7"/>
                  </a:cubicBezTo>
                  <a:cubicBezTo>
                    <a:pt x="23" y="12"/>
                    <a:pt x="21" y="18"/>
                    <a:pt x="16" y="21"/>
                  </a:cubicBezTo>
                  <a:cubicBezTo>
                    <a:pt x="11" y="23"/>
                    <a:pt x="5" y="21"/>
                    <a:pt x="2" y="16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5" name="ïṡlîdè">
              <a:extLst>
                <a:ext uri="{FF2B5EF4-FFF2-40B4-BE49-F238E27FC236}">
                  <a16:creationId xmlns:a16="http://schemas.microsoft.com/office/drawing/2014/main" id="{B3DBD825-A213-439F-AA8E-6260F4A99884}"/>
                </a:ext>
              </a:extLst>
            </p:cNvPr>
            <p:cNvSpPr/>
            <p:nvPr/>
          </p:nvSpPr>
          <p:spPr bwMode="auto">
            <a:xfrm>
              <a:off x="4702175" y="3463925"/>
              <a:ext cx="373063" cy="368300"/>
            </a:xfrm>
            <a:custGeom>
              <a:avLst/>
              <a:gdLst>
                <a:gd name="T0" fmla="*/ 1 w 235"/>
                <a:gd name="T1" fmla="*/ 177 h 232"/>
                <a:gd name="T2" fmla="*/ 126 w 235"/>
                <a:gd name="T3" fmla="*/ 119 h 232"/>
                <a:gd name="T4" fmla="*/ 215 w 235"/>
                <a:gd name="T5" fmla="*/ 0 h 232"/>
                <a:gd name="T6" fmla="*/ 235 w 235"/>
                <a:gd name="T7" fmla="*/ 24 h 232"/>
                <a:gd name="T8" fmla="*/ 151 w 235"/>
                <a:gd name="T9" fmla="*/ 162 h 232"/>
                <a:gd name="T10" fmla="*/ 0 w 235"/>
                <a:gd name="T11" fmla="*/ 232 h 232"/>
                <a:gd name="T12" fmla="*/ 1 w 235"/>
                <a:gd name="T13" fmla="*/ 17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2">
                  <a:moveTo>
                    <a:pt x="1" y="177"/>
                  </a:moveTo>
                  <a:lnTo>
                    <a:pt x="126" y="119"/>
                  </a:lnTo>
                  <a:lnTo>
                    <a:pt x="215" y="0"/>
                  </a:lnTo>
                  <a:lnTo>
                    <a:pt x="235" y="24"/>
                  </a:lnTo>
                  <a:lnTo>
                    <a:pt x="151" y="162"/>
                  </a:lnTo>
                  <a:lnTo>
                    <a:pt x="0" y="232"/>
                  </a:lnTo>
                  <a:lnTo>
                    <a:pt x="1" y="177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6" name="iṩļïďê">
              <a:extLst>
                <a:ext uri="{FF2B5EF4-FFF2-40B4-BE49-F238E27FC236}">
                  <a16:creationId xmlns:a16="http://schemas.microsoft.com/office/drawing/2014/main" id="{4D1AF733-9436-493A-A239-B6C0D6AEF95D}"/>
                </a:ext>
              </a:extLst>
            </p:cNvPr>
            <p:cNvSpPr/>
            <p:nvPr/>
          </p:nvSpPr>
          <p:spPr bwMode="auto">
            <a:xfrm>
              <a:off x="4608513" y="3694113"/>
              <a:ext cx="217488" cy="173038"/>
            </a:xfrm>
            <a:custGeom>
              <a:avLst/>
              <a:gdLst>
                <a:gd name="T0" fmla="*/ 0 w 137"/>
                <a:gd name="T1" fmla="*/ 27 h 109"/>
                <a:gd name="T2" fmla="*/ 117 w 137"/>
                <a:gd name="T3" fmla="*/ 0 h 109"/>
                <a:gd name="T4" fmla="*/ 137 w 137"/>
                <a:gd name="T5" fmla="*/ 62 h 109"/>
                <a:gd name="T6" fmla="*/ 40 w 137"/>
                <a:gd name="T7" fmla="*/ 109 h 109"/>
                <a:gd name="T8" fmla="*/ 0 w 137"/>
                <a:gd name="T9" fmla="*/ 2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09">
                  <a:moveTo>
                    <a:pt x="0" y="27"/>
                  </a:moveTo>
                  <a:lnTo>
                    <a:pt x="117" y="0"/>
                  </a:lnTo>
                  <a:lnTo>
                    <a:pt x="137" y="62"/>
                  </a:lnTo>
                  <a:lnTo>
                    <a:pt x="40" y="109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C6D7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7" name="iŝļîḑé">
              <a:extLst>
                <a:ext uri="{FF2B5EF4-FFF2-40B4-BE49-F238E27FC236}">
                  <a16:creationId xmlns:a16="http://schemas.microsoft.com/office/drawing/2014/main" id="{60294188-9A3B-4515-9AD7-A1110F5FE85B}"/>
                </a:ext>
              </a:extLst>
            </p:cNvPr>
            <p:cNvSpPr/>
            <p:nvPr/>
          </p:nvSpPr>
          <p:spPr bwMode="auto">
            <a:xfrm>
              <a:off x="5043488" y="3406775"/>
              <a:ext cx="161925" cy="95250"/>
            </a:xfrm>
            <a:custGeom>
              <a:avLst/>
              <a:gdLst>
                <a:gd name="T0" fmla="*/ 0 w 61"/>
                <a:gd name="T1" fmla="*/ 22 h 36"/>
                <a:gd name="T2" fmla="*/ 36 w 61"/>
                <a:gd name="T3" fmla="*/ 4 h 36"/>
                <a:gd name="T4" fmla="*/ 53 w 61"/>
                <a:gd name="T5" fmla="*/ 22 h 36"/>
                <a:gd name="T6" fmla="*/ 12 w 61"/>
                <a:gd name="T7" fmla="*/ 36 h 36"/>
                <a:gd name="T8" fmla="*/ 0 w 61"/>
                <a:gd name="T9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6">
                  <a:moveTo>
                    <a:pt x="0" y="22"/>
                  </a:moveTo>
                  <a:cubicBezTo>
                    <a:pt x="13" y="5"/>
                    <a:pt x="21" y="0"/>
                    <a:pt x="36" y="4"/>
                  </a:cubicBezTo>
                  <a:cubicBezTo>
                    <a:pt x="52" y="9"/>
                    <a:pt x="61" y="8"/>
                    <a:pt x="53" y="22"/>
                  </a:cubicBezTo>
                  <a:cubicBezTo>
                    <a:pt x="45" y="36"/>
                    <a:pt x="34" y="36"/>
                    <a:pt x="12" y="36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8" name="íṥļîďé">
              <a:extLst>
                <a:ext uri="{FF2B5EF4-FFF2-40B4-BE49-F238E27FC236}">
                  <a16:creationId xmlns:a16="http://schemas.microsoft.com/office/drawing/2014/main" id="{01068F34-70CA-4D2C-BF8D-7A386D2BFF8E}"/>
                </a:ext>
              </a:extLst>
            </p:cNvPr>
            <p:cNvSpPr/>
            <p:nvPr/>
          </p:nvSpPr>
          <p:spPr bwMode="auto">
            <a:xfrm>
              <a:off x="4516438" y="3382963"/>
              <a:ext cx="163513" cy="187325"/>
            </a:xfrm>
            <a:custGeom>
              <a:avLst/>
              <a:gdLst>
                <a:gd name="T0" fmla="*/ 20 w 62"/>
                <a:gd name="T1" fmla="*/ 71 h 71"/>
                <a:gd name="T2" fmla="*/ 12 w 62"/>
                <a:gd name="T3" fmla="*/ 22 h 71"/>
                <a:gd name="T4" fmla="*/ 62 w 62"/>
                <a:gd name="T5" fmla="*/ 7 h 71"/>
                <a:gd name="T6" fmla="*/ 20 w 62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71">
                  <a:moveTo>
                    <a:pt x="20" y="71"/>
                  </a:moveTo>
                  <a:cubicBezTo>
                    <a:pt x="6" y="62"/>
                    <a:pt x="0" y="42"/>
                    <a:pt x="12" y="22"/>
                  </a:cubicBezTo>
                  <a:cubicBezTo>
                    <a:pt x="24" y="2"/>
                    <a:pt x="46" y="0"/>
                    <a:pt x="62" y="7"/>
                  </a:cubicBezTo>
                  <a:lnTo>
                    <a:pt x="20" y="71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9" name="ïṩľïďe">
              <a:extLst>
                <a:ext uri="{FF2B5EF4-FFF2-40B4-BE49-F238E27FC236}">
                  <a16:creationId xmlns:a16="http://schemas.microsoft.com/office/drawing/2014/main" id="{79303CD2-31B1-474D-AAAE-867C4D93F2A7}"/>
                </a:ext>
              </a:extLst>
            </p:cNvPr>
            <p:cNvSpPr/>
            <p:nvPr/>
          </p:nvSpPr>
          <p:spPr bwMode="auto">
            <a:xfrm>
              <a:off x="4564063" y="3367088"/>
              <a:ext cx="153988" cy="219075"/>
            </a:xfrm>
            <a:custGeom>
              <a:avLst/>
              <a:gdLst>
                <a:gd name="T0" fmla="*/ 10 w 97"/>
                <a:gd name="T1" fmla="*/ 138 h 138"/>
                <a:gd name="T2" fmla="*/ 97 w 97"/>
                <a:gd name="T3" fmla="*/ 8 h 138"/>
                <a:gd name="T4" fmla="*/ 87 w 97"/>
                <a:gd name="T5" fmla="*/ 0 h 138"/>
                <a:gd name="T6" fmla="*/ 0 w 97"/>
                <a:gd name="T7" fmla="*/ 130 h 138"/>
                <a:gd name="T8" fmla="*/ 10 w 97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38">
                  <a:moveTo>
                    <a:pt x="10" y="138"/>
                  </a:moveTo>
                  <a:lnTo>
                    <a:pt x="97" y="8"/>
                  </a:lnTo>
                  <a:lnTo>
                    <a:pt x="87" y="0"/>
                  </a:lnTo>
                  <a:lnTo>
                    <a:pt x="0" y="130"/>
                  </a:lnTo>
                  <a:lnTo>
                    <a:pt x="10" y="13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0" name="iṧḻiďe">
              <a:extLst>
                <a:ext uri="{FF2B5EF4-FFF2-40B4-BE49-F238E27FC236}">
                  <a16:creationId xmlns:a16="http://schemas.microsoft.com/office/drawing/2014/main" id="{0BF96DE0-E336-464A-BD47-3B3E18AC5C33}"/>
                </a:ext>
              </a:extLst>
            </p:cNvPr>
            <p:cNvSpPr/>
            <p:nvPr/>
          </p:nvSpPr>
          <p:spPr bwMode="auto">
            <a:xfrm>
              <a:off x="6521450" y="2736850"/>
              <a:ext cx="177800" cy="762000"/>
            </a:xfrm>
            <a:custGeom>
              <a:avLst/>
              <a:gdLst>
                <a:gd name="T0" fmla="*/ 112 w 112"/>
                <a:gd name="T1" fmla="*/ 0 h 480"/>
                <a:gd name="T2" fmla="*/ 88 w 112"/>
                <a:gd name="T3" fmla="*/ 235 h 480"/>
                <a:gd name="T4" fmla="*/ 95 w 112"/>
                <a:gd name="T5" fmla="*/ 480 h 480"/>
                <a:gd name="T6" fmla="*/ 58 w 112"/>
                <a:gd name="T7" fmla="*/ 480 h 480"/>
                <a:gd name="T8" fmla="*/ 6 w 112"/>
                <a:gd name="T9" fmla="*/ 237 h 480"/>
                <a:gd name="T10" fmla="*/ 0 w 112"/>
                <a:gd name="T11" fmla="*/ 0 h 480"/>
                <a:gd name="T12" fmla="*/ 112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112" y="0"/>
                  </a:moveTo>
                  <a:lnTo>
                    <a:pt x="88" y="235"/>
                  </a:lnTo>
                  <a:lnTo>
                    <a:pt x="95" y="480"/>
                  </a:lnTo>
                  <a:lnTo>
                    <a:pt x="58" y="480"/>
                  </a:lnTo>
                  <a:lnTo>
                    <a:pt x="6" y="237"/>
                  </a:lnTo>
                  <a:lnTo>
                    <a:pt x="0" y="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1" name="íSliḍé">
              <a:extLst>
                <a:ext uri="{FF2B5EF4-FFF2-40B4-BE49-F238E27FC236}">
                  <a16:creationId xmlns:a16="http://schemas.microsoft.com/office/drawing/2014/main" id="{2025F94A-81A3-4B03-AA40-7F94D6565487}"/>
                </a:ext>
              </a:extLst>
            </p:cNvPr>
            <p:cNvSpPr/>
            <p:nvPr/>
          </p:nvSpPr>
          <p:spPr bwMode="auto">
            <a:xfrm>
              <a:off x="6380163" y="2736850"/>
              <a:ext cx="304800" cy="762000"/>
            </a:xfrm>
            <a:custGeom>
              <a:avLst/>
              <a:gdLst>
                <a:gd name="T0" fmla="*/ 64 w 192"/>
                <a:gd name="T1" fmla="*/ 0 h 480"/>
                <a:gd name="T2" fmla="*/ 0 w 192"/>
                <a:gd name="T3" fmla="*/ 220 h 480"/>
                <a:gd name="T4" fmla="*/ 74 w 192"/>
                <a:gd name="T5" fmla="*/ 480 h 480"/>
                <a:gd name="T6" fmla="*/ 110 w 192"/>
                <a:gd name="T7" fmla="*/ 480 h 480"/>
                <a:gd name="T8" fmla="*/ 82 w 192"/>
                <a:gd name="T9" fmla="*/ 230 h 480"/>
                <a:gd name="T10" fmla="*/ 192 w 192"/>
                <a:gd name="T11" fmla="*/ 0 h 480"/>
                <a:gd name="T12" fmla="*/ 64 w 19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80">
                  <a:moveTo>
                    <a:pt x="64" y="0"/>
                  </a:moveTo>
                  <a:lnTo>
                    <a:pt x="0" y="220"/>
                  </a:lnTo>
                  <a:lnTo>
                    <a:pt x="74" y="480"/>
                  </a:lnTo>
                  <a:lnTo>
                    <a:pt x="110" y="480"/>
                  </a:lnTo>
                  <a:lnTo>
                    <a:pt x="82" y="230"/>
                  </a:lnTo>
                  <a:lnTo>
                    <a:pt x="192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2" name="ïsļíḓe">
              <a:extLst>
                <a:ext uri="{FF2B5EF4-FFF2-40B4-BE49-F238E27FC236}">
                  <a16:creationId xmlns:a16="http://schemas.microsoft.com/office/drawing/2014/main" id="{92A834E0-DC1D-4074-A349-9CC66F9FFB2B}"/>
                </a:ext>
              </a:extLst>
            </p:cNvPr>
            <p:cNvSpPr/>
            <p:nvPr/>
          </p:nvSpPr>
          <p:spPr bwMode="auto">
            <a:xfrm>
              <a:off x="6348413" y="3498850"/>
              <a:ext cx="217488" cy="66675"/>
            </a:xfrm>
            <a:custGeom>
              <a:avLst/>
              <a:gdLst>
                <a:gd name="T0" fmla="*/ 78 w 82"/>
                <a:gd name="T1" fmla="*/ 0 h 25"/>
                <a:gd name="T2" fmla="*/ 82 w 82"/>
                <a:gd name="T3" fmla="*/ 25 h 25"/>
                <a:gd name="T4" fmla="*/ 3 w 82"/>
                <a:gd name="T5" fmla="*/ 25 h 25"/>
                <a:gd name="T6" fmla="*/ 0 w 82"/>
                <a:gd name="T7" fmla="*/ 18 h 25"/>
                <a:gd name="T8" fmla="*/ 53 w 82"/>
                <a:gd name="T9" fmla="*/ 4 h 25"/>
                <a:gd name="T10" fmla="*/ 56 w 82"/>
                <a:gd name="T11" fmla="*/ 0 h 25"/>
                <a:gd name="T12" fmla="*/ 78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78" y="0"/>
                  </a:moveTo>
                  <a:cubicBezTo>
                    <a:pt x="82" y="25"/>
                    <a:pt x="82" y="25"/>
                    <a:pt x="8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3" y="4"/>
                    <a:pt x="53" y="4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78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3" name="íṧľîḑê">
              <a:extLst>
                <a:ext uri="{FF2B5EF4-FFF2-40B4-BE49-F238E27FC236}">
                  <a16:creationId xmlns:a16="http://schemas.microsoft.com/office/drawing/2014/main" id="{C2F7DC94-4B0E-4B3F-BC4F-B6D02D27B734}"/>
                </a:ext>
              </a:extLst>
            </p:cNvPr>
            <p:cNvSpPr/>
            <p:nvPr/>
          </p:nvSpPr>
          <p:spPr bwMode="auto">
            <a:xfrm>
              <a:off x="6462713" y="3498850"/>
              <a:ext cx="220663" cy="66675"/>
            </a:xfrm>
            <a:custGeom>
              <a:avLst/>
              <a:gdLst>
                <a:gd name="T0" fmla="*/ 79 w 83"/>
                <a:gd name="T1" fmla="*/ 0 h 25"/>
                <a:gd name="T2" fmla="*/ 83 w 83"/>
                <a:gd name="T3" fmla="*/ 25 h 25"/>
                <a:gd name="T4" fmla="*/ 4 w 83"/>
                <a:gd name="T5" fmla="*/ 25 h 25"/>
                <a:gd name="T6" fmla="*/ 0 w 83"/>
                <a:gd name="T7" fmla="*/ 18 h 25"/>
                <a:gd name="T8" fmla="*/ 54 w 83"/>
                <a:gd name="T9" fmla="*/ 4 h 25"/>
                <a:gd name="T10" fmla="*/ 57 w 83"/>
                <a:gd name="T11" fmla="*/ 0 h 25"/>
                <a:gd name="T12" fmla="*/ 79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79" y="0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4" y="4"/>
                    <a:pt x="54" y="4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4" name="îṩļîďé">
              <a:extLst>
                <a:ext uri="{FF2B5EF4-FFF2-40B4-BE49-F238E27FC236}">
                  <a16:creationId xmlns:a16="http://schemas.microsoft.com/office/drawing/2014/main" id="{725A7303-13D1-4BEB-ADCB-54F3A58AB583}"/>
                </a:ext>
              </a:extLst>
            </p:cNvPr>
            <p:cNvSpPr/>
            <p:nvPr/>
          </p:nvSpPr>
          <p:spPr bwMode="auto">
            <a:xfrm>
              <a:off x="6227763" y="2343150"/>
              <a:ext cx="447675" cy="249238"/>
            </a:xfrm>
            <a:custGeom>
              <a:avLst/>
              <a:gdLst>
                <a:gd name="T0" fmla="*/ 218 w 282"/>
                <a:gd name="T1" fmla="*/ 0 h 157"/>
                <a:gd name="T2" fmla="*/ 136 w 282"/>
                <a:gd name="T3" fmla="*/ 95 h 157"/>
                <a:gd name="T4" fmla="*/ 21 w 282"/>
                <a:gd name="T5" fmla="*/ 53 h 157"/>
                <a:gd name="T6" fmla="*/ 0 w 282"/>
                <a:gd name="T7" fmla="*/ 73 h 157"/>
                <a:gd name="T8" fmla="*/ 143 w 282"/>
                <a:gd name="T9" fmla="*/ 157 h 157"/>
                <a:gd name="T10" fmla="*/ 282 w 282"/>
                <a:gd name="T11" fmla="*/ 17 h 157"/>
                <a:gd name="T12" fmla="*/ 218 w 282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" h="157">
                  <a:moveTo>
                    <a:pt x="218" y="0"/>
                  </a:moveTo>
                  <a:lnTo>
                    <a:pt x="136" y="95"/>
                  </a:lnTo>
                  <a:lnTo>
                    <a:pt x="21" y="53"/>
                  </a:lnTo>
                  <a:lnTo>
                    <a:pt x="0" y="73"/>
                  </a:lnTo>
                  <a:lnTo>
                    <a:pt x="143" y="157"/>
                  </a:lnTo>
                  <a:lnTo>
                    <a:pt x="282" y="17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5" name="ïśľíďe">
              <a:extLst>
                <a:ext uri="{FF2B5EF4-FFF2-40B4-BE49-F238E27FC236}">
                  <a16:creationId xmlns:a16="http://schemas.microsoft.com/office/drawing/2014/main" id="{DC841D5A-7AAB-4D71-88AA-2183A79C60E0}"/>
                </a:ext>
              </a:extLst>
            </p:cNvPr>
            <p:cNvSpPr/>
            <p:nvPr/>
          </p:nvSpPr>
          <p:spPr bwMode="auto">
            <a:xfrm>
              <a:off x="6145213" y="2335213"/>
              <a:ext cx="115888" cy="123825"/>
            </a:xfrm>
            <a:custGeom>
              <a:avLst/>
              <a:gdLst>
                <a:gd name="T0" fmla="*/ 31 w 44"/>
                <a:gd name="T1" fmla="*/ 47 h 47"/>
                <a:gd name="T2" fmla="*/ 9 w 44"/>
                <a:gd name="T3" fmla="*/ 30 h 47"/>
                <a:gd name="T4" fmla="*/ 1 w 44"/>
                <a:gd name="T5" fmla="*/ 15 h 47"/>
                <a:gd name="T6" fmla="*/ 14 w 44"/>
                <a:gd name="T7" fmla="*/ 3 h 47"/>
                <a:gd name="T8" fmla="*/ 27 w 44"/>
                <a:gd name="T9" fmla="*/ 19 h 47"/>
                <a:gd name="T10" fmla="*/ 26 w 44"/>
                <a:gd name="T11" fmla="*/ 6 h 47"/>
                <a:gd name="T12" fmla="*/ 32 w 44"/>
                <a:gd name="T13" fmla="*/ 10 h 47"/>
                <a:gd name="T14" fmla="*/ 44 w 44"/>
                <a:gd name="T15" fmla="*/ 35 h 47"/>
                <a:gd name="T16" fmla="*/ 31 w 44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7">
                  <a:moveTo>
                    <a:pt x="31" y="47"/>
                  </a:moveTo>
                  <a:cubicBezTo>
                    <a:pt x="24" y="42"/>
                    <a:pt x="9" y="30"/>
                    <a:pt x="9" y="30"/>
                  </a:cubicBezTo>
                  <a:cubicBezTo>
                    <a:pt x="9" y="30"/>
                    <a:pt x="0" y="21"/>
                    <a:pt x="1" y="15"/>
                  </a:cubicBezTo>
                  <a:cubicBezTo>
                    <a:pt x="1" y="9"/>
                    <a:pt x="12" y="0"/>
                    <a:pt x="14" y="3"/>
                  </a:cubicBezTo>
                  <a:cubicBezTo>
                    <a:pt x="16" y="4"/>
                    <a:pt x="27" y="19"/>
                    <a:pt x="27" y="19"/>
                  </a:cubicBezTo>
                  <a:cubicBezTo>
                    <a:pt x="27" y="19"/>
                    <a:pt x="24" y="7"/>
                    <a:pt x="26" y="6"/>
                  </a:cubicBezTo>
                  <a:cubicBezTo>
                    <a:pt x="29" y="5"/>
                    <a:pt x="30" y="9"/>
                    <a:pt x="32" y="10"/>
                  </a:cubicBezTo>
                  <a:cubicBezTo>
                    <a:pt x="33" y="12"/>
                    <a:pt x="44" y="35"/>
                    <a:pt x="44" y="35"/>
                  </a:cubicBezTo>
                  <a:lnTo>
                    <a:pt x="31" y="47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6" name="ïšḷíḍé">
              <a:extLst>
                <a:ext uri="{FF2B5EF4-FFF2-40B4-BE49-F238E27FC236}">
                  <a16:creationId xmlns:a16="http://schemas.microsoft.com/office/drawing/2014/main" id="{B9465CE5-63B0-44B5-9B85-3C4278845855}"/>
                </a:ext>
              </a:extLst>
            </p:cNvPr>
            <p:cNvSpPr/>
            <p:nvPr/>
          </p:nvSpPr>
          <p:spPr bwMode="auto">
            <a:xfrm>
              <a:off x="6565900" y="2171700"/>
              <a:ext cx="106363" cy="142875"/>
            </a:xfrm>
            <a:custGeom>
              <a:avLst/>
              <a:gdLst>
                <a:gd name="T0" fmla="*/ 25 w 40"/>
                <a:gd name="T1" fmla="*/ 0 h 54"/>
                <a:gd name="T2" fmla="*/ 40 w 40"/>
                <a:gd name="T3" fmla="*/ 39 h 54"/>
                <a:gd name="T4" fmla="*/ 12 w 40"/>
                <a:gd name="T5" fmla="*/ 51 h 54"/>
                <a:gd name="T6" fmla="*/ 0 w 40"/>
                <a:gd name="T7" fmla="*/ 20 h 54"/>
                <a:gd name="T8" fmla="*/ 25 w 40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4">
                  <a:moveTo>
                    <a:pt x="25" y="0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37" y="44"/>
                    <a:pt x="31" y="54"/>
                    <a:pt x="12" y="51"/>
                  </a:cubicBezTo>
                  <a:cubicBezTo>
                    <a:pt x="11" y="48"/>
                    <a:pt x="0" y="20"/>
                    <a:pt x="0" y="2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7" name="í$1ïḑé">
              <a:extLst>
                <a:ext uri="{FF2B5EF4-FFF2-40B4-BE49-F238E27FC236}">
                  <a16:creationId xmlns:a16="http://schemas.microsoft.com/office/drawing/2014/main" id="{DD157050-D0E0-4C40-854F-2890506ED189}"/>
                </a:ext>
              </a:extLst>
            </p:cNvPr>
            <p:cNvSpPr/>
            <p:nvPr/>
          </p:nvSpPr>
          <p:spPr bwMode="auto">
            <a:xfrm>
              <a:off x="6486525" y="1993900"/>
              <a:ext cx="193675" cy="250825"/>
            </a:xfrm>
            <a:custGeom>
              <a:avLst/>
              <a:gdLst>
                <a:gd name="T0" fmla="*/ 32 w 73"/>
                <a:gd name="T1" fmla="*/ 93 h 95"/>
                <a:gd name="T2" fmla="*/ 32 w 73"/>
                <a:gd name="T3" fmla="*/ 93 h 95"/>
                <a:gd name="T4" fmla="*/ 68 w 73"/>
                <a:gd name="T5" fmla="*/ 64 h 95"/>
                <a:gd name="T6" fmla="*/ 71 w 73"/>
                <a:gd name="T7" fmla="*/ 39 h 95"/>
                <a:gd name="T8" fmla="*/ 41 w 73"/>
                <a:gd name="T9" fmla="*/ 2 h 95"/>
                <a:gd name="T10" fmla="*/ 41 w 73"/>
                <a:gd name="T11" fmla="*/ 2 h 95"/>
                <a:gd name="T12" fmla="*/ 5 w 73"/>
                <a:gd name="T13" fmla="*/ 32 h 95"/>
                <a:gd name="T14" fmla="*/ 2 w 73"/>
                <a:gd name="T15" fmla="*/ 57 h 95"/>
                <a:gd name="T16" fmla="*/ 32 w 73"/>
                <a:gd name="T17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95">
                  <a:moveTo>
                    <a:pt x="32" y="93"/>
                  </a:moveTo>
                  <a:cubicBezTo>
                    <a:pt x="32" y="93"/>
                    <a:pt x="32" y="93"/>
                    <a:pt x="32" y="93"/>
                  </a:cubicBezTo>
                  <a:cubicBezTo>
                    <a:pt x="50" y="95"/>
                    <a:pt x="67" y="82"/>
                    <a:pt x="68" y="64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3" y="20"/>
                    <a:pt x="60" y="4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23" y="0"/>
                    <a:pt x="7" y="13"/>
                    <a:pt x="5" y="32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0" y="75"/>
                    <a:pt x="14" y="91"/>
                    <a:pt x="32" y="9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8" name="iṡḷíḍe">
              <a:extLst>
                <a:ext uri="{FF2B5EF4-FFF2-40B4-BE49-F238E27FC236}">
                  <a16:creationId xmlns:a16="http://schemas.microsoft.com/office/drawing/2014/main" id="{AD2A1C9C-9659-43C6-AD81-C64714E75514}"/>
                </a:ext>
              </a:extLst>
            </p:cNvPr>
            <p:cNvSpPr/>
            <p:nvPr/>
          </p:nvSpPr>
          <p:spPr bwMode="auto">
            <a:xfrm>
              <a:off x="6459538" y="2252663"/>
              <a:ext cx="257175" cy="498475"/>
            </a:xfrm>
            <a:custGeom>
              <a:avLst/>
              <a:gdLst>
                <a:gd name="T0" fmla="*/ 156 w 162"/>
                <a:gd name="T1" fmla="*/ 0 h 314"/>
                <a:gd name="T2" fmla="*/ 40 w 162"/>
                <a:gd name="T3" fmla="*/ 59 h 314"/>
                <a:gd name="T4" fmla="*/ 0 w 162"/>
                <a:gd name="T5" fmla="*/ 314 h 314"/>
                <a:gd name="T6" fmla="*/ 162 w 162"/>
                <a:gd name="T7" fmla="*/ 314 h 314"/>
                <a:gd name="T8" fmla="*/ 142 w 162"/>
                <a:gd name="T9" fmla="*/ 199 h 314"/>
                <a:gd name="T10" fmla="*/ 156 w 162"/>
                <a:gd name="T1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314">
                  <a:moveTo>
                    <a:pt x="156" y="0"/>
                  </a:moveTo>
                  <a:lnTo>
                    <a:pt x="40" y="59"/>
                  </a:lnTo>
                  <a:lnTo>
                    <a:pt x="0" y="314"/>
                  </a:lnTo>
                  <a:lnTo>
                    <a:pt x="162" y="314"/>
                  </a:lnTo>
                  <a:lnTo>
                    <a:pt x="142" y="199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9" name="îṩliḍè">
              <a:extLst>
                <a:ext uri="{FF2B5EF4-FFF2-40B4-BE49-F238E27FC236}">
                  <a16:creationId xmlns:a16="http://schemas.microsoft.com/office/drawing/2014/main" id="{6120AEE9-96EC-4341-85F1-14CD980114AC}"/>
                </a:ext>
              </a:extLst>
            </p:cNvPr>
            <p:cNvSpPr/>
            <p:nvPr/>
          </p:nvSpPr>
          <p:spPr bwMode="auto">
            <a:xfrm>
              <a:off x="6619875" y="2284413"/>
              <a:ext cx="211138" cy="452438"/>
            </a:xfrm>
            <a:custGeom>
              <a:avLst/>
              <a:gdLst>
                <a:gd name="T0" fmla="*/ 6 w 133"/>
                <a:gd name="T1" fmla="*/ 55 h 285"/>
                <a:gd name="T2" fmla="*/ 73 w 133"/>
                <a:gd name="T3" fmla="*/ 162 h 285"/>
                <a:gd name="T4" fmla="*/ 0 w 133"/>
                <a:gd name="T5" fmla="*/ 259 h 285"/>
                <a:gd name="T6" fmla="*/ 11 w 133"/>
                <a:gd name="T7" fmla="*/ 285 h 285"/>
                <a:gd name="T8" fmla="*/ 133 w 133"/>
                <a:gd name="T9" fmla="*/ 175 h 285"/>
                <a:gd name="T10" fmla="*/ 41 w 133"/>
                <a:gd name="T11" fmla="*/ 0 h 285"/>
                <a:gd name="T12" fmla="*/ 6 w 133"/>
                <a:gd name="T13" fmla="*/ 5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285">
                  <a:moveTo>
                    <a:pt x="6" y="55"/>
                  </a:moveTo>
                  <a:lnTo>
                    <a:pt x="73" y="162"/>
                  </a:lnTo>
                  <a:lnTo>
                    <a:pt x="0" y="259"/>
                  </a:lnTo>
                  <a:lnTo>
                    <a:pt x="11" y="285"/>
                  </a:lnTo>
                  <a:lnTo>
                    <a:pt x="133" y="175"/>
                  </a:lnTo>
                  <a:lnTo>
                    <a:pt x="41" y="0"/>
                  </a:lnTo>
                  <a:lnTo>
                    <a:pt x="6" y="55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0" name="îṣlîḋe">
              <a:extLst>
                <a:ext uri="{FF2B5EF4-FFF2-40B4-BE49-F238E27FC236}">
                  <a16:creationId xmlns:a16="http://schemas.microsoft.com/office/drawing/2014/main" id="{0FADB29D-6ECC-4FE1-9257-AF0BEB40425C}"/>
                </a:ext>
              </a:extLst>
            </p:cNvPr>
            <p:cNvSpPr/>
            <p:nvPr/>
          </p:nvSpPr>
          <p:spPr bwMode="auto">
            <a:xfrm>
              <a:off x="6502400" y="2695575"/>
              <a:ext cx="134938" cy="100013"/>
            </a:xfrm>
            <a:custGeom>
              <a:avLst/>
              <a:gdLst>
                <a:gd name="T0" fmla="*/ 51 w 51"/>
                <a:gd name="T1" fmla="*/ 16 h 38"/>
                <a:gd name="T2" fmla="*/ 28 w 51"/>
                <a:gd name="T3" fmla="*/ 33 h 38"/>
                <a:gd name="T4" fmla="*/ 12 w 51"/>
                <a:gd name="T5" fmla="*/ 36 h 38"/>
                <a:gd name="T6" fmla="*/ 4 w 51"/>
                <a:gd name="T7" fmla="*/ 19 h 38"/>
                <a:gd name="T8" fmla="*/ 23 w 51"/>
                <a:gd name="T9" fmla="*/ 12 h 38"/>
                <a:gd name="T10" fmla="*/ 10 w 51"/>
                <a:gd name="T11" fmla="*/ 9 h 38"/>
                <a:gd name="T12" fmla="*/ 16 w 51"/>
                <a:gd name="T13" fmla="*/ 5 h 38"/>
                <a:gd name="T14" fmla="*/ 44 w 51"/>
                <a:gd name="T15" fmla="*/ 0 h 38"/>
                <a:gd name="T16" fmla="*/ 51 w 51"/>
                <a:gd name="T17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8">
                  <a:moveTo>
                    <a:pt x="51" y="16"/>
                  </a:moveTo>
                  <a:cubicBezTo>
                    <a:pt x="44" y="21"/>
                    <a:pt x="28" y="33"/>
                    <a:pt x="28" y="33"/>
                  </a:cubicBezTo>
                  <a:cubicBezTo>
                    <a:pt x="28" y="33"/>
                    <a:pt x="17" y="38"/>
                    <a:pt x="12" y="36"/>
                  </a:cubicBezTo>
                  <a:cubicBezTo>
                    <a:pt x="6" y="33"/>
                    <a:pt x="0" y="21"/>
                    <a:pt x="4" y="19"/>
                  </a:cubicBezTo>
                  <a:cubicBezTo>
                    <a:pt x="6" y="18"/>
                    <a:pt x="23" y="12"/>
                    <a:pt x="23" y="12"/>
                  </a:cubicBezTo>
                  <a:cubicBezTo>
                    <a:pt x="23" y="12"/>
                    <a:pt x="11" y="11"/>
                    <a:pt x="10" y="9"/>
                  </a:cubicBezTo>
                  <a:cubicBezTo>
                    <a:pt x="10" y="6"/>
                    <a:pt x="14" y="5"/>
                    <a:pt x="16" y="5"/>
                  </a:cubicBezTo>
                  <a:cubicBezTo>
                    <a:pt x="19" y="4"/>
                    <a:pt x="44" y="0"/>
                    <a:pt x="44" y="0"/>
                  </a:cubicBezTo>
                  <a:lnTo>
                    <a:pt x="51" y="16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1" name="iṩlíḑê">
              <a:extLst>
                <a:ext uri="{FF2B5EF4-FFF2-40B4-BE49-F238E27FC236}">
                  <a16:creationId xmlns:a16="http://schemas.microsoft.com/office/drawing/2014/main" id="{C6BDA9BF-E646-4E97-BA57-D31A662E89BC}"/>
                </a:ext>
              </a:extLst>
            </p:cNvPr>
            <p:cNvSpPr/>
            <p:nvPr/>
          </p:nvSpPr>
          <p:spPr bwMode="auto">
            <a:xfrm>
              <a:off x="6478588" y="1954213"/>
              <a:ext cx="254000" cy="227013"/>
            </a:xfrm>
            <a:custGeom>
              <a:avLst/>
              <a:gdLst>
                <a:gd name="T0" fmla="*/ 70 w 96"/>
                <a:gd name="T1" fmla="*/ 86 h 86"/>
                <a:gd name="T2" fmla="*/ 36 w 96"/>
                <a:gd name="T3" fmla="*/ 40 h 86"/>
                <a:gd name="T4" fmla="*/ 26 w 96"/>
                <a:gd name="T5" fmla="*/ 55 h 86"/>
                <a:gd name="T6" fmla="*/ 0 w 96"/>
                <a:gd name="T7" fmla="*/ 52 h 86"/>
                <a:gd name="T8" fmla="*/ 58 w 96"/>
                <a:gd name="T9" fmla="*/ 17 h 86"/>
                <a:gd name="T10" fmla="*/ 70 w 96"/>
                <a:gd name="T1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86">
                  <a:moveTo>
                    <a:pt x="70" y="86"/>
                  </a:moveTo>
                  <a:cubicBezTo>
                    <a:pt x="70" y="86"/>
                    <a:pt x="36" y="82"/>
                    <a:pt x="36" y="40"/>
                  </a:cubicBezTo>
                  <a:cubicBezTo>
                    <a:pt x="36" y="40"/>
                    <a:pt x="34" y="50"/>
                    <a:pt x="26" y="55"/>
                  </a:cubicBezTo>
                  <a:cubicBezTo>
                    <a:pt x="19" y="59"/>
                    <a:pt x="5" y="58"/>
                    <a:pt x="0" y="52"/>
                  </a:cubicBezTo>
                  <a:cubicBezTo>
                    <a:pt x="0" y="52"/>
                    <a:pt x="7" y="0"/>
                    <a:pt x="58" y="17"/>
                  </a:cubicBezTo>
                  <a:cubicBezTo>
                    <a:pt x="66" y="20"/>
                    <a:pt x="96" y="30"/>
                    <a:pt x="70" y="86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2" name="işľïdè">
              <a:extLst>
                <a:ext uri="{FF2B5EF4-FFF2-40B4-BE49-F238E27FC236}">
                  <a16:creationId xmlns:a16="http://schemas.microsoft.com/office/drawing/2014/main" id="{BF557A67-4957-4026-BF4C-4DC4656D56A4}"/>
                </a:ext>
              </a:extLst>
            </p:cNvPr>
            <p:cNvSpPr/>
            <p:nvPr/>
          </p:nvSpPr>
          <p:spPr bwMode="auto">
            <a:xfrm>
              <a:off x="6581775" y="2097088"/>
              <a:ext cx="61913" cy="60325"/>
            </a:xfrm>
            <a:custGeom>
              <a:avLst/>
              <a:gdLst>
                <a:gd name="T0" fmla="*/ 22 w 23"/>
                <a:gd name="T1" fmla="*/ 13 h 23"/>
                <a:gd name="T2" fmla="*/ 12 w 23"/>
                <a:gd name="T3" fmla="*/ 1 h 23"/>
                <a:gd name="T4" fmla="*/ 0 w 23"/>
                <a:gd name="T5" fmla="*/ 11 h 23"/>
                <a:gd name="T6" fmla="*/ 10 w 23"/>
                <a:gd name="T7" fmla="*/ 23 h 23"/>
                <a:gd name="T8" fmla="*/ 22 w 23"/>
                <a:gd name="T9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2" y="13"/>
                  </a:moveTo>
                  <a:cubicBezTo>
                    <a:pt x="23" y="7"/>
                    <a:pt x="18" y="2"/>
                    <a:pt x="12" y="1"/>
                  </a:cubicBezTo>
                  <a:cubicBezTo>
                    <a:pt x="7" y="0"/>
                    <a:pt x="1" y="5"/>
                    <a:pt x="0" y="11"/>
                  </a:cubicBezTo>
                  <a:cubicBezTo>
                    <a:pt x="0" y="16"/>
                    <a:pt x="4" y="22"/>
                    <a:pt x="10" y="23"/>
                  </a:cubicBezTo>
                  <a:cubicBezTo>
                    <a:pt x="16" y="23"/>
                    <a:pt x="21" y="19"/>
                    <a:pt x="22" y="1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3" name="îṧḻïḑé">
              <a:extLst>
                <a:ext uri="{FF2B5EF4-FFF2-40B4-BE49-F238E27FC236}">
                  <a16:creationId xmlns:a16="http://schemas.microsoft.com/office/drawing/2014/main" id="{41B93126-DA0A-4EA6-AD76-A503CEE96C15}"/>
                </a:ext>
              </a:extLst>
            </p:cNvPr>
            <p:cNvSpPr/>
            <p:nvPr/>
          </p:nvSpPr>
          <p:spPr bwMode="auto">
            <a:xfrm>
              <a:off x="6648450" y="2124075"/>
              <a:ext cx="206375" cy="187325"/>
            </a:xfrm>
            <a:custGeom>
              <a:avLst/>
              <a:gdLst>
                <a:gd name="T0" fmla="*/ 9 w 78"/>
                <a:gd name="T1" fmla="*/ 7 h 71"/>
                <a:gd name="T2" fmla="*/ 29 w 78"/>
                <a:gd name="T3" fmla="*/ 2 h 71"/>
                <a:gd name="T4" fmla="*/ 52 w 78"/>
                <a:gd name="T5" fmla="*/ 36 h 71"/>
                <a:gd name="T6" fmla="*/ 77 w 78"/>
                <a:gd name="T7" fmla="*/ 53 h 71"/>
                <a:gd name="T8" fmla="*/ 59 w 78"/>
                <a:gd name="T9" fmla="*/ 70 h 71"/>
                <a:gd name="T10" fmla="*/ 29 w 78"/>
                <a:gd name="T11" fmla="*/ 47 h 71"/>
                <a:gd name="T12" fmla="*/ 10 w 78"/>
                <a:gd name="T13" fmla="*/ 12 h 71"/>
                <a:gd name="T14" fmla="*/ 9 w 78"/>
                <a:gd name="T15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1">
                  <a:moveTo>
                    <a:pt x="9" y="7"/>
                  </a:moveTo>
                  <a:cubicBezTo>
                    <a:pt x="9" y="7"/>
                    <a:pt x="16" y="0"/>
                    <a:pt x="29" y="2"/>
                  </a:cubicBezTo>
                  <a:cubicBezTo>
                    <a:pt x="42" y="5"/>
                    <a:pt x="48" y="23"/>
                    <a:pt x="52" y="36"/>
                  </a:cubicBezTo>
                  <a:cubicBezTo>
                    <a:pt x="56" y="49"/>
                    <a:pt x="66" y="58"/>
                    <a:pt x="77" y="53"/>
                  </a:cubicBezTo>
                  <a:cubicBezTo>
                    <a:pt x="77" y="53"/>
                    <a:pt x="78" y="69"/>
                    <a:pt x="59" y="70"/>
                  </a:cubicBezTo>
                  <a:cubicBezTo>
                    <a:pt x="40" y="71"/>
                    <a:pt x="34" y="58"/>
                    <a:pt x="29" y="47"/>
                  </a:cubicBezTo>
                  <a:cubicBezTo>
                    <a:pt x="25" y="36"/>
                    <a:pt x="20" y="9"/>
                    <a:pt x="10" y="12"/>
                  </a:cubicBezTo>
                  <a:cubicBezTo>
                    <a:pt x="0" y="16"/>
                    <a:pt x="9" y="7"/>
                    <a:pt x="9" y="7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4" name="ïṣḻiḓè">
              <a:extLst>
                <a:ext uri="{FF2B5EF4-FFF2-40B4-BE49-F238E27FC236}">
                  <a16:creationId xmlns:a16="http://schemas.microsoft.com/office/drawing/2014/main" id="{4A1FE2CE-47B2-4ED2-9A69-99B59F5FC1EA}"/>
                </a:ext>
              </a:extLst>
            </p:cNvPr>
            <p:cNvSpPr/>
            <p:nvPr/>
          </p:nvSpPr>
          <p:spPr bwMode="auto">
            <a:xfrm>
              <a:off x="6521450" y="1935163"/>
              <a:ext cx="201613" cy="153988"/>
            </a:xfrm>
            <a:custGeom>
              <a:avLst/>
              <a:gdLst>
                <a:gd name="T0" fmla="*/ 68 w 76"/>
                <a:gd name="T1" fmla="*/ 58 h 58"/>
                <a:gd name="T2" fmla="*/ 51 w 76"/>
                <a:gd name="T3" fmla="*/ 11 h 58"/>
                <a:gd name="T4" fmla="*/ 0 w 76"/>
                <a:gd name="T5" fmla="*/ 23 h 58"/>
                <a:gd name="T6" fmla="*/ 68 w 76"/>
                <a:gd name="T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58">
                  <a:moveTo>
                    <a:pt x="68" y="58"/>
                  </a:moveTo>
                  <a:cubicBezTo>
                    <a:pt x="76" y="44"/>
                    <a:pt x="71" y="23"/>
                    <a:pt x="51" y="11"/>
                  </a:cubicBezTo>
                  <a:cubicBezTo>
                    <a:pt x="30" y="0"/>
                    <a:pt x="10" y="9"/>
                    <a:pt x="0" y="23"/>
                  </a:cubicBezTo>
                  <a:lnTo>
                    <a:pt x="68" y="5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5" name="ïṧľíďé">
              <a:extLst>
                <a:ext uri="{FF2B5EF4-FFF2-40B4-BE49-F238E27FC236}">
                  <a16:creationId xmlns:a16="http://schemas.microsoft.com/office/drawing/2014/main" id="{30A071C0-EFAB-4812-BDAA-B7E8854F72F4}"/>
                </a:ext>
              </a:extLst>
            </p:cNvPr>
            <p:cNvSpPr/>
            <p:nvPr/>
          </p:nvSpPr>
          <p:spPr bwMode="auto">
            <a:xfrm>
              <a:off x="6478588" y="1974850"/>
              <a:ext cx="230188" cy="133350"/>
            </a:xfrm>
            <a:custGeom>
              <a:avLst/>
              <a:gdLst>
                <a:gd name="T0" fmla="*/ 140 w 145"/>
                <a:gd name="T1" fmla="*/ 84 h 84"/>
                <a:gd name="T2" fmla="*/ 0 w 145"/>
                <a:gd name="T3" fmla="*/ 12 h 84"/>
                <a:gd name="T4" fmla="*/ 5 w 145"/>
                <a:gd name="T5" fmla="*/ 0 h 84"/>
                <a:gd name="T6" fmla="*/ 145 w 145"/>
                <a:gd name="T7" fmla="*/ 72 h 84"/>
                <a:gd name="T8" fmla="*/ 140 w 145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84">
                  <a:moveTo>
                    <a:pt x="140" y="84"/>
                  </a:moveTo>
                  <a:lnTo>
                    <a:pt x="0" y="12"/>
                  </a:lnTo>
                  <a:lnTo>
                    <a:pt x="5" y="0"/>
                  </a:lnTo>
                  <a:lnTo>
                    <a:pt x="145" y="72"/>
                  </a:lnTo>
                  <a:lnTo>
                    <a:pt x="140" y="84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6" name="íš1ïḓe">
              <a:extLst>
                <a:ext uri="{FF2B5EF4-FFF2-40B4-BE49-F238E27FC236}">
                  <a16:creationId xmlns:a16="http://schemas.microsoft.com/office/drawing/2014/main" id="{72405520-BCAC-4918-AD06-2418CF4A16D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220663"/>
            </a:xfrm>
            <a:custGeom>
              <a:avLst/>
              <a:gdLst>
                <a:gd name="T0" fmla="*/ 159 w 173"/>
                <a:gd name="T1" fmla="*/ 83 h 83"/>
                <a:gd name="T2" fmla="*/ 15 w 173"/>
                <a:gd name="T3" fmla="*/ 83 h 83"/>
                <a:gd name="T4" fmla="*/ 0 w 173"/>
                <a:gd name="T5" fmla="*/ 69 h 83"/>
                <a:gd name="T6" fmla="*/ 0 w 173"/>
                <a:gd name="T7" fmla="*/ 0 h 83"/>
                <a:gd name="T8" fmla="*/ 173 w 173"/>
                <a:gd name="T9" fmla="*/ 0 h 83"/>
                <a:gd name="T10" fmla="*/ 173 w 173"/>
                <a:gd name="T11" fmla="*/ 69 h 83"/>
                <a:gd name="T12" fmla="*/ 159 w 173"/>
                <a:gd name="T1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83">
                  <a:moveTo>
                    <a:pt x="159" y="83"/>
                  </a:moveTo>
                  <a:cubicBezTo>
                    <a:pt x="15" y="83"/>
                    <a:pt x="15" y="83"/>
                    <a:pt x="15" y="83"/>
                  </a:cubicBezTo>
                  <a:cubicBezTo>
                    <a:pt x="7" y="83"/>
                    <a:pt x="0" y="77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3" y="69"/>
                    <a:pt x="173" y="69"/>
                    <a:pt x="173" y="69"/>
                  </a:cubicBezTo>
                  <a:cubicBezTo>
                    <a:pt x="173" y="77"/>
                    <a:pt x="166" y="83"/>
                    <a:pt x="159" y="8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7" name="íṥḷïdè">
              <a:extLst>
                <a:ext uri="{FF2B5EF4-FFF2-40B4-BE49-F238E27FC236}">
                  <a16:creationId xmlns:a16="http://schemas.microsoft.com/office/drawing/2014/main" id="{93F28E53-17BE-472F-9089-7943C776E63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19050"/>
            </a:xfrm>
            <a:prstGeom prst="rect">
              <a:avLst/>
            </a:pr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8" name="ïşľiḍé">
              <a:extLst>
                <a:ext uri="{FF2B5EF4-FFF2-40B4-BE49-F238E27FC236}">
                  <a16:creationId xmlns:a16="http://schemas.microsoft.com/office/drawing/2014/main" id="{A7FE82EF-645A-42E2-BF97-B39C12AB04B3}"/>
                </a:ext>
              </a:extLst>
            </p:cNvPr>
            <p:cNvSpPr/>
            <p:nvPr/>
          </p:nvSpPr>
          <p:spPr bwMode="auto">
            <a:xfrm>
              <a:off x="7037388" y="3328988"/>
              <a:ext cx="61913" cy="42863"/>
            </a:xfrm>
            <a:custGeom>
              <a:avLst/>
              <a:gdLst>
                <a:gd name="T0" fmla="*/ 0 w 23"/>
                <a:gd name="T1" fmla="*/ 0 h 16"/>
                <a:gd name="T2" fmla="*/ 23 w 23"/>
                <a:gd name="T3" fmla="*/ 0 h 16"/>
                <a:gd name="T4" fmla="*/ 22 w 23"/>
                <a:gd name="T5" fmla="*/ 14 h 16"/>
                <a:gd name="T6" fmla="*/ 19 w 23"/>
                <a:gd name="T7" fmla="*/ 16 h 16"/>
                <a:gd name="T8" fmla="*/ 4 w 23"/>
                <a:gd name="T9" fmla="*/ 16 h 16"/>
                <a:gd name="T10" fmla="*/ 1 w 23"/>
                <a:gd name="T11" fmla="*/ 14 h 16"/>
                <a:gd name="T12" fmla="*/ 0 w 2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1" y="16"/>
                    <a:pt x="19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5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9" name="îš1îḓé">
              <a:extLst>
                <a:ext uri="{FF2B5EF4-FFF2-40B4-BE49-F238E27FC236}">
                  <a16:creationId xmlns:a16="http://schemas.microsoft.com/office/drawing/2014/main" id="{AB8E1BAA-BB47-4068-B5EC-4239C6A55EE9}"/>
                </a:ext>
              </a:extLst>
            </p:cNvPr>
            <p:cNvSpPr/>
            <p:nvPr/>
          </p:nvSpPr>
          <p:spPr bwMode="auto">
            <a:xfrm>
              <a:off x="6831013" y="3248025"/>
              <a:ext cx="476250" cy="96838"/>
            </a:xfrm>
            <a:custGeom>
              <a:avLst/>
              <a:gdLst>
                <a:gd name="T0" fmla="*/ 9 w 180"/>
                <a:gd name="T1" fmla="*/ 0 h 37"/>
                <a:gd name="T2" fmla="*/ 170 w 180"/>
                <a:gd name="T3" fmla="*/ 0 h 37"/>
                <a:gd name="T4" fmla="*/ 180 w 180"/>
                <a:gd name="T5" fmla="*/ 9 h 37"/>
                <a:gd name="T6" fmla="*/ 180 w 180"/>
                <a:gd name="T7" fmla="*/ 37 h 37"/>
                <a:gd name="T8" fmla="*/ 0 w 180"/>
                <a:gd name="T9" fmla="*/ 37 h 37"/>
                <a:gd name="T10" fmla="*/ 0 w 180"/>
                <a:gd name="T11" fmla="*/ 9 h 37"/>
                <a:gd name="T12" fmla="*/ 9 w 18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37">
                  <a:moveTo>
                    <a:pt x="9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5" y="0"/>
                    <a:pt x="180" y="4"/>
                    <a:pt x="180" y="9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0" name="işḷïḓé">
              <a:extLst>
                <a:ext uri="{FF2B5EF4-FFF2-40B4-BE49-F238E27FC236}">
                  <a16:creationId xmlns:a16="http://schemas.microsoft.com/office/drawing/2014/main" id="{57C71467-BE38-481A-AE6F-5858A07F033D}"/>
                </a:ext>
              </a:extLst>
            </p:cNvPr>
            <p:cNvSpPr/>
            <p:nvPr/>
          </p:nvSpPr>
          <p:spPr bwMode="auto">
            <a:xfrm>
              <a:off x="685958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1" name="íṧ1îḍe">
              <a:extLst>
                <a:ext uri="{FF2B5EF4-FFF2-40B4-BE49-F238E27FC236}">
                  <a16:creationId xmlns:a16="http://schemas.microsoft.com/office/drawing/2014/main" id="{27A29A62-FEBF-4BC8-9789-F8105268CF10}"/>
                </a:ext>
              </a:extLst>
            </p:cNvPr>
            <p:cNvSpPr/>
            <p:nvPr/>
          </p:nvSpPr>
          <p:spPr bwMode="auto">
            <a:xfrm>
              <a:off x="6897688" y="3382963"/>
              <a:ext cx="15875" cy="168275"/>
            </a:xfrm>
            <a:custGeom>
              <a:avLst/>
              <a:gdLst>
                <a:gd name="T0" fmla="*/ 3 w 6"/>
                <a:gd name="T1" fmla="*/ 64 h 64"/>
                <a:gd name="T2" fmla="*/ 3 w 6"/>
                <a:gd name="T3" fmla="*/ 64 h 64"/>
                <a:gd name="T4" fmla="*/ 0 w 6"/>
                <a:gd name="T5" fmla="*/ 60 h 64"/>
                <a:gd name="T6" fmla="*/ 0 w 6"/>
                <a:gd name="T7" fmla="*/ 4 h 64"/>
                <a:gd name="T8" fmla="*/ 3 w 6"/>
                <a:gd name="T9" fmla="*/ 0 h 64"/>
                <a:gd name="T10" fmla="*/ 3 w 6"/>
                <a:gd name="T11" fmla="*/ 0 h 64"/>
                <a:gd name="T12" fmla="*/ 6 w 6"/>
                <a:gd name="T13" fmla="*/ 4 h 64"/>
                <a:gd name="T14" fmla="*/ 6 w 6"/>
                <a:gd name="T15" fmla="*/ 60 h 64"/>
                <a:gd name="T16" fmla="*/ 3 w 6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2" name="íŝ1îḋe">
              <a:extLst>
                <a:ext uri="{FF2B5EF4-FFF2-40B4-BE49-F238E27FC236}">
                  <a16:creationId xmlns:a16="http://schemas.microsoft.com/office/drawing/2014/main" id="{7392A10B-F0C1-4DE6-88E2-EC82F4E7DEEA}"/>
                </a:ext>
              </a:extLst>
            </p:cNvPr>
            <p:cNvSpPr/>
            <p:nvPr/>
          </p:nvSpPr>
          <p:spPr bwMode="auto">
            <a:xfrm>
              <a:off x="6931025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3" name="îşľîḍê">
              <a:extLst>
                <a:ext uri="{FF2B5EF4-FFF2-40B4-BE49-F238E27FC236}">
                  <a16:creationId xmlns:a16="http://schemas.microsoft.com/office/drawing/2014/main" id="{8D0EAE11-E86F-419B-943D-42B728820DAA}"/>
                </a:ext>
              </a:extLst>
            </p:cNvPr>
            <p:cNvSpPr/>
            <p:nvPr/>
          </p:nvSpPr>
          <p:spPr bwMode="auto">
            <a:xfrm>
              <a:off x="696912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4" name="iṧľïḓe">
              <a:extLst>
                <a:ext uri="{FF2B5EF4-FFF2-40B4-BE49-F238E27FC236}">
                  <a16:creationId xmlns:a16="http://schemas.microsoft.com/office/drawing/2014/main" id="{D388FFC9-A0E7-4166-A762-78D24B7C25FC}"/>
                </a:ext>
              </a:extLst>
            </p:cNvPr>
            <p:cNvSpPr/>
            <p:nvPr/>
          </p:nvSpPr>
          <p:spPr bwMode="auto">
            <a:xfrm>
              <a:off x="700563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5" name="îŝ1íḓê">
              <a:extLst>
                <a:ext uri="{FF2B5EF4-FFF2-40B4-BE49-F238E27FC236}">
                  <a16:creationId xmlns:a16="http://schemas.microsoft.com/office/drawing/2014/main" id="{1A6E156D-AB9D-4109-A419-3259B14BFBC7}"/>
                </a:ext>
              </a:extLst>
            </p:cNvPr>
            <p:cNvSpPr/>
            <p:nvPr/>
          </p:nvSpPr>
          <p:spPr bwMode="auto">
            <a:xfrm>
              <a:off x="704056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6" name="íŝḷiḑè">
              <a:extLst>
                <a:ext uri="{FF2B5EF4-FFF2-40B4-BE49-F238E27FC236}">
                  <a16:creationId xmlns:a16="http://schemas.microsoft.com/office/drawing/2014/main" id="{664628F5-42E7-489A-993B-FF22FA872E8E}"/>
                </a:ext>
              </a:extLst>
            </p:cNvPr>
            <p:cNvSpPr/>
            <p:nvPr/>
          </p:nvSpPr>
          <p:spPr bwMode="auto">
            <a:xfrm>
              <a:off x="707707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7" name="í$ľiḓé">
              <a:extLst>
                <a:ext uri="{FF2B5EF4-FFF2-40B4-BE49-F238E27FC236}">
                  <a16:creationId xmlns:a16="http://schemas.microsoft.com/office/drawing/2014/main" id="{6370D9E6-3389-4458-97EA-4930985AE6CC}"/>
                </a:ext>
              </a:extLst>
            </p:cNvPr>
            <p:cNvSpPr/>
            <p:nvPr/>
          </p:nvSpPr>
          <p:spPr bwMode="auto">
            <a:xfrm>
              <a:off x="711517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8" name="îšļiďé">
              <a:extLst>
                <a:ext uri="{FF2B5EF4-FFF2-40B4-BE49-F238E27FC236}">
                  <a16:creationId xmlns:a16="http://schemas.microsoft.com/office/drawing/2014/main" id="{B441541B-B4FE-4C0C-8286-BEE9332F549E}"/>
                </a:ext>
              </a:extLst>
            </p:cNvPr>
            <p:cNvSpPr/>
            <p:nvPr/>
          </p:nvSpPr>
          <p:spPr bwMode="auto">
            <a:xfrm>
              <a:off x="714851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9" name="iŝļïḓê">
              <a:extLst>
                <a:ext uri="{FF2B5EF4-FFF2-40B4-BE49-F238E27FC236}">
                  <a16:creationId xmlns:a16="http://schemas.microsoft.com/office/drawing/2014/main" id="{AF89367F-F860-4225-AD1F-9B82C7E7328C}"/>
                </a:ext>
              </a:extLst>
            </p:cNvPr>
            <p:cNvSpPr/>
            <p:nvPr/>
          </p:nvSpPr>
          <p:spPr bwMode="auto">
            <a:xfrm>
              <a:off x="7186613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0" name="íṩ1idê">
              <a:extLst>
                <a:ext uri="{FF2B5EF4-FFF2-40B4-BE49-F238E27FC236}">
                  <a16:creationId xmlns:a16="http://schemas.microsoft.com/office/drawing/2014/main" id="{D83E3489-93D8-4D98-A29E-621956C06F82}"/>
                </a:ext>
              </a:extLst>
            </p:cNvPr>
            <p:cNvSpPr/>
            <p:nvPr/>
          </p:nvSpPr>
          <p:spPr bwMode="auto">
            <a:xfrm>
              <a:off x="722312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1" name="iṧ1iḋé">
              <a:extLst>
                <a:ext uri="{FF2B5EF4-FFF2-40B4-BE49-F238E27FC236}">
                  <a16:creationId xmlns:a16="http://schemas.microsoft.com/office/drawing/2014/main" id="{328FD554-591A-45F0-B615-0E516D03899C}"/>
                </a:ext>
              </a:extLst>
            </p:cNvPr>
            <p:cNvSpPr/>
            <p:nvPr/>
          </p:nvSpPr>
          <p:spPr bwMode="auto">
            <a:xfrm>
              <a:off x="7258050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2" name="iṣľiḋe">
              <a:extLst>
                <a:ext uri="{FF2B5EF4-FFF2-40B4-BE49-F238E27FC236}">
                  <a16:creationId xmlns:a16="http://schemas.microsoft.com/office/drawing/2014/main" id="{E943221A-9FD7-4D9E-A7C0-1BC4D44F3C90}"/>
                </a:ext>
              </a:extLst>
            </p:cNvPr>
            <p:cNvSpPr/>
            <p:nvPr/>
          </p:nvSpPr>
          <p:spPr bwMode="auto">
            <a:xfrm>
              <a:off x="7178675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6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3" name="íš1îḋê">
              <a:extLst>
                <a:ext uri="{FF2B5EF4-FFF2-40B4-BE49-F238E27FC236}">
                  <a16:creationId xmlns:a16="http://schemas.microsoft.com/office/drawing/2014/main" id="{E60267AA-CDCB-410E-8163-946F66857D8B}"/>
                </a:ext>
              </a:extLst>
            </p:cNvPr>
            <p:cNvSpPr/>
            <p:nvPr/>
          </p:nvSpPr>
          <p:spPr bwMode="auto">
            <a:xfrm>
              <a:off x="6875463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7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4" name="íṣḷíḍê">
              <a:extLst>
                <a:ext uri="{FF2B5EF4-FFF2-40B4-BE49-F238E27FC236}">
                  <a16:creationId xmlns:a16="http://schemas.microsoft.com/office/drawing/2014/main" id="{CDE3BA28-ED32-4C2B-ACB5-A0DFF341A4F9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74613"/>
            </a:xfrm>
            <a:custGeom>
              <a:avLst/>
              <a:gdLst>
                <a:gd name="T0" fmla="*/ 65 w 65"/>
                <a:gd name="T1" fmla="*/ 28 h 28"/>
                <a:gd name="T2" fmla="*/ 57 w 65"/>
                <a:gd name="T3" fmla="*/ 28 h 28"/>
                <a:gd name="T4" fmla="*/ 57 w 65"/>
                <a:gd name="T5" fmla="*/ 11 h 28"/>
                <a:gd name="T6" fmla="*/ 54 w 65"/>
                <a:gd name="T7" fmla="*/ 8 h 28"/>
                <a:gd name="T8" fmla="*/ 11 w 65"/>
                <a:gd name="T9" fmla="*/ 8 h 28"/>
                <a:gd name="T10" fmla="*/ 8 w 65"/>
                <a:gd name="T11" fmla="*/ 11 h 28"/>
                <a:gd name="T12" fmla="*/ 8 w 65"/>
                <a:gd name="T13" fmla="*/ 28 h 28"/>
                <a:gd name="T14" fmla="*/ 0 w 65"/>
                <a:gd name="T15" fmla="*/ 28 h 28"/>
                <a:gd name="T16" fmla="*/ 0 w 65"/>
                <a:gd name="T17" fmla="*/ 11 h 28"/>
                <a:gd name="T18" fmla="*/ 11 w 65"/>
                <a:gd name="T19" fmla="*/ 0 h 28"/>
                <a:gd name="T20" fmla="*/ 54 w 65"/>
                <a:gd name="T21" fmla="*/ 0 h 28"/>
                <a:gd name="T22" fmla="*/ 65 w 65"/>
                <a:gd name="T23" fmla="*/ 11 h 28"/>
                <a:gd name="T24" fmla="*/ 65 w 65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28">
                  <a:moveTo>
                    <a:pt x="65" y="28"/>
                  </a:moveTo>
                  <a:cubicBezTo>
                    <a:pt x="57" y="28"/>
                    <a:pt x="57" y="28"/>
                    <a:pt x="57" y="28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7" y="9"/>
                    <a:pt x="56" y="8"/>
                    <a:pt x="54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8" y="9"/>
                    <a:pt x="8" y="11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0" y="0"/>
                    <a:pt x="65" y="5"/>
                    <a:pt x="65" y="11"/>
                  </a:cubicBezTo>
                  <a:lnTo>
                    <a:pt x="65" y="28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5" name="íṥḻïḓe">
              <a:extLst>
                <a:ext uri="{FF2B5EF4-FFF2-40B4-BE49-F238E27FC236}">
                  <a16:creationId xmlns:a16="http://schemas.microsoft.com/office/drawing/2014/main" id="{9B74D01E-B4FE-4B85-94DF-178387239A09}"/>
                </a:ext>
              </a:extLst>
            </p:cNvPr>
            <p:cNvSpPr/>
            <p:nvPr/>
          </p:nvSpPr>
          <p:spPr bwMode="auto">
            <a:xfrm>
              <a:off x="7132638" y="3236913"/>
              <a:ext cx="22225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6" name="íś1îdê">
              <a:extLst>
                <a:ext uri="{FF2B5EF4-FFF2-40B4-BE49-F238E27FC236}">
                  <a16:creationId xmlns:a16="http://schemas.microsoft.com/office/drawing/2014/main" id="{E280A17F-987F-41AB-8341-0EC7E2A181D0}"/>
                </a:ext>
              </a:extLst>
            </p:cNvPr>
            <p:cNvSpPr/>
            <p:nvPr/>
          </p:nvSpPr>
          <p:spPr bwMode="auto">
            <a:xfrm>
              <a:off x="6981825" y="3236913"/>
              <a:ext cx="20638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7" name="îṩļïḓè">
              <a:extLst>
                <a:ext uri="{FF2B5EF4-FFF2-40B4-BE49-F238E27FC236}">
                  <a16:creationId xmlns:a16="http://schemas.microsoft.com/office/drawing/2014/main" id="{720816F4-642D-469E-822C-9D565F498CDE}"/>
                </a:ext>
              </a:extLst>
            </p:cNvPr>
            <p:cNvSpPr/>
            <p:nvPr/>
          </p:nvSpPr>
          <p:spPr bwMode="auto">
            <a:xfrm>
              <a:off x="6899275" y="3324225"/>
              <a:ext cx="34925" cy="55563"/>
            </a:xfrm>
            <a:custGeom>
              <a:avLst/>
              <a:gdLst>
                <a:gd name="T0" fmla="*/ 4 w 13"/>
                <a:gd name="T1" fmla="*/ 0 h 21"/>
                <a:gd name="T2" fmla="*/ 8 w 13"/>
                <a:gd name="T3" fmla="*/ 0 h 21"/>
                <a:gd name="T4" fmla="*/ 13 w 13"/>
                <a:gd name="T5" fmla="*/ 5 h 21"/>
                <a:gd name="T6" fmla="*/ 13 w 13"/>
                <a:gd name="T7" fmla="*/ 17 h 21"/>
                <a:gd name="T8" fmla="*/ 8 w 13"/>
                <a:gd name="T9" fmla="*/ 21 h 21"/>
                <a:gd name="T10" fmla="*/ 4 w 13"/>
                <a:gd name="T11" fmla="*/ 21 h 21"/>
                <a:gd name="T12" fmla="*/ 0 w 13"/>
                <a:gd name="T13" fmla="*/ 17 h 21"/>
                <a:gd name="T14" fmla="*/ 0 w 13"/>
                <a:gd name="T15" fmla="*/ 5 h 21"/>
                <a:gd name="T16" fmla="*/ 4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5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9"/>
                    <a:pt x="11" y="21"/>
                    <a:pt x="8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2" y="21"/>
                    <a:pt x="0" y="19"/>
                    <a:pt x="0" y="1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8" name="íšļíḑê">
              <a:extLst>
                <a:ext uri="{FF2B5EF4-FFF2-40B4-BE49-F238E27FC236}">
                  <a16:creationId xmlns:a16="http://schemas.microsoft.com/office/drawing/2014/main" id="{F033DDB0-1E10-4486-92E2-514D3D4D2408}"/>
                </a:ext>
              </a:extLst>
            </p:cNvPr>
            <p:cNvSpPr/>
            <p:nvPr/>
          </p:nvSpPr>
          <p:spPr bwMode="auto">
            <a:xfrm>
              <a:off x="6899275" y="3300413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4 h 17"/>
                <a:gd name="T16" fmla="*/ 10 w 13"/>
                <a:gd name="T17" fmla="*/ 14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9" name="ïṣ1iḑè">
              <a:extLst>
                <a:ext uri="{FF2B5EF4-FFF2-40B4-BE49-F238E27FC236}">
                  <a16:creationId xmlns:a16="http://schemas.microsoft.com/office/drawing/2014/main" id="{DAB54A6D-7432-46BC-B02F-13823F86C2C1}"/>
                </a:ext>
              </a:extLst>
            </p:cNvPr>
            <p:cNvSpPr/>
            <p:nvPr/>
          </p:nvSpPr>
          <p:spPr bwMode="auto">
            <a:xfrm>
              <a:off x="6899275" y="3295650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5 h 17"/>
                <a:gd name="T16" fmla="*/ 10 w 13"/>
                <a:gd name="T17" fmla="*/ 15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5"/>
                  </a:moveTo>
                  <a:cubicBezTo>
                    <a:pt x="10" y="15"/>
                    <a:pt x="10" y="15"/>
                    <a:pt x="10" y="1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5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0" name="iŝľiḓé">
              <a:extLst>
                <a:ext uri="{FF2B5EF4-FFF2-40B4-BE49-F238E27FC236}">
                  <a16:creationId xmlns:a16="http://schemas.microsoft.com/office/drawing/2014/main" id="{E8D75979-D35B-4074-BB03-C17CC14AAE1E}"/>
                </a:ext>
              </a:extLst>
            </p:cNvPr>
            <p:cNvSpPr/>
            <p:nvPr/>
          </p:nvSpPr>
          <p:spPr bwMode="auto">
            <a:xfrm>
              <a:off x="6899275" y="3319463"/>
              <a:ext cx="34925" cy="52388"/>
            </a:xfrm>
            <a:custGeom>
              <a:avLst/>
              <a:gdLst>
                <a:gd name="T0" fmla="*/ 4 w 13"/>
                <a:gd name="T1" fmla="*/ 0 h 20"/>
                <a:gd name="T2" fmla="*/ 8 w 13"/>
                <a:gd name="T3" fmla="*/ 0 h 20"/>
                <a:gd name="T4" fmla="*/ 13 w 13"/>
                <a:gd name="T5" fmla="*/ 4 h 20"/>
                <a:gd name="T6" fmla="*/ 13 w 13"/>
                <a:gd name="T7" fmla="*/ 16 h 20"/>
                <a:gd name="T8" fmla="*/ 8 w 13"/>
                <a:gd name="T9" fmla="*/ 20 h 20"/>
                <a:gd name="T10" fmla="*/ 4 w 13"/>
                <a:gd name="T11" fmla="*/ 20 h 20"/>
                <a:gd name="T12" fmla="*/ 0 w 13"/>
                <a:gd name="T13" fmla="*/ 16 h 20"/>
                <a:gd name="T14" fmla="*/ 0 w 13"/>
                <a:gd name="T15" fmla="*/ 4 h 20"/>
                <a:gd name="T16" fmla="*/ 4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8"/>
                    <a:pt x="11" y="20"/>
                    <a:pt x="8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1" name="îṡḻiďê">
              <a:extLst>
                <a:ext uri="{FF2B5EF4-FFF2-40B4-BE49-F238E27FC236}">
                  <a16:creationId xmlns:a16="http://schemas.microsoft.com/office/drawing/2014/main" id="{1A2D7D05-59A5-4954-A4AF-C96CB5E70C13}"/>
                </a:ext>
              </a:extLst>
            </p:cNvPr>
            <p:cNvSpPr/>
            <p:nvPr/>
          </p:nvSpPr>
          <p:spPr bwMode="auto">
            <a:xfrm>
              <a:off x="6910388" y="3344863"/>
              <a:ext cx="23813" cy="26988"/>
            </a:xfrm>
            <a:custGeom>
              <a:avLst/>
              <a:gdLst>
                <a:gd name="T0" fmla="*/ 7 w 9"/>
                <a:gd name="T1" fmla="*/ 8 h 10"/>
                <a:gd name="T2" fmla="*/ 8 w 9"/>
                <a:gd name="T3" fmla="*/ 0 h 10"/>
                <a:gd name="T4" fmla="*/ 9 w 9"/>
                <a:gd name="T5" fmla="*/ 0 h 10"/>
                <a:gd name="T6" fmla="*/ 9 w 9"/>
                <a:gd name="T7" fmla="*/ 6 h 10"/>
                <a:gd name="T8" fmla="*/ 4 w 9"/>
                <a:gd name="T9" fmla="*/ 10 h 10"/>
                <a:gd name="T10" fmla="*/ 0 w 9"/>
                <a:gd name="T11" fmla="*/ 10 h 10"/>
                <a:gd name="T12" fmla="*/ 7 w 9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8"/>
                  </a:moveTo>
                  <a:cubicBezTo>
                    <a:pt x="8" y="7"/>
                    <a:pt x="8" y="5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9"/>
                    <a:pt x="7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6" y="9"/>
                    <a:pt x="7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2" name="iŝḻidê">
              <a:extLst>
                <a:ext uri="{FF2B5EF4-FFF2-40B4-BE49-F238E27FC236}">
                  <a16:creationId xmlns:a16="http://schemas.microsoft.com/office/drawing/2014/main" id="{121FA008-05B4-4883-85D3-F85FEBAC1552}"/>
                </a:ext>
              </a:extLst>
            </p:cNvPr>
            <p:cNvSpPr/>
            <p:nvPr/>
          </p:nvSpPr>
          <p:spPr bwMode="auto">
            <a:xfrm>
              <a:off x="6899275" y="3344863"/>
              <a:ext cx="34925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3" name="íṩḷídè">
              <a:extLst>
                <a:ext uri="{FF2B5EF4-FFF2-40B4-BE49-F238E27FC236}">
                  <a16:creationId xmlns:a16="http://schemas.microsoft.com/office/drawing/2014/main" id="{340738F9-833B-4526-B916-2A5821E3D385}"/>
                </a:ext>
              </a:extLst>
            </p:cNvPr>
            <p:cNvSpPr/>
            <p:nvPr/>
          </p:nvSpPr>
          <p:spPr bwMode="auto">
            <a:xfrm>
              <a:off x="7202488" y="3324225"/>
              <a:ext cx="33338" cy="55563"/>
            </a:xfrm>
            <a:custGeom>
              <a:avLst/>
              <a:gdLst>
                <a:gd name="T0" fmla="*/ 9 w 13"/>
                <a:gd name="T1" fmla="*/ 0 h 21"/>
                <a:gd name="T2" fmla="*/ 5 w 13"/>
                <a:gd name="T3" fmla="*/ 0 h 21"/>
                <a:gd name="T4" fmla="*/ 0 w 13"/>
                <a:gd name="T5" fmla="*/ 5 h 21"/>
                <a:gd name="T6" fmla="*/ 0 w 13"/>
                <a:gd name="T7" fmla="*/ 17 h 21"/>
                <a:gd name="T8" fmla="*/ 5 w 13"/>
                <a:gd name="T9" fmla="*/ 21 h 21"/>
                <a:gd name="T10" fmla="*/ 9 w 13"/>
                <a:gd name="T11" fmla="*/ 21 h 21"/>
                <a:gd name="T12" fmla="*/ 13 w 13"/>
                <a:gd name="T13" fmla="*/ 17 h 21"/>
                <a:gd name="T14" fmla="*/ 13 w 13"/>
                <a:gd name="T15" fmla="*/ 5 h 21"/>
                <a:gd name="T16" fmla="*/ 9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2" y="21"/>
                    <a:pt x="5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1" y="21"/>
                    <a:pt x="13" y="19"/>
                    <a:pt x="13" y="1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4" name="íş1ïďe">
              <a:extLst>
                <a:ext uri="{FF2B5EF4-FFF2-40B4-BE49-F238E27FC236}">
                  <a16:creationId xmlns:a16="http://schemas.microsoft.com/office/drawing/2014/main" id="{65C8DD7D-0FCF-44E5-97FB-944BE9CC4D7A}"/>
                </a:ext>
              </a:extLst>
            </p:cNvPr>
            <p:cNvSpPr/>
            <p:nvPr/>
          </p:nvSpPr>
          <p:spPr bwMode="auto">
            <a:xfrm>
              <a:off x="7202488" y="3300413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4 h 17"/>
                <a:gd name="T24" fmla="*/ 11 w 13"/>
                <a:gd name="T25" fmla="*/ 14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5" name="i$ļîḑè">
              <a:extLst>
                <a:ext uri="{FF2B5EF4-FFF2-40B4-BE49-F238E27FC236}">
                  <a16:creationId xmlns:a16="http://schemas.microsoft.com/office/drawing/2014/main" id="{CFC7D27B-E1EA-4A83-9035-4A2182A2E1CE}"/>
                </a:ext>
              </a:extLst>
            </p:cNvPr>
            <p:cNvSpPr/>
            <p:nvPr/>
          </p:nvSpPr>
          <p:spPr bwMode="auto">
            <a:xfrm>
              <a:off x="7202488" y="3295650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5 h 17"/>
                <a:gd name="T24" fmla="*/ 11 w 13"/>
                <a:gd name="T25" fmla="*/ 15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6" name="íṣļïḋè">
              <a:extLst>
                <a:ext uri="{FF2B5EF4-FFF2-40B4-BE49-F238E27FC236}">
                  <a16:creationId xmlns:a16="http://schemas.microsoft.com/office/drawing/2014/main" id="{149EE908-9823-4F11-9937-47CA3410A891}"/>
                </a:ext>
              </a:extLst>
            </p:cNvPr>
            <p:cNvSpPr/>
            <p:nvPr/>
          </p:nvSpPr>
          <p:spPr bwMode="auto">
            <a:xfrm>
              <a:off x="7202488" y="3319463"/>
              <a:ext cx="33338" cy="52388"/>
            </a:xfrm>
            <a:custGeom>
              <a:avLst/>
              <a:gdLst>
                <a:gd name="T0" fmla="*/ 9 w 13"/>
                <a:gd name="T1" fmla="*/ 0 h 20"/>
                <a:gd name="T2" fmla="*/ 5 w 13"/>
                <a:gd name="T3" fmla="*/ 0 h 20"/>
                <a:gd name="T4" fmla="*/ 0 w 13"/>
                <a:gd name="T5" fmla="*/ 4 h 20"/>
                <a:gd name="T6" fmla="*/ 0 w 13"/>
                <a:gd name="T7" fmla="*/ 16 h 20"/>
                <a:gd name="T8" fmla="*/ 5 w 13"/>
                <a:gd name="T9" fmla="*/ 20 h 20"/>
                <a:gd name="T10" fmla="*/ 9 w 13"/>
                <a:gd name="T11" fmla="*/ 20 h 20"/>
                <a:gd name="T12" fmla="*/ 13 w 13"/>
                <a:gd name="T13" fmla="*/ 16 h 20"/>
                <a:gd name="T14" fmla="*/ 13 w 13"/>
                <a:gd name="T15" fmla="*/ 4 h 20"/>
                <a:gd name="T16" fmla="*/ 9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2" y="20"/>
                    <a:pt x="5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1" y="20"/>
                    <a:pt x="13" y="18"/>
                    <a:pt x="13" y="16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7" name="í$1îḋê">
              <a:extLst>
                <a:ext uri="{FF2B5EF4-FFF2-40B4-BE49-F238E27FC236}">
                  <a16:creationId xmlns:a16="http://schemas.microsoft.com/office/drawing/2014/main" id="{3A80CC29-C674-4C91-8A86-FACB21134338}"/>
                </a:ext>
              </a:extLst>
            </p:cNvPr>
            <p:cNvSpPr/>
            <p:nvPr/>
          </p:nvSpPr>
          <p:spPr bwMode="auto">
            <a:xfrm>
              <a:off x="7037388" y="3316288"/>
              <a:ext cx="61913" cy="44450"/>
            </a:xfrm>
            <a:custGeom>
              <a:avLst/>
              <a:gdLst>
                <a:gd name="T0" fmla="*/ 0 w 23"/>
                <a:gd name="T1" fmla="*/ 0 h 17"/>
                <a:gd name="T2" fmla="*/ 23 w 23"/>
                <a:gd name="T3" fmla="*/ 0 h 17"/>
                <a:gd name="T4" fmla="*/ 22 w 23"/>
                <a:gd name="T5" fmla="*/ 14 h 17"/>
                <a:gd name="T6" fmla="*/ 19 w 23"/>
                <a:gd name="T7" fmla="*/ 17 h 17"/>
                <a:gd name="T8" fmla="*/ 4 w 23"/>
                <a:gd name="T9" fmla="*/ 17 h 17"/>
                <a:gd name="T10" fmla="*/ 1 w 23"/>
                <a:gd name="T11" fmla="*/ 14 h 17"/>
                <a:gd name="T12" fmla="*/ 0 w 23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7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6"/>
                    <a:pt x="21" y="17"/>
                    <a:pt x="19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2" y="16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8" name="iṧļíḓe">
              <a:extLst>
                <a:ext uri="{FF2B5EF4-FFF2-40B4-BE49-F238E27FC236}">
                  <a16:creationId xmlns:a16="http://schemas.microsoft.com/office/drawing/2014/main" id="{7E295338-1861-4B85-BE4C-20E3EA99B75C}"/>
                </a:ext>
              </a:extLst>
            </p:cNvPr>
            <p:cNvSpPr/>
            <p:nvPr/>
          </p:nvSpPr>
          <p:spPr bwMode="auto">
            <a:xfrm>
              <a:off x="7056438" y="3314700"/>
              <a:ext cx="23813" cy="36513"/>
            </a:xfrm>
            <a:custGeom>
              <a:avLst/>
              <a:gdLst>
                <a:gd name="T0" fmla="*/ 9 w 9"/>
                <a:gd name="T1" fmla="*/ 5 h 14"/>
                <a:gd name="T2" fmla="*/ 4 w 9"/>
                <a:gd name="T3" fmla="*/ 1 h 14"/>
                <a:gd name="T4" fmla="*/ 0 w 9"/>
                <a:gd name="T5" fmla="*/ 4 h 14"/>
                <a:gd name="T6" fmla="*/ 3 w 9"/>
                <a:gd name="T7" fmla="*/ 9 h 14"/>
                <a:gd name="T8" fmla="*/ 2 w 9"/>
                <a:gd name="T9" fmla="*/ 13 h 14"/>
                <a:gd name="T10" fmla="*/ 3 w 9"/>
                <a:gd name="T11" fmla="*/ 14 h 14"/>
                <a:gd name="T12" fmla="*/ 7 w 9"/>
                <a:gd name="T13" fmla="*/ 14 h 14"/>
                <a:gd name="T14" fmla="*/ 7 w 9"/>
                <a:gd name="T15" fmla="*/ 13 h 14"/>
                <a:gd name="T16" fmla="*/ 6 w 9"/>
                <a:gd name="T17" fmla="*/ 9 h 14"/>
                <a:gd name="T18" fmla="*/ 9 w 9"/>
                <a:gd name="T1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4">
                  <a:moveTo>
                    <a:pt x="9" y="5"/>
                  </a:moveTo>
                  <a:cubicBezTo>
                    <a:pt x="9" y="2"/>
                    <a:pt x="7" y="0"/>
                    <a:pt x="4" y="1"/>
                  </a:cubicBezTo>
                  <a:cubicBezTo>
                    <a:pt x="2" y="1"/>
                    <a:pt x="1" y="2"/>
                    <a:pt x="0" y="4"/>
                  </a:cubicBezTo>
                  <a:cubicBezTo>
                    <a:pt x="0" y="6"/>
                    <a:pt x="1" y="8"/>
                    <a:pt x="3" y="9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4"/>
                    <a:pt x="3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3"/>
                    <a:pt x="7" y="13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8"/>
                    <a:pt x="9" y="7"/>
                    <a:pt x="9" y="5"/>
                  </a:cubicBezTo>
                  <a:close/>
                </a:path>
              </a:pathLst>
            </a:custGeom>
            <a:solidFill>
              <a:srgbClr val="193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9" name="îṥļïḑê">
              <a:extLst>
                <a:ext uri="{FF2B5EF4-FFF2-40B4-BE49-F238E27FC236}">
                  <a16:creationId xmlns:a16="http://schemas.microsoft.com/office/drawing/2014/main" id="{13832323-EC9B-4A06-80C2-B5F867299CBF}"/>
                </a:ext>
              </a:extLst>
            </p:cNvPr>
            <p:cNvSpPr/>
            <p:nvPr/>
          </p:nvSpPr>
          <p:spPr bwMode="auto">
            <a:xfrm>
              <a:off x="7178675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0" name="îṧľïdé">
              <a:extLst>
                <a:ext uri="{FF2B5EF4-FFF2-40B4-BE49-F238E27FC236}">
                  <a16:creationId xmlns:a16="http://schemas.microsoft.com/office/drawing/2014/main" id="{F880DF02-8966-4DD5-A126-1E143EE5454F}"/>
                </a:ext>
              </a:extLst>
            </p:cNvPr>
            <p:cNvSpPr/>
            <p:nvPr/>
          </p:nvSpPr>
          <p:spPr bwMode="auto">
            <a:xfrm>
              <a:off x="6875463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1" name="íṡ1íḓè">
              <a:extLst>
                <a:ext uri="{FF2B5EF4-FFF2-40B4-BE49-F238E27FC236}">
                  <a16:creationId xmlns:a16="http://schemas.microsoft.com/office/drawing/2014/main" id="{902F0C2E-DC16-4F25-A78E-E63C482C03F0}"/>
                </a:ext>
              </a:extLst>
            </p:cNvPr>
            <p:cNvSpPr/>
            <p:nvPr/>
          </p:nvSpPr>
          <p:spPr bwMode="auto">
            <a:xfrm>
              <a:off x="6854825" y="3248025"/>
              <a:ext cx="452438" cy="96838"/>
            </a:xfrm>
            <a:custGeom>
              <a:avLst/>
              <a:gdLst>
                <a:gd name="T0" fmla="*/ 161 w 171"/>
                <a:gd name="T1" fmla="*/ 0 h 37"/>
                <a:gd name="T2" fmla="*/ 0 w 171"/>
                <a:gd name="T3" fmla="*/ 0 h 37"/>
                <a:gd name="T4" fmla="*/ 160 w 171"/>
                <a:gd name="T5" fmla="*/ 4 h 37"/>
                <a:gd name="T6" fmla="*/ 165 w 171"/>
                <a:gd name="T7" fmla="*/ 9 h 37"/>
                <a:gd name="T8" fmla="*/ 165 w 171"/>
                <a:gd name="T9" fmla="*/ 37 h 37"/>
                <a:gd name="T10" fmla="*/ 171 w 171"/>
                <a:gd name="T11" fmla="*/ 37 h 37"/>
                <a:gd name="T12" fmla="*/ 171 w 171"/>
                <a:gd name="T13" fmla="*/ 9 h 37"/>
                <a:gd name="T14" fmla="*/ 161 w 171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37">
                  <a:moveTo>
                    <a:pt x="16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3" y="4"/>
                    <a:pt x="165" y="6"/>
                    <a:pt x="165" y="9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71" y="9"/>
                    <a:pt x="171" y="9"/>
                    <a:pt x="171" y="9"/>
                  </a:cubicBezTo>
                  <a:cubicBezTo>
                    <a:pt x="171" y="4"/>
                    <a:pt x="166" y="0"/>
                    <a:pt x="161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2" name="iślídê">
              <a:extLst>
                <a:ext uri="{FF2B5EF4-FFF2-40B4-BE49-F238E27FC236}">
                  <a16:creationId xmlns:a16="http://schemas.microsoft.com/office/drawing/2014/main" id="{2BD5387E-F147-4319-B830-E83AF8E1F299}"/>
                </a:ext>
              </a:extLst>
            </p:cNvPr>
            <p:cNvSpPr/>
            <p:nvPr/>
          </p:nvSpPr>
          <p:spPr bwMode="auto">
            <a:xfrm>
              <a:off x="6910388" y="3319463"/>
              <a:ext cx="23813" cy="25400"/>
            </a:xfrm>
            <a:custGeom>
              <a:avLst/>
              <a:gdLst>
                <a:gd name="T0" fmla="*/ 7 w 9"/>
                <a:gd name="T1" fmla="*/ 2 h 10"/>
                <a:gd name="T2" fmla="*/ 8 w 9"/>
                <a:gd name="T3" fmla="*/ 10 h 10"/>
                <a:gd name="T4" fmla="*/ 9 w 9"/>
                <a:gd name="T5" fmla="*/ 10 h 10"/>
                <a:gd name="T6" fmla="*/ 9 w 9"/>
                <a:gd name="T7" fmla="*/ 4 h 10"/>
                <a:gd name="T8" fmla="*/ 4 w 9"/>
                <a:gd name="T9" fmla="*/ 0 h 10"/>
                <a:gd name="T10" fmla="*/ 0 w 9"/>
                <a:gd name="T11" fmla="*/ 0 h 10"/>
                <a:gd name="T12" fmla="*/ 7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2"/>
                  </a:moveTo>
                  <a:cubicBezTo>
                    <a:pt x="8" y="3"/>
                    <a:pt x="8" y="5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1"/>
                    <a:pt x="7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1"/>
                    <a:pt x="7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3" name="íšḷíďe">
              <a:extLst>
                <a:ext uri="{FF2B5EF4-FFF2-40B4-BE49-F238E27FC236}">
                  <a16:creationId xmlns:a16="http://schemas.microsoft.com/office/drawing/2014/main" id="{2D5816A2-6B92-4781-AA47-3400DC18D885}"/>
                </a:ext>
              </a:extLst>
            </p:cNvPr>
            <p:cNvSpPr/>
            <p:nvPr/>
          </p:nvSpPr>
          <p:spPr bwMode="auto">
            <a:xfrm>
              <a:off x="7215188" y="3344863"/>
              <a:ext cx="20638" cy="26988"/>
            </a:xfrm>
            <a:custGeom>
              <a:avLst/>
              <a:gdLst>
                <a:gd name="T0" fmla="*/ 6 w 8"/>
                <a:gd name="T1" fmla="*/ 8 h 10"/>
                <a:gd name="T2" fmla="*/ 7 w 8"/>
                <a:gd name="T3" fmla="*/ 0 h 10"/>
                <a:gd name="T4" fmla="*/ 8 w 8"/>
                <a:gd name="T5" fmla="*/ 0 h 10"/>
                <a:gd name="T6" fmla="*/ 8 w 8"/>
                <a:gd name="T7" fmla="*/ 6 h 10"/>
                <a:gd name="T8" fmla="*/ 4 w 8"/>
                <a:gd name="T9" fmla="*/ 10 h 10"/>
                <a:gd name="T10" fmla="*/ 0 w 8"/>
                <a:gd name="T11" fmla="*/ 10 h 10"/>
                <a:gd name="T12" fmla="*/ 6 w 8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8"/>
                  </a:moveTo>
                  <a:cubicBezTo>
                    <a:pt x="7" y="7"/>
                    <a:pt x="7" y="5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9"/>
                    <a:pt x="6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5" y="9"/>
                    <a:pt x="6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4" name="íṧľíde">
              <a:extLst>
                <a:ext uri="{FF2B5EF4-FFF2-40B4-BE49-F238E27FC236}">
                  <a16:creationId xmlns:a16="http://schemas.microsoft.com/office/drawing/2014/main" id="{49A4A060-62AA-47A0-B672-F5C03DAD1E0E}"/>
                </a:ext>
              </a:extLst>
            </p:cNvPr>
            <p:cNvSpPr/>
            <p:nvPr/>
          </p:nvSpPr>
          <p:spPr bwMode="auto">
            <a:xfrm>
              <a:off x="7202488" y="3344863"/>
              <a:ext cx="33338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5" name="îṩ1ïḍè">
              <a:extLst>
                <a:ext uri="{FF2B5EF4-FFF2-40B4-BE49-F238E27FC236}">
                  <a16:creationId xmlns:a16="http://schemas.microsoft.com/office/drawing/2014/main" id="{B6BB2011-CE29-4CAF-BF6F-4D1579862D4A}"/>
                </a:ext>
              </a:extLst>
            </p:cNvPr>
            <p:cNvSpPr/>
            <p:nvPr/>
          </p:nvSpPr>
          <p:spPr bwMode="auto">
            <a:xfrm>
              <a:off x="7215188" y="3319463"/>
              <a:ext cx="20638" cy="25400"/>
            </a:xfrm>
            <a:custGeom>
              <a:avLst/>
              <a:gdLst>
                <a:gd name="T0" fmla="*/ 6 w 8"/>
                <a:gd name="T1" fmla="*/ 2 h 10"/>
                <a:gd name="T2" fmla="*/ 7 w 8"/>
                <a:gd name="T3" fmla="*/ 10 h 10"/>
                <a:gd name="T4" fmla="*/ 8 w 8"/>
                <a:gd name="T5" fmla="*/ 10 h 10"/>
                <a:gd name="T6" fmla="*/ 8 w 8"/>
                <a:gd name="T7" fmla="*/ 4 h 10"/>
                <a:gd name="T8" fmla="*/ 4 w 8"/>
                <a:gd name="T9" fmla="*/ 0 h 10"/>
                <a:gd name="T10" fmla="*/ 0 w 8"/>
                <a:gd name="T11" fmla="*/ 0 h 10"/>
                <a:gd name="T12" fmla="*/ 6 w 8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2"/>
                  </a:moveTo>
                  <a:cubicBezTo>
                    <a:pt x="7" y="3"/>
                    <a:pt x="7" y="5"/>
                    <a:pt x="7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6" name="ïṥ1íḋê">
              <a:extLst>
                <a:ext uri="{FF2B5EF4-FFF2-40B4-BE49-F238E27FC236}">
                  <a16:creationId xmlns:a16="http://schemas.microsoft.com/office/drawing/2014/main" id="{50B9730D-A355-4FBF-8AFD-4AAA92E99C6D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34925"/>
            </a:xfrm>
            <a:custGeom>
              <a:avLst/>
              <a:gdLst>
                <a:gd name="T0" fmla="*/ 54 w 65"/>
                <a:gd name="T1" fmla="*/ 0 h 13"/>
                <a:gd name="T2" fmla="*/ 11 w 65"/>
                <a:gd name="T3" fmla="*/ 0 h 13"/>
                <a:gd name="T4" fmla="*/ 0 w 65"/>
                <a:gd name="T5" fmla="*/ 11 h 13"/>
                <a:gd name="T6" fmla="*/ 0 w 65"/>
                <a:gd name="T7" fmla="*/ 13 h 13"/>
                <a:gd name="T8" fmla="*/ 10 w 65"/>
                <a:gd name="T9" fmla="*/ 3 h 13"/>
                <a:gd name="T10" fmla="*/ 55 w 65"/>
                <a:gd name="T11" fmla="*/ 3 h 13"/>
                <a:gd name="T12" fmla="*/ 65 w 65"/>
                <a:gd name="T13" fmla="*/ 13 h 13"/>
                <a:gd name="T14" fmla="*/ 65 w 65"/>
                <a:gd name="T15" fmla="*/ 11 h 13"/>
                <a:gd name="T16" fmla="*/ 54 w 65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3">
                  <a:moveTo>
                    <a:pt x="5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"/>
                    <a:pt x="5" y="3"/>
                    <a:pt x="10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61" y="3"/>
                    <a:pt x="65" y="8"/>
                    <a:pt x="65" y="13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5"/>
                    <a:pt x="60" y="0"/>
                    <a:pt x="54" y="0"/>
                  </a:cubicBez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7" name="îṣ1idé">
              <a:extLst>
                <a:ext uri="{FF2B5EF4-FFF2-40B4-BE49-F238E27FC236}">
                  <a16:creationId xmlns:a16="http://schemas.microsoft.com/office/drawing/2014/main" id="{492C446C-C357-44B6-924A-4C4C134F6FD1}"/>
                </a:ext>
              </a:extLst>
            </p:cNvPr>
            <p:cNvSpPr/>
            <p:nvPr/>
          </p:nvSpPr>
          <p:spPr bwMode="auto">
            <a:xfrm>
              <a:off x="6251575" y="1531938"/>
              <a:ext cx="25400" cy="12065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8" name="iśľïḑé">
              <a:extLst>
                <a:ext uri="{FF2B5EF4-FFF2-40B4-BE49-F238E27FC236}">
                  <a16:creationId xmlns:a16="http://schemas.microsoft.com/office/drawing/2014/main" id="{8C98EEBC-0B81-4A7B-988C-0D726DCCEFAA}"/>
                </a:ext>
              </a:extLst>
            </p:cNvPr>
            <p:cNvSpPr/>
            <p:nvPr/>
          </p:nvSpPr>
          <p:spPr bwMode="auto">
            <a:xfrm>
              <a:off x="5978525" y="1222375"/>
              <a:ext cx="2343150" cy="247650"/>
            </a:xfrm>
            <a:custGeom>
              <a:avLst/>
              <a:gdLst>
                <a:gd name="T0" fmla="*/ 1476 w 1476"/>
                <a:gd name="T1" fmla="*/ 156 h 156"/>
                <a:gd name="T2" fmla="*/ 0 w 1476"/>
                <a:gd name="T3" fmla="*/ 156 h 156"/>
                <a:gd name="T4" fmla="*/ 202 w 1476"/>
                <a:gd name="T5" fmla="*/ 0 h 156"/>
                <a:gd name="T6" fmla="*/ 1476 w 1476"/>
                <a:gd name="T7" fmla="*/ 0 h 156"/>
                <a:gd name="T8" fmla="*/ 1476 w 1476"/>
                <a:gd name="T9" fmla="*/ 156 h 156"/>
                <a:gd name="T10" fmla="*/ 50 w 1476"/>
                <a:gd name="T11" fmla="*/ 140 h 156"/>
                <a:gd name="T12" fmla="*/ 1460 w 1476"/>
                <a:gd name="T13" fmla="*/ 140 h 156"/>
                <a:gd name="T14" fmla="*/ 1460 w 1476"/>
                <a:gd name="T15" fmla="*/ 16 h 156"/>
                <a:gd name="T16" fmla="*/ 208 w 1476"/>
                <a:gd name="T17" fmla="*/ 16 h 156"/>
                <a:gd name="T18" fmla="*/ 50 w 1476"/>
                <a:gd name="T19" fmla="*/ 14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56">
                  <a:moveTo>
                    <a:pt x="1476" y="156"/>
                  </a:moveTo>
                  <a:lnTo>
                    <a:pt x="0" y="156"/>
                  </a:lnTo>
                  <a:lnTo>
                    <a:pt x="202" y="0"/>
                  </a:lnTo>
                  <a:lnTo>
                    <a:pt x="1476" y="0"/>
                  </a:lnTo>
                  <a:lnTo>
                    <a:pt x="1476" y="156"/>
                  </a:lnTo>
                  <a:close/>
                  <a:moveTo>
                    <a:pt x="50" y="140"/>
                  </a:moveTo>
                  <a:lnTo>
                    <a:pt x="1460" y="140"/>
                  </a:lnTo>
                  <a:lnTo>
                    <a:pt x="1460" y="16"/>
                  </a:lnTo>
                  <a:lnTo>
                    <a:pt x="208" y="16"/>
                  </a:lnTo>
                  <a:lnTo>
                    <a:pt x="50" y="14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9" name="iśḻíḍè">
              <a:extLst>
                <a:ext uri="{FF2B5EF4-FFF2-40B4-BE49-F238E27FC236}">
                  <a16:creationId xmlns:a16="http://schemas.microsoft.com/office/drawing/2014/main" id="{F68F5C6A-DA1B-4F68-B2DA-6648FE0C58EA}"/>
                </a:ext>
              </a:extLst>
            </p:cNvPr>
            <p:cNvSpPr/>
            <p:nvPr/>
          </p:nvSpPr>
          <p:spPr bwMode="auto">
            <a:xfrm>
              <a:off x="7535863" y="40497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1 h 150"/>
                <a:gd name="T12" fmla="*/ 297 w 315"/>
                <a:gd name="T13" fmla="*/ 131 h 150"/>
                <a:gd name="T14" fmla="*/ 297 w 315"/>
                <a:gd name="T15" fmla="*/ 16 h 150"/>
                <a:gd name="T16" fmla="*/ 17 w 315"/>
                <a:gd name="T17" fmla="*/ 16 h 150"/>
                <a:gd name="T18" fmla="*/ 17 w 315"/>
                <a:gd name="T19" fmla="*/ 1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1"/>
                  </a:moveTo>
                  <a:lnTo>
                    <a:pt x="297" y="131"/>
                  </a:lnTo>
                  <a:lnTo>
                    <a:pt x="297" y="16"/>
                  </a:lnTo>
                  <a:lnTo>
                    <a:pt x="17" y="16"/>
                  </a:lnTo>
                  <a:lnTo>
                    <a:pt x="17" y="131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0" name="išľïḓe">
              <a:extLst>
                <a:ext uri="{FF2B5EF4-FFF2-40B4-BE49-F238E27FC236}">
                  <a16:creationId xmlns:a16="http://schemas.microsoft.com/office/drawing/2014/main" id="{9C5264C4-1F6F-475F-8D5A-683715EB72CB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6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1" name="íṩḻîḍé">
              <a:extLst>
                <a:ext uri="{FF2B5EF4-FFF2-40B4-BE49-F238E27FC236}">
                  <a16:creationId xmlns:a16="http://schemas.microsoft.com/office/drawing/2014/main" id="{98DD7F63-21FD-404E-A7E1-631F274446F5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6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2" name="îşļïḑè">
              <a:extLst>
                <a:ext uri="{FF2B5EF4-FFF2-40B4-BE49-F238E27FC236}">
                  <a16:creationId xmlns:a16="http://schemas.microsoft.com/office/drawing/2014/main" id="{37F21F30-6CA2-4D8B-8DB3-6C90B484A75F}"/>
                </a:ext>
              </a:extLst>
            </p:cNvPr>
            <p:cNvSpPr/>
            <p:nvPr/>
          </p:nvSpPr>
          <p:spPr bwMode="auto">
            <a:xfrm>
              <a:off x="7535863" y="383698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4 h 150"/>
                <a:gd name="T12" fmla="*/ 297 w 315"/>
                <a:gd name="T13" fmla="*/ 134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4"/>
                  </a:moveTo>
                  <a:lnTo>
                    <a:pt x="297" y="134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3" name="ï$ḷïḍé">
              <a:extLst>
                <a:ext uri="{FF2B5EF4-FFF2-40B4-BE49-F238E27FC236}">
                  <a16:creationId xmlns:a16="http://schemas.microsoft.com/office/drawing/2014/main" id="{D2B49452-9FD8-4A09-B463-DC5AD1E422A3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4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4" name="îšḻíḑe">
              <a:extLst>
                <a:ext uri="{FF2B5EF4-FFF2-40B4-BE49-F238E27FC236}">
                  <a16:creationId xmlns:a16="http://schemas.microsoft.com/office/drawing/2014/main" id="{B3995B82-8FE2-4BE4-9BC7-51D6DFF6442C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4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5" name="îṥ1ïḋè">
              <a:extLst>
                <a:ext uri="{FF2B5EF4-FFF2-40B4-BE49-F238E27FC236}">
                  <a16:creationId xmlns:a16="http://schemas.microsoft.com/office/drawing/2014/main" id="{266DA65E-52F9-49AD-904A-7E500198A787}"/>
                </a:ext>
              </a:extLst>
            </p:cNvPr>
            <p:cNvSpPr/>
            <p:nvPr/>
          </p:nvSpPr>
          <p:spPr bwMode="auto">
            <a:xfrm>
              <a:off x="7535863" y="36258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6" name="îṧḻïďé">
              <a:extLst>
                <a:ext uri="{FF2B5EF4-FFF2-40B4-BE49-F238E27FC236}">
                  <a16:creationId xmlns:a16="http://schemas.microsoft.com/office/drawing/2014/main" id="{57EC744B-5EB6-45B0-8D2B-47A7D70E144F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7" name="îṡḻïḋé">
              <a:extLst>
                <a:ext uri="{FF2B5EF4-FFF2-40B4-BE49-F238E27FC236}">
                  <a16:creationId xmlns:a16="http://schemas.microsoft.com/office/drawing/2014/main" id="{EFB7552C-D207-4087-ABFB-9C8D09F38881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8" name="i$ḷîḍe">
              <a:extLst>
                <a:ext uri="{FF2B5EF4-FFF2-40B4-BE49-F238E27FC236}">
                  <a16:creationId xmlns:a16="http://schemas.microsoft.com/office/drawing/2014/main" id="{4CA6561D-7E59-43B6-9EAC-9D88AF653998}"/>
                </a:ext>
              </a:extLst>
            </p:cNvPr>
            <p:cNvSpPr/>
            <p:nvPr/>
          </p:nvSpPr>
          <p:spPr bwMode="auto">
            <a:xfrm>
              <a:off x="7535863" y="34163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9" name="íśļîḍê">
              <a:extLst>
                <a:ext uri="{FF2B5EF4-FFF2-40B4-BE49-F238E27FC236}">
                  <a16:creationId xmlns:a16="http://schemas.microsoft.com/office/drawing/2014/main" id="{C62F5C54-3C24-4ED9-8ED3-3CB49062CAFF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0" name="íšḷïdê">
              <a:extLst>
                <a:ext uri="{FF2B5EF4-FFF2-40B4-BE49-F238E27FC236}">
                  <a16:creationId xmlns:a16="http://schemas.microsoft.com/office/drawing/2014/main" id="{299E842A-4867-4A07-9605-7F141F09817B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1" name="íŝḷíḍê">
              <a:extLst>
                <a:ext uri="{FF2B5EF4-FFF2-40B4-BE49-F238E27FC236}">
                  <a16:creationId xmlns:a16="http://schemas.microsoft.com/office/drawing/2014/main" id="{E9E7BDDB-7B15-450F-B3CC-3BED0E9DC7F4}"/>
                </a:ext>
              </a:extLst>
            </p:cNvPr>
            <p:cNvSpPr/>
            <p:nvPr/>
          </p:nvSpPr>
          <p:spPr bwMode="auto">
            <a:xfrm>
              <a:off x="7535863" y="320516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2" name="íSliḋe">
              <a:extLst>
                <a:ext uri="{FF2B5EF4-FFF2-40B4-BE49-F238E27FC236}">
                  <a16:creationId xmlns:a16="http://schemas.microsoft.com/office/drawing/2014/main" id="{56E76DB4-1B6B-49EF-930F-6A3635FFDE83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3" name="ïṣļíḍè">
              <a:extLst>
                <a:ext uri="{FF2B5EF4-FFF2-40B4-BE49-F238E27FC236}">
                  <a16:creationId xmlns:a16="http://schemas.microsoft.com/office/drawing/2014/main" id="{1FAF872C-7CDF-4A6E-BCC6-CCA52E804F25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4" name="íş1ïḍê">
              <a:extLst>
                <a:ext uri="{FF2B5EF4-FFF2-40B4-BE49-F238E27FC236}">
                  <a16:creationId xmlns:a16="http://schemas.microsoft.com/office/drawing/2014/main" id="{538BBDBD-E780-44ED-8CD3-B249AF1F55E5}"/>
                </a:ext>
              </a:extLst>
            </p:cNvPr>
            <p:cNvSpPr/>
            <p:nvPr/>
          </p:nvSpPr>
          <p:spPr bwMode="auto">
            <a:xfrm>
              <a:off x="7535863" y="299402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5" name="ïšľïḑe">
              <a:extLst>
                <a:ext uri="{FF2B5EF4-FFF2-40B4-BE49-F238E27FC236}">
                  <a16:creationId xmlns:a16="http://schemas.microsoft.com/office/drawing/2014/main" id="{B51D1FE4-E848-47C0-B8F2-FA1536343551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6" name="îṧliḑé">
              <a:extLst>
                <a:ext uri="{FF2B5EF4-FFF2-40B4-BE49-F238E27FC236}">
                  <a16:creationId xmlns:a16="http://schemas.microsoft.com/office/drawing/2014/main" id="{6442ED25-6220-4F47-8BC1-91B7360C6D37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7" name="ïṧḻiḋè">
              <a:extLst>
                <a:ext uri="{FF2B5EF4-FFF2-40B4-BE49-F238E27FC236}">
                  <a16:creationId xmlns:a16="http://schemas.microsoft.com/office/drawing/2014/main" id="{6FD82E2E-3802-4A79-A973-A139F68F39D2}"/>
                </a:ext>
              </a:extLst>
            </p:cNvPr>
            <p:cNvSpPr/>
            <p:nvPr/>
          </p:nvSpPr>
          <p:spPr bwMode="auto">
            <a:xfrm>
              <a:off x="7535863" y="278447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8" name="ïśḻíḓê">
              <a:extLst>
                <a:ext uri="{FF2B5EF4-FFF2-40B4-BE49-F238E27FC236}">
                  <a16:creationId xmlns:a16="http://schemas.microsoft.com/office/drawing/2014/main" id="{7486AEDB-72F0-4ABC-A63F-8719B28C071A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9" name="íşľíḑe">
              <a:extLst>
                <a:ext uri="{FF2B5EF4-FFF2-40B4-BE49-F238E27FC236}">
                  <a16:creationId xmlns:a16="http://schemas.microsoft.com/office/drawing/2014/main" id="{9757F853-4BC5-43D1-8685-E8ACD40409B7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0" name="îṩľïḍè">
              <a:extLst>
                <a:ext uri="{FF2B5EF4-FFF2-40B4-BE49-F238E27FC236}">
                  <a16:creationId xmlns:a16="http://schemas.microsoft.com/office/drawing/2014/main" id="{FFC79EC3-62C3-44CB-9120-4A0FC38B0B69}"/>
                </a:ext>
              </a:extLst>
            </p:cNvPr>
            <p:cNvSpPr/>
            <p:nvPr/>
          </p:nvSpPr>
          <p:spPr bwMode="auto">
            <a:xfrm>
              <a:off x="7535863" y="257333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1" name="íṡļiḑè">
              <a:extLst>
                <a:ext uri="{FF2B5EF4-FFF2-40B4-BE49-F238E27FC236}">
                  <a16:creationId xmlns:a16="http://schemas.microsoft.com/office/drawing/2014/main" id="{E7B67540-80E8-4FBD-8D62-CB766D04D0E1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2" name="ïŝ1iḍé">
              <a:extLst>
                <a:ext uri="{FF2B5EF4-FFF2-40B4-BE49-F238E27FC236}">
                  <a16:creationId xmlns:a16="http://schemas.microsoft.com/office/drawing/2014/main" id="{48E1B3F8-7596-43C1-9F00-A5AB21481678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3" name="î$ḷïde">
              <a:extLst>
                <a:ext uri="{FF2B5EF4-FFF2-40B4-BE49-F238E27FC236}">
                  <a16:creationId xmlns:a16="http://schemas.microsoft.com/office/drawing/2014/main" id="{01B36387-0A18-4E19-8033-6F4948FAE008}"/>
                </a:ext>
              </a:extLst>
            </p:cNvPr>
            <p:cNvSpPr/>
            <p:nvPr/>
          </p:nvSpPr>
          <p:spPr bwMode="auto">
            <a:xfrm>
              <a:off x="7535863" y="23622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4" name="ïṡ1îḓé">
              <a:extLst>
                <a:ext uri="{FF2B5EF4-FFF2-40B4-BE49-F238E27FC236}">
                  <a16:creationId xmlns:a16="http://schemas.microsoft.com/office/drawing/2014/main" id="{EA56C0F1-696C-498E-9146-EBDEB0B6AC52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5 h 149"/>
                <a:gd name="T4" fmla="*/ 7 w 305"/>
                <a:gd name="T5" fmla="*/ 0 h 149"/>
                <a:gd name="T6" fmla="*/ 305 w 305"/>
                <a:gd name="T7" fmla="*/ 132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2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5" name="îśliḍe">
              <a:extLst>
                <a:ext uri="{FF2B5EF4-FFF2-40B4-BE49-F238E27FC236}">
                  <a16:creationId xmlns:a16="http://schemas.microsoft.com/office/drawing/2014/main" id="{3800661C-E486-4CB9-8C40-FC2C39520C6C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2 h 149"/>
                <a:gd name="T4" fmla="*/ 298 w 305"/>
                <a:gd name="T5" fmla="*/ 0 h 149"/>
                <a:gd name="T6" fmla="*/ 305 w 305"/>
                <a:gd name="T7" fmla="*/ 15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2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6" name="iSľíḓê">
              <a:extLst>
                <a:ext uri="{FF2B5EF4-FFF2-40B4-BE49-F238E27FC236}">
                  <a16:creationId xmlns:a16="http://schemas.microsoft.com/office/drawing/2014/main" id="{1CCE88FE-A292-4667-8DCD-DA2F8E7570B1}"/>
                </a:ext>
              </a:extLst>
            </p:cNvPr>
            <p:cNvSpPr/>
            <p:nvPr/>
          </p:nvSpPr>
          <p:spPr bwMode="auto">
            <a:xfrm>
              <a:off x="7535863" y="21526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7" name="ïṣḷîḓe">
              <a:extLst>
                <a:ext uri="{FF2B5EF4-FFF2-40B4-BE49-F238E27FC236}">
                  <a16:creationId xmlns:a16="http://schemas.microsoft.com/office/drawing/2014/main" id="{99182EA6-2640-425E-9C65-43A3E3C4099C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7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8" name="î$ļïďè">
              <a:extLst>
                <a:ext uri="{FF2B5EF4-FFF2-40B4-BE49-F238E27FC236}">
                  <a16:creationId xmlns:a16="http://schemas.microsoft.com/office/drawing/2014/main" id="{7B666BF0-ECB2-4423-A42C-A8E01155E537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7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9" name="íšliḓe">
              <a:extLst>
                <a:ext uri="{FF2B5EF4-FFF2-40B4-BE49-F238E27FC236}">
                  <a16:creationId xmlns:a16="http://schemas.microsoft.com/office/drawing/2014/main" id="{E3F2A0E8-ECAC-496B-9B21-B0FA66903A26}"/>
                </a:ext>
              </a:extLst>
            </p:cNvPr>
            <p:cNvSpPr/>
            <p:nvPr/>
          </p:nvSpPr>
          <p:spPr bwMode="auto">
            <a:xfrm>
              <a:off x="7535863" y="19415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0" name="íṧḷïḑe">
              <a:extLst>
                <a:ext uri="{FF2B5EF4-FFF2-40B4-BE49-F238E27FC236}">
                  <a16:creationId xmlns:a16="http://schemas.microsoft.com/office/drawing/2014/main" id="{D4D85031-F789-448A-96C3-37F2DADE6F79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6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1" name="iṧľiďè">
              <a:extLst>
                <a:ext uri="{FF2B5EF4-FFF2-40B4-BE49-F238E27FC236}">
                  <a16:creationId xmlns:a16="http://schemas.microsoft.com/office/drawing/2014/main" id="{9ECE2F13-8387-46F7-B6A0-6CDD3C11F412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6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2" name="íSļïďé">
              <a:extLst>
                <a:ext uri="{FF2B5EF4-FFF2-40B4-BE49-F238E27FC236}">
                  <a16:creationId xmlns:a16="http://schemas.microsoft.com/office/drawing/2014/main" id="{86E6E65E-D7C7-49D3-A1B6-CA356AD74424}"/>
                </a:ext>
              </a:extLst>
            </p:cNvPr>
            <p:cNvSpPr/>
            <p:nvPr/>
          </p:nvSpPr>
          <p:spPr bwMode="auto">
            <a:xfrm>
              <a:off x="7416800" y="1470025"/>
              <a:ext cx="736600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3" name="íṩļiďè">
              <a:extLst>
                <a:ext uri="{FF2B5EF4-FFF2-40B4-BE49-F238E27FC236}">
                  <a16:creationId xmlns:a16="http://schemas.microsoft.com/office/drawing/2014/main" id="{0CCC46F6-AD95-4E4C-8383-98FAD6E08E0A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4" name="iṧľïḑé">
              <a:extLst>
                <a:ext uri="{FF2B5EF4-FFF2-40B4-BE49-F238E27FC236}">
                  <a16:creationId xmlns:a16="http://schemas.microsoft.com/office/drawing/2014/main" id="{6A02C9ED-48D6-4CDE-B67D-371904FDDE21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custGeom>
              <a:avLst/>
              <a:gdLst>
                <a:gd name="T0" fmla="*/ 0 w 464"/>
                <a:gd name="T1" fmla="*/ 80 h 80"/>
                <a:gd name="T2" fmla="*/ 464 w 464"/>
                <a:gd name="T3" fmla="*/ 0 h 80"/>
                <a:gd name="T4" fmla="*/ 0 w 464"/>
                <a:gd name="T5" fmla="*/ 0 h 80"/>
                <a:gd name="T6" fmla="*/ 0 w 464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4" h="80">
                  <a:moveTo>
                    <a:pt x="0" y="80"/>
                  </a:moveTo>
                  <a:lnTo>
                    <a:pt x="464" y="0"/>
                  </a:lnTo>
                  <a:lnTo>
                    <a:pt x="0" y="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5" name="ïşlídê">
              <a:extLst>
                <a:ext uri="{FF2B5EF4-FFF2-40B4-BE49-F238E27FC236}">
                  <a16:creationId xmlns:a16="http://schemas.microsoft.com/office/drawing/2014/main" id="{F223A903-AD1D-4405-9AA9-54C2A84C2C47}"/>
                </a:ext>
              </a:extLst>
            </p:cNvPr>
            <p:cNvSpPr/>
            <p:nvPr/>
          </p:nvSpPr>
          <p:spPr bwMode="auto">
            <a:xfrm>
              <a:off x="7802563" y="1504950"/>
              <a:ext cx="350838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6" name="iš1îḋê">
              <a:extLst>
                <a:ext uri="{FF2B5EF4-FFF2-40B4-BE49-F238E27FC236}">
                  <a16:creationId xmlns:a16="http://schemas.microsoft.com/office/drawing/2014/main" id="{C67F7C49-AAE2-4D38-8908-9416B4F48ADB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7" name="îṥliḑê">
              <a:extLst>
                <a:ext uri="{FF2B5EF4-FFF2-40B4-BE49-F238E27FC236}">
                  <a16:creationId xmlns:a16="http://schemas.microsoft.com/office/drawing/2014/main" id="{3D8591D9-1C15-4B8E-90F5-655535FCF398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custGeom>
              <a:avLst/>
              <a:gdLst>
                <a:gd name="T0" fmla="*/ 215 w 215"/>
                <a:gd name="T1" fmla="*/ 45 h 203"/>
                <a:gd name="T2" fmla="*/ 57 w 215"/>
                <a:gd name="T3" fmla="*/ 203 h 203"/>
                <a:gd name="T4" fmla="*/ 0 w 215"/>
                <a:gd name="T5" fmla="*/ 203 h 203"/>
                <a:gd name="T6" fmla="*/ 204 w 215"/>
                <a:gd name="T7" fmla="*/ 0 h 203"/>
                <a:gd name="T8" fmla="*/ 215 w 215"/>
                <a:gd name="T9" fmla="*/ 0 h 203"/>
                <a:gd name="T10" fmla="*/ 215 w 215"/>
                <a:gd name="T11" fmla="*/ 4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03">
                  <a:moveTo>
                    <a:pt x="215" y="45"/>
                  </a:moveTo>
                  <a:lnTo>
                    <a:pt x="57" y="203"/>
                  </a:lnTo>
                  <a:lnTo>
                    <a:pt x="0" y="203"/>
                  </a:lnTo>
                  <a:lnTo>
                    <a:pt x="204" y="0"/>
                  </a:lnTo>
                  <a:lnTo>
                    <a:pt x="215" y="0"/>
                  </a:lnTo>
                  <a:lnTo>
                    <a:pt x="215" y="45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8" name="ïṣḻïďè">
              <a:extLst>
                <a:ext uri="{FF2B5EF4-FFF2-40B4-BE49-F238E27FC236}">
                  <a16:creationId xmlns:a16="http://schemas.microsoft.com/office/drawing/2014/main" id="{19027FB9-E9B7-4EDE-80FB-E51355BFBD96}"/>
                </a:ext>
              </a:extLst>
            </p:cNvPr>
            <p:cNvSpPr/>
            <p:nvPr/>
          </p:nvSpPr>
          <p:spPr bwMode="auto">
            <a:xfrm>
              <a:off x="7461250" y="1504950"/>
              <a:ext cx="300038" cy="298450"/>
            </a:xfrm>
            <a:custGeom>
              <a:avLst/>
              <a:gdLst>
                <a:gd name="T0" fmla="*/ 189 w 189"/>
                <a:gd name="T1" fmla="*/ 0 h 188"/>
                <a:gd name="T2" fmla="*/ 0 w 189"/>
                <a:gd name="T3" fmla="*/ 188 h 188"/>
                <a:gd name="T4" fmla="*/ 0 w 189"/>
                <a:gd name="T5" fmla="*/ 180 h 188"/>
                <a:gd name="T6" fmla="*/ 182 w 189"/>
                <a:gd name="T7" fmla="*/ 0 h 188"/>
                <a:gd name="T8" fmla="*/ 189 w 189"/>
                <a:gd name="T9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88">
                  <a:moveTo>
                    <a:pt x="189" y="0"/>
                  </a:moveTo>
                  <a:lnTo>
                    <a:pt x="0" y="188"/>
                  </a:lnTo>
                  <a:lnTo>
                    <a:pt x="0" y="180"/>
                  </a:lnTo>
                  <a:lnTo>
                    <a:pt x="182" y="0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9" name="í$ḷiďê">
              <a:extLst>
                <a:ext uri="{FF2B5EF4-FFF2-40B4-BE49-F238E27FC236}">
                  <a16:creationId xmlns:a16="http://schemas.microsoft.com/office/drawing/2014/main" id="{FCAD9548-8055-452A-A3E8-A66D3B4B7D96}"/>
                </a:ext>
              </a:extLst>
            </p:cNvPr>
            <p:cNvSpPr/>
            <p:nvPr/>
          </p:nvSpPr>
          <p:spPr bwMode="auto">
            <a:xfrm>
              <a:off x="8015288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0" name="ïṡlïḋê">
              <a:extLst>
                <a:ext uri="{FF2B5EF4-FFF2-40B4-BE49-F238E27FC236}">
                  <a16:creationId xmlns:a16="http://schemas.microsoft.com/office/drawing/2014/main" id="{9C5ACEBF-17D3-401B-9D1E-0D40901CD8E0}"/>
                </a:ext>
              </a:extLst>
            </p:cNvPr>
            <p:cNvSpPr/>
            <p:nvPr/>
          </p:nvSpPr>
          <p:spPr bwMode="auto">
            <a:xfrm>
              <a:off x="7726363" y="1223963"/>
              <a:ext cx="304800" cy="244475"/>
            </a:xfrm>
            <a:custGeom>
              <a:avLst/>
              <a:gdLst>
                <a:gd name="T0" fmla="*/ 12 w 192"/>
                <a:gd name="T1" fmla="*/ 154 h 154"/>
                <a:gd name="T2" fmla="*/ 0 w 192"/>
                <a:gd name="T3" fmla="*/ 140 h 154"/>
                <a:gd name="T4" fmla="*/ 182 w 192"/>
                <a:gd name="T5" fmla="*/ 0 h 154"/>
                <a:gd name="T6" fmla="*/ 192 w 192"/>
                <a:gd name="T7" fmla="*/ 14 h 154"/>
                <a:gd name="T8" fmla="*/ 12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2" y="154"/>
                  </a:moveTo>
                  <a:lnTo>
                    <a:pt x="0" y="140"/>
                  </a:lnTo>
                  <a:lnTo>
                    <a:pt x="182" y="0"/>
                  </a:lnTo>
                  <a:lnTo>
                    <a:pt x="192" y="14"/>
                  </a:lnTo>
                  <a:lnTo>
                    <a:pt x="12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1" name="iSḻîḓe">
              <a:extLst>
                <a:ext uri="{FF2B5EF4-FFF2-40B4-BE49-F238E27FC236}">
                  <a16:creationId xmlns:a16="http://schemas.microsoft.com/office/drawing/2014/main" id="{BA238390-AC66-4808-8775-A85D8B31B45D}"/>
                </a:ext>
              </a:extLst>
            </p:cNvPr>
            <p:cNvSpPr/>
            <p:nvPr/>
          </p:nvSpPr>
          <p:spPr bwMode="auto">
            <a:xfrm>
              <a:off x="7440613" y="1223963"/>
              <a:ext cx="304800" cy="244475"/>
            </a:xfrm>
            <a:custGeom>
              <a:avLst/>
              <a:gdLst>
                <a:gd name="T0" fmla="*/ 180 w 192"/>
                <a:gd name="T1" fmla="*/ 154 h 154"/>
                <a:gd name="T2" fmla="*/ 0 w 192"/>
                <a:gd name="T3" fmla="*/ 14 h 154"/>
                <a:gd name="T4" fmla="*/ 11 w 192"/>
                <a:gd name="T5" fmla="*/ 0 h 154"/>
                <a:gd name="T6" fmla="*/ 192 w 192"/>
                <a:gd name="T7" fmla="*/ 140 h 154"/>
                <a:gd name="T8" fmla="*/ 18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0" y="154"/>
                  </a:moveTo>
                  <a:lnTo>
                    <a:pt x="0" y="14"/>
                  </a:lnTo>
                  <a:lnTo>
                    <a:pt x="11" y="0"/>
                  </a:lnTo>
                  <a:lnTo>
                    <a:pt x="192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2" name="îšlîḍè">
              <a:extLst>
                <a:ext uri="{FF2B5EF4-FFF2-40B4-BE49-F238E27FC236}">
                  <a16:creationId xmlns:a16="http://schemas.microsoft.com/office/drawing/2014/main" id="{4AAD4801-3A27-4D27-BD5A-16B7034C9950}"/>
                </a:ext>
              </a:extLst>
            </p:cNvPr>
            <p:cNvSpPr/>
            <p:nvPr/>
          </p:nvSpPr>
          <p:spPr bwMode="auto">
            <a:xfrm>
              <a:off x="7154863" y="1223963"/>
              <a:ext cx="303213" cy="244475"/>
            </a:xfrm>
            <a:custGeom>
              <a:avLst/>
              <a:gdLst>
                <a:gd name="T0" fmla="*/ 11 w 191"/>
                <a:gd name="T1" fmla="*/ 154 h 154"/>
                <a:gd name="T2" fmla="*/ 0 w 191"/>
                <a:gd name="T3" fmla="*/ 140 h 154"/>
                <a:gd name="T4" fmla="*/ 180 w 191"/>
                <a:gd name="T5" fmla="*/ 0 h 154"/>
                <a:gd name="T6" fmla="*/ 191 w 191"/>
                <a:gd name="T7" fmla="*/ 14 h 154"/>
                <a:gd name="T8" fmla="*/ 11 w 191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54">
                  <a:moveTo>
                    <a:pt x="11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1" y="14"/>
                  </a:lnTo>
                  <a:lnTo>
                    <a:pt x="1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3" name="iSlîdê">
              <a:extLst>
                <a:ext uri="{FF2B5EF4-FFF2-40B4-BE49-F238E27FC236}">
                  <a16:creationId xmlns:a16="http://schemas.microsoft.com/office/drawing/2014/main" id="{29A9EAC8-02FA-4E62-A5D7-61B4F8CB55F3}"/>
                </a:ext>
              </a:extLst>
            </p:cNvPr>
            <p:cNvSpPr/>
            <p:nvPr/>
          </p:nvSpPr>
          <p:spPr bwMode="auto">
            <a:xfrm>
              <a:off x="6867525" y="1223963"/>
              <a:ext cx="304800" cy="244475"/>
            </a:xfrm>
            <a:custGeom>
              <a:avLst/>
              <a:gdLst>
                <a:gd name="T0" fmla="*/ 181 w 192"/>
                <a:gd name="T1" fmla="*/ 154 h 154"/>
                <a:gd name="T2" fmla="*/ 0 w 192"/>
                <a:gd name="T3" fmla="*/ 14 h 154"/>
                <a:gd name="T4" fmla="*/ 12 w 192"/>
                <a:gd name="T5" fmla="*/ 0 h 154"/>
                <a:gd name="T6" fmla="*/ 192 w 192"/>
                <a:gd name="T7" fmla="*/ 140 h 154"/>
                <a:gd name="T8" fmla="*/ 181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1" y="154"/>
                  </a:moveTo>
                  <a:lnTo>
                    <a:pt x="0" y="14"/>
                  </a:lnTo>
                  <a:lnTo>
                    <a:pt x="12" y="0"/>
                  </a:lnTo>
                  <a:lnTo>
                    <a:pt x="192" y="140"/>
                  </a:lnTo>
                  <a:lnTo>
                    <a:pt x="18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4" name="îS1iďê">
              <a:extLst>
                <a:ext uri="{FF2B5EF4-FFF2-40B4-BE49-F238E27FC236}">
                  <a16:creationId xmlns:a16="http://schemas.microsoft.com/office/drawing/2014/main" id="{B15A3770-A938-4A39-9353-CE01AA92E8F9}"/>
                </a:ext>
              </a:extLst>
            </p:cNvPr>
            <p:cNvSpPr/>
            <p:nvPr/>
          </p:nvSpPr>
          <p:spPr bwMode="auto">
            <a:xfrm>
              <a:off x="6581775" y="1223963"/>
              <a:ext cx="304800" cy="244475"/>
            </a:xfrm>
            <a:custGeom>
              <a:avLst/>
              <a:gdLst>
                <a:gd name="T0" fmla="*/ 10 w 192"/>
                <a:gd name="T1" fmla="*/ 154 h 154"/>
                <a:gd name="T2" fmla="*/ 0 w 192"/>
                <a:gd name="T3" fmla="*/ 140 h 154"/>
                <a:gd name="T4" fmla="*/ 180 w 192"/>
                <a:gd name="T5" fmla="*/ 0 h 154"/>
                <a:gd name="T6" fmla="*/ 192 w 192"/>
                <a:gd name="T7" fmla="*/ 14 h 154"/>
                <a:gd name="T8" fmla="*/ 1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2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5" name="işḻiḓê">
              <a:extLst>
                <a:ext uri="{FF2B5EF4-FFF2-40B4-BE49-F238E27FC236}">
                  <a16:creationId xmlns:a16="http://schemas.microsoft.com/office/drawing/2014/main" id="{F94B8D54-485A-4755-822C-067814DE4292}"/>
                </a:ext>
              </a:extLst>
            </p:cNvPr>
            <p:cNvSpPr/>
            <p:nvPr/>
          </p:nvSpPr>
          <p:spPr bwMode="auto">
            <a:xfrm>
              <a:off x="6296025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6" name="îšlíďè">
              <a:extLst>
                <a:ext uri="{FF2B5EF4-FFF2-40B4-BE49-F238E27FC236}">
                  <a16:creationId xmlns:a16="http://schemas.microsoft.com/office/drawing/2014/main" id="{1BED34F9-5A55-471F-8038-4F5ABE8A2E5F}"/>
                </a:ext>
              </a:extLst>
            </p:cNvPr>
            <p:cNvSpPr/>
            <p:nvPr/>
          </p:nvSpPr>
          <p:spPr bwMode="auto">
            <a:xfrm>
              <a:off x="6010275" y="1223963"/>
              <a:ext cx="301625" cy="244475"/>
            </a:xfrm>
            <a:custGeom>
              <a:avLst/>
              <a:gdLst>
                <a:gd name="T0" fmla="*/ 10 w 190"/>
                <a:gd name="T1" fmla="*/ 154 h 154"/>
                <a:gd name="T2" fmla="*/ 0 w 190"/>
                <a:gd name="T3" fmla="*/ 140 h 154"/>
                <a:gd name="T4" fmla="*/ 180 w 190"/>
                <a:gd name="T5" fmla="*/ 0 h 154"/>
                <a:gd name="T6" fmla="*/ 190 w 190"/>
                <a:gd name="T7" fmla="*/ 14 h 154"/>
                <a:gd name="T8" fmla="*/ 1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0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7" name="ï$ḻïḋê">
              <a:extLst>
                <a:ext uri="{FF2B5EF4-FFF2-40B4-BE49-F238E27FC236}">
                  <a16:creationId xmlns:a16="http://schemas.microsoft.com/office/drawing/2014/main" id="{792A4470-E248-4BE8-A9B0-0695C2C9C257}"/>
                </a:ext>
              </a:extLst>
            </p:cNvPr>
            <p:cNvSpPr/>
            <p:nvPr/>
          </p:nvSpPr>
          <p:spPr bwMode="auto">
            <a:xfrm>
              <a:off x="6070600" y="1470025"/>
              <a:ext cx="388938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8" name="iŝḷíďê">
              <a:extLst>
                <a:ext uri="{FF2B5EF4-FFF2-40B4-BE49-F238E27FC236}">
                  <a16:creationId xmlns:a16="http://schemas.microsoft.com/office/drawing/2014/main" id="{04F9C25A-8846-4FA3-ACDE-39E2A2A9A89B}"/>
                </a:ext>
              </a:extLst>
            </p:cNvPr>
            <p:cNvSpPr/>
            <p:nvPr/>
          </p:nvSpPr>
          <p:spPr bwMode="auto">
            <a:xfrm>
              <a:off x="6116638" y="1504950"/>
              <a:ext cx="295275" cy="52388"/>
            </a:xfrm>
            <a:custGeom>
              <a:avLst/>
              <a:gdLst>
                <a:gd name="T0" fmla="*/ 0 w 112"/>
                <a:gd name="T1" fmla="*/ 0 h 20"/>
                <a:gd name="T2" fmla="*/ 112 w 112"/>
                <a:gd name="T3" fmla="*/ 0 h 20"/>
                <a:gd name="T4" fmla="*/ 112 w 112"/>
                <a:gd name="T5" fmla="*/ 0 h 20"/>
                <a:gd name="T6" fmla="*/ 92 w 112"/>
                <a:gd name="T7" fmla="*/ 20 h 20"/>
                <a:gd name="T8" fmla="*/ 21 w 112"/>
                <a:gd name="T9" fmla="*/ 20 h 20"/>
                <a:gd name="T10" fmla="*/ 0 w 112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0">
                  <a:moveTo>
                    <a:pt x="0" y="0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11"/>
                    <a:pt x="103" y="20"/>
                    <a:pt x="92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0" y="20"/>
                    <a:pt x="0" y="11"/>
                    <a:pt x="0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9" name="í$ľíḋè">
              <a:extLst>
                <a:ext uri="{FF2B5EF4-FFF2-40B4-BE49-F238E27FC236}">
                  <a16:creationId xmlns:a16="http://schemas.microsoft.com/office/drawing/2014/main" id="{AA77412B-1DA0-44FF-9820-592048331877}"/>
                </a:ext>
              </a:extLst>
            </p:cNvPr>
            <p:cNvSpPr/>
            <p:nvPr/>
          </p:nvSpPr>
          <p:spPr bwMode="auto">
            <a:xfrm>
              <a:off x="6227763" y="1643063"/>
              <a:ext cx="73025" cy="71438"/>
            </a:xfrm>
            <a:prstGeom prst="ellipse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0" name="ïslïḑé">
              <a:extLst>
                <a:ext uri="{FF2B5EF4-FFF2-40B4-BE49-F238E27FC236}">
                  <a16:creationId xmlns:a16="http://schemas.microsoft.com/office/drawing/2014/main" id="{ED160E21-E440-4A54-A6BF-E5B5642AD9B6}"/>
                </a:ext>
              </a:extLst>
            </p:cNvPr>
            <p:cNvSpPr/>
            <p:nvPr/>
          </p:nvSpPr>
          <p:spPr bwMode="auto">
            <a:xfrm>
              <a:off x="6208713" y="1698625"/>
              <a:ext cx="127000" cy="200025"/>
            </a:xfrm>
            <a:custGeom>
              <a:avLst/>
              <a:gdLst>
                <a:gd name="T0" fmla="*/ 22 w 48"/>
                <a:gd name="T1" fmla="*/ 0 h 76"/>
                <a:gd name="T2" fmla="*/ 21 w 48"/>
                <a:gd name="T3" fmla="*/ 0 h 76"/>
                <a:gd name="T4" fmla="*/ 19 w 48"/>
                <a:gd name="T5" fmla="*/ 1 h 76"/>
                <a:gd name="T6" fmla="*/ 17 w 48"/>
                <a:gd name="T7" fmla="*/ 5 h 76"/>
                <a:gd name="T8" fmla="*/ 16 w 48"/>
                <a:gd name="T9" fmla="*/ 12 h 76"/>
                <a:gd name="T10" fmla="*/ 16 w 48"/>
                <a:gd name="T11" fmla="*/ 20 h 76"/>
                <a:gd name="T12" fmla="*/ 16 w 48"/>
                <a:gd name="T13" fmla="*/ 21 h 76"/>
                <a:gd name="T14" fmla="*/ 16 w 48"/>
                <a:gd name="T15" fmla="*/ 21 h 76"/>
                <a:gd name="T16" fmla="*/ 17 w 48"/>
                <a:gd name="T17" fmla="*/ 22 h 76"/>
                <a:gd name="T18" fmla="*/ 17 w 48"/>
                <a:gd name="T19" fmla="*/ 22 h 76"/>
                <a:gd name="T20" fmla="*/ 17 w 48"/>
                <a:gd name="T21" fmla="*/ 23 h 76"/>
                <a:gd name="T22" fmla="*/ 17 w 48"/>
                <a:gd name="T23" fmla="*/ 23 h 76"/>
                <a:gd name="T24" fmla="*/ 20 w 48"/>
                <a:gd name="T25" fmla="*/ 26 h 76"/>
                <a:gd name="T26" fmla="*/ 22 w 48"/>
                <a:gd name="T27" fmla="*/ 28 h 76"/>
                <a:gd name="T28" fmla="*/ 26 w 48"/>
                <a:gd name="T29" fmla="*/ 30 h 76"/>
                <a:gd name="T30" fmla="*/ 34 w 48"/>
                <a:gd name="T31" fmla="*/ 36 h 76"/>
                <a:gd name="T32" fmla="*/ 38 w 48"/>
                <a:gd name="T33" fmla="*/ 44 h 76"/>
                <a:gd name="T34" fmla="*/ 39 w 48"/>
                <a:gd name="T35" fmla="*/ 49 h 76"/>
                <a:gd name="T36" fmla="*/ 39 w 48"/>
                <a:gd name="T37" fmla="*/ 52 h 76"/>
                <a:gd name="T38" fmla="*/ 39 w 48"/>
                <a:gd name="T39" fmla="*/ 54 h 76"/>
                <a:gd name="T40" fmla="*/ 35 w 48"/>
                <a:gd name="T41" fmla="*/ 64 h 76"/>
                <a:gd name="T42" fmla="*/ 27 w 48"/>
                <a:gd name="T43" fmla="*/ 69 h 76"/>
                <a:gd name="T44" fmla="*/ 18 w 48"/>
                <a:gd name="T45" fmla="*/ 70 h 76"/>
                <a:gd name="T46" fmla="*/ 10 w 48"/>
                <a:gd name="T47" fmla="*/ 66 h 76"/>
                <a:gd name="T48" fmla="*/ 4 w 48"/>
                <a:gd name="T49" fmla="*/ 54 h 76"/>
                <a:gd name="T50" fmla="*/ 3 w 48"/>
                <a:gd name="T51" fmla="*/ 50 h 76"/>
                <a:gd name="T52" fmla="*/ 2 w 48"/>
                <a:gd name="T53" fmla="*/ 49 h 76"/>
                <a:gd name="T54" fmla="*/ 2 w 48"/>
                <a:gd name="T55" fmla="*/ 49 h 76"/>
                <a:gd name="T56" fmla="*/ 0 w 48"/>
                <a:gd name="T57" fmla="*/ 50 h 76"/>
                <a:gd name="T58" fmla="*/ 1 w 48"/>
                <a:gd name="T59" fmla="*/ 54 h 76"/>
                <a:gd name="T60" fmla="*/ 7 w 48"/>
                <a:gd name="T61" fmla="*/ 69 h 76"/>
                <a:gd name="T62" fmla="*/ 16 w 48"/>
                <a:gd name="T63" fmla="*/ 75 h 76"/>
                <a:gd name="T64" fmla="*/ 29 w 48"/>
                <a:gd name="T65" fmla="*/ 75 h 76"/>
                <a:gd name="T66" fmla="*/ 40 w 48"/>
                <a:gd name="T67" fmla="*/ 69 h 76"/>
                <a:gd name="T68" fmla="*/ 47 w 48"/>
                <a:gd name="T69" fmla="*/ 56 h 76"/>
                <a:gd name="T70" fmla="*/ 48 w 48"/>
                <a:gd name="T71" fmla="*/ 52 h 76"/>
                <a:gd name="T72" fmla="*/ 48 w 48"/>
                <a:gd name="T73" fmla="*/ 49 h 76"/>
                <a:gd name="T74" fmla="*/ 48 w 48"/>
                <a:gd name="T75" fmla="*/ 42 h 76"/>
                <a:gd name="T76" fmla="*/ 42 w 48"/>
                <a:gd name="T77" fmla="*/ 29 h 76"/>
                <a:gd name="T78" fmla="*/ 32 w 48"/>
                <a:gd name="T79" fmla="*/ 21 h 76"/>
                <a:gd name="T80" fmla="*/ 27 w 48"/>
                <a:gd name="T81" fmla="*/ 19 h 76"/>
                <a:gd name="T82" fmla="*/ 26 w 48"/>
                <a:gd name="T83" fmla="*/ 18 h 76"/>
                <a:gd name="T84" fmla="*/ 26 w 48"/>
                <a:gd name="T85" fmla="*/ 18 h 76"/>
                <a:gd name="T86" fmla="*/ 26 w 48"/>
                <a:gd name="T87" fmla="*/ 18 h 76"/>
                <a:gd name="T88" fmla="*/ 27 w 48"/>
                <a:gd name="T89" fmla="*/ 18 h 76"/>
                <a:gd name="T90" fmla="*/ 27 w 48"/>
                <a:gd name="T91" fmla="*/ 19 h 76"/>
                <a:gd name="T92" fmla="*/ 27 w 48"/>
                <a:gd name="T93" fmla="*/ 19 h 76"/>
                <a:gd name="T94" fmla="*/ 27 w 48"/>
                <a:gd name="T95" fmla="*/ 19 h 76"/>
                <a:gd name="T96" fmla="*/ 27 w 48"/>
                <a:gd name="T97" fmla="*/ 19 h 76"/>
                <a:gd name="T98" fmla="*/ 27 w 48"/>
                <a:gd name="T99" fmla="*/ 19 h 76"/>
                <a:gd name="T100" fmla="*/ 27 w 48"/>
                <a:gd name="T101" fmla="*/ 21 h 76"/>
                <a:gd name="T102" fmla="*/ 27 w 48"/>
                <a:gd name="T103" fmla="*/ 21 h 76"/>
                <a:gd name="T104" fmla="*/ 27 w 48"/>
                <a:gd name="T105" fmla="*/ 20 h 76"/>
                <a:gd name="T106" fmla="*/ 27 w 48"/>
                <a:gd name="T107" fmla="*/ 12 h 76"/>
                <a:gd name="T108" fmla="*/ 27 w 48"/>
                <a:gd name="T109" fmla="*/ 5 h 76"/>
                <a:gd name="T110" fmla="*/ 24 w 48"/>
                <a:gd name="T111" fmla="*/ 1 h 76"/>
                <a:gd name="T112" fmla="*/ 22 w 48"/>
                <a:gd name="T113" fmla="*/ 0 h 76"/>
                <a:gd name="T114" fmla="*/ 22 w 48"/>
                <a:gd name="T11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" h="76">
                  <a:moveTo>
                    <a:pt x="22" y="0"/>
                  </a:moveTo>
                  <a:cubicBezTo>
                    <a:pt x="22" y="0"/>
                    <a:pt x="21" y="0"/>
                    <a:pt x="21" y="0"/>
                  </a:cubicBezTo>
                  <a:cubicBezTo>
                    <a:pt x="21" y="0"/>
                    <a:pt x="20" y="1"/>
                    <a:pt x="19" y="1"/>
                  </a:cubicBezTo>
                  <a:cubicBezTo>
                    <a:pt x="18" y="2"/>
                    <a:pt x="17" y="3"/>
                    <a:pt x="17" y="5"/>
                  </a:cubicBezTo>
                  <a:cubicBezTo>
                    <a:pt x="16" y="7"/>
                    <a:pt x="16" y="9"/>
                    <a:pt x="16" y="12"/>
                  </a:cubicBezTo>
                  <a:cubicBezTo>
                    <a:pt x="16" y="14"/>
                    <a:pt x="16" y="17"/>
                    <a:pt x="16" y="20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7" y="24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4"/>
                    <a:pt x="19" y="26"/>
                    <a:pt x="20" y="26"/>
                  </a:cubicBezTo>
                  <a:cubicBezTo>
                    <a:pt x="21" y="27"/>
                    <a:pt x="21" y="27"/>
                    <a:pt x="22" y="28"/>
                  </a:cubicBezTo>
                  <a:cubicBezTo>
                    <a:pt x="24" y="29"/>
                    <a:pt x="25" y="29"/>
                    <a:pt x="26" y="30"/>
                  </a:cubicBezTo>
                  <a:cubicBezTo>
                    <a:pt x="29" y="32"/>
                    <a:pt x="32" y="34"/>
                    <a:pt x="34" y="36"/>
                  </a:cubicBezTo>
                  <a:cubicBezTo>
                    <a:pt x="36" y="38"/>
                    <a:pt x="38" y="41"/>
                    <a:pt x="38" y="44"/>
                  </a:cubicBezTo>
                  <a:cubicBezTo>
                    <a:pt x="39" y="46"/>
                    <a:pt x="39" y="48"/>
                    <a:pt x="39" y="49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8" y="58"/>
                    <a:pt x="37" y="61"/>
                    <a:pt x="35" y="64"/>
                  </a:cubicBezTo>
                  <a:cubicBezTo>
                    <a:pt x="33" y="66"/>
                    <a:pt x="30" y="68"/>
                    <a:pt x="27" y="69"/>
                  </a:cubicBezTo>
                  <a:cubicBezTo>
                    <a:pt x="24" y="70"/>
                    <a:pt x="20" y="70"/>
                    <a:pt x="18" y="70"/>
                  </a:cubicBezTo>
                  <a:cubicBezTo>
                    <a:pt x="15" y="69"/>
                    <a:pt x="12" y="68"/>
                    <a:pt x="10" y="66"/>
                  </a:cubicBezTo>
                  <a:cubicBezTo>
                    <a:pt x="6" y="62"/>
                    <a:pt x="4" y="57"/>
                    <a:pt x="4" y="54"/>
                  </a:cubicBezTo>
                  <a:cubicBezTo>
                    <a:pt x="3" y="52"/>
                    <a:pt x="3" y="51"/>
                    <a:pt x="3" y="50"/>
                  </a:cubicBezTo>
                  <a:cubicBezTo>
                    <a:pt x="3" y="49"/>
                    <a:pt x="2" y="49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1" y="49"/>
                    <a:pt x="0" y="49"/>
                    <a:pt x="0" y="50"/>
                  </a:cubicBezTo>
                  <a:cubicBezTo>
                    <a:pt x="0" y="51"/>
                    <a:pt x="0" y="53"/>
                    <a:pt x="1" y="54"/>
                  </a:cubicBezTo>
                  <a:cubicBezTo>
                    <a:pt x="1" y="58"/>
                    <a:pt x="2" y="64"/>
                    <a:pt x="7" y="69"/>
                  </a:cubicBezTo>
                  <a:cubicBezTo>
                    <a:pt x="9" y="71"/>
                    <a:pt x="12" y="74"/>
                    <a:pt x="16" y="75"/>
                  </a:cubicBezTo>
                  <a:cubicBezTo>
                    <a:pt x="20" y="76"/>
                    <a:pt x="24" y="76"/>
                    <a:pt x="29" y="75"/>
                  </a:cubicBezTo>
                  <a:cubicBezTo>
                    <a:pt x="33" y="74"/>
                    <a:pt x="37" y="72"/>
                    <a:pt x="40" y="69"/>
                  </a:cubicBezTo>
                  <a:cubicBezTo>
                    <a:pt x="44" y="65"/>
                    <a:pt x="46" y="61"/>
                    <a:pt x="47" y="56"/>
                  </a:cubicBezTo>
                  <a:cubicBezTo>
                    <a:pt x="47" y="55"/>
                    <a:pt x="48" y="54"/>
                    <a:pt x="48" y="52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47"/>
                    <a:pt x="48" y="45"/>
                    <a:pt x="48" y="42"/>
                  </a:cubicBezTo>
                  <a:cubicBezTo>
                    <a:pt x="47" y="37"/>
                    <a:pt x="44" y="33"/>
                    <a:pt x="42" y="29"/>
                  </a:cubicBezTo>
                  <a:cubicBezTo>
                    <a:pt x="39" y="26"/>
                    <a:pt x="35" y="23"/>
                    <a:pt x="32" y="21"/>
                  </a:cubicBezTo>
                  <a:cubicBezTo>
                    <a:pt x="30" y="20"/>
                    <a:pt x="29" y="19"/>
                    <a:pt x="27" y="19"/>
                  </a:cubicBezTo>
                  <a:cubicBezTo>
                    <a:pt x="27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7" y="18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20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7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7"/>
                    <a:pt x="27" y="14"/>
                    <a:pt x="27" y="12"/>
                  </a:cubicBezTo>
                  <a:cubicBezTo>
                    <a:pt x="27" y="9"/>
                    <a:pt x="27" y="7"/>
                    <a:pt x="27" y="5"/>
                  </a:cubicBezTo>
                  <a:cubicBezTo>
                    <a:pt x="27" y="3"/>
                    <a:pt x="25" y="2"/>
                    <a:pt x="24" y="1"/>
                  </a:cubicBezTo>
                  <a:cubicBezTo>
                    <a:pt x="23" y="1"/>
                    <a:pt x="23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1" name="iś1ídé">
              <a:extLst>
                <a:ext uri="{FF2B5EF4-FFF2-40B4-BE49-F238E27FC236}">
                  <a16:creationId xmlns:a16="http://schemas.microsoft.com/office/drawing/2014/main" id="{4A597953-C84B-4507-B0C0-361C5DE48008}"/>
                </a:ext>
              </a:extLst>
            </p:cNvPr>
            <p:cNvSpPr/>
            <p:nvPr/>
          </p:nvSpPr>
          <p:spPr bwMode="auto">
            <a:xfrm>
              <a:off x="7458075" y="4287838"/>
              <a:ext cx="695325" cy="1354138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2" name="íš1ïḑê">
              <a:extLst>
                <a:ext uri="{FF2B5EF4-FFF2-40B4-BE49-F238E27FC236}">
                  <a16:creationId xmlns:a16="http://schemas.microsoft.com/office/drawing/2014/main" id="{B6FF5E89-72B4-4B42-9522-76C9DB07F1BF}"/>
                </a:ext>
              </a:extLst>
            </p:cNvPr>
            <p:cNvSpPr/>
            <p:nvPr/>
          </p:nvSpPr>
          <p:spPr bwMode="auto">
            <a:xfrm>
              <a:off x="4614863" y="5381625"/>
              <a:ext cx="314325" cy="34925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3" name="ïṧḷiďe">
              <a:extLst>
                <a:ext uri="{FF2B5EF4-FFF2-40B4-BE49-F238E27FC236}">
                  <a16:creationId xmlns:a16="http://schemas.microsoft.com/office/drawing/2014/main" id="{92B67F61-34FB-42CD-B971-77DF883D7DB7}"/>
                </a:ext>
              </a:extLst>
            </p:cNvPr>
            <p:cNvSpPr/>
            <p:nvPr/>
          </p:nvSpPr>
          <p:spPr bwMode="auto">
            <a:xfrm>
              <a:off x="4548188" y="5000625"/>
              <a:ext cx="153988" cy="641350"/>
            </a:xfrm>
            <a:custGeom>
              <a:avLst/>
              <a:gdLst>
                <a:gd name="T0" fmla="*/ 68 w 97"/>
                <a:gd name="T1" fmla="*/ 0 h 404"/>
                <a:gd name="T2" fmla="*/ 0 w 97"/>
                <a:gd name="T3" fmla="*/ 404 h 404"/>
                <a:gd name="T4" fmla="*/ 28 w 97"/>
                <a:gd name="T5" fmla="*/ 404 h 404"/>
                <a:gd name="T6" fmla="*/ 97 w 97"/>
                <a:gd name="T7" fmla="*/ 2 h 404"/>
                <a:gd name="T8" fmla="*/ 68 w 97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04">
                  <a:moveTo>
                    <a:pt x="68" y="0"/>
                  </a:moveTo>
                  <a:lnTo>
                    <a:pt x="0" y="404"/>
                  </a:lnTo>
                  <a:lnTo>
                    <a:pt x="28" y="404"/>
                  </a:lnTo>
                  <a:lnTo>
                    <a:pt x="97" y="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4" name="iŝḻiḓé">
              <a:extLst>
                <a:ext uri="{FF2B5EF4-FFF2-40B4-BE49-F238E27FC236}">
                  <a16:creationId xmlns:a16="http://schemas.microsoft.com/office/drawing/2014/main" id="{361DD9D3-F4CF-4AC0-B934-977A85EF49C5}"/>
                </a:ext>
              </a:extLst>
            </p:cNvPr>
            <p:cNvSpPr/>
            <p:nvPr/>
          </p:nvSpPr>
          <p:spPr bwMode="auto">
            <a:xfrm>
              <a:off x="4838700" y="5000625"/>
              <a:ext cx="157163" cy="641350"/>
            </a:xfrm>
            <a:custGeom>
              <a:avLst/>
              <a:gdLst>
                <a:gd name="T0" fmla="*/ 29 w 99"/>
                <a:gd name="T1" fmla="*/ 0 h 404"/>
                <a:gd name="T2" fmla="*/ 99 w 99"/>
                <a:gd name="T3" fmla="*/ 404 h 404"/>
                <a:gd name="T4" fmla="*/ 70 w 99"/>
                <a:gd name="T5" fmla="*/ 404 h 404"/>
                <a:gd name="T6" fmla="*/ 0 w 99"/>
                <a:gd name="T7" fmla="*/ 2 h 404"/>
                <a:gd name="T8" fmla="*/ 29 w 99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404">
                  <a:moveTo>
                    <a:pt x="29" y="0"/>
                  </a:moveTo>
                  <a:lnTo>
                    <a:pt x="99" y="404"/>
                  </a:lnTo>
                  <a:lnTo>
                    <a:pt x="70" y="404"/>
                  </a:lnTo>
                  <a:lnTo>
                    <a:pt x="0" y="2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5" name="îṡļïḍê">
              <a:extLst>
                <a:ext uri="{FF2B5EF4-FFF2-40B4-BE49-F238E27FC236}">
                  <a16:creationId xmlns:a16="http://schemas.microsoft.com/office/drawing/2014/main" id="{B8DA3D4E-F10A-437E-92E9-5A83751B6A1E}"/>
                </a:ext>
              </a:extLst>
            </p:cNvPr>
            <p:cNvSpPr/>
            <p:nvPr/>
          </p:nvSpPr>
          <p:spPr bwMode="auto">
            <a:xfrm>
              <a:off x="4719638" y="5372100"/>
              <a:ext cx="103188" cy="55563"/>
            </a:xfrm>
            <a:custGeom>
              <a:avLst/>
              <a:gdLst>
                <a:gd name="T0" fmla="*/ 0 w 39"/>
                <a:gd name="T1" fmla="*/ 0 h 21"/>
                <a:gd name="T2" fmla="*/ 39 w 39"/>
                <a:gd name="T3" fmla="*/ 0 h 21"/>
                <a:gd name="T4" fmla="*/ 39 w 39"/>
                <a:gd name="T5" fmla="*/ 7 h 21"/>
                <a:gd name="T6" fmla="*/ 25 w 39"/>
                <a:gd name="T7" fmla="*/ 21 h 21"/>
                <a:gd name="T8" fmla="*/ 14 w 39"/>
                <a:gd name="T9" fmla="*/ 21 h 21"/>
                <a:gd name="T10" fmla="*/ 0 w 39"/>
                <a:gd name="T11" fmla="*/ 7 h 21"/>
                <a:gd name="T12" fmla="*/ 0 w 3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21">
                  <a:moveTo>
                    <a:pt x="0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15"/>
                    <a:pt x="33" y="21"/>
                    <a:pt x="25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6" y="21"/>
                    <a:pt x="0" y="15"/>
                    <a:pt x="0" y="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6" name="íSļiḑê">
              <a:extLst>
                <a:ext uri="{FF2B5EF4-FFF2-40B4-BE49-F238E27FC236}">
                  <a16:creationId xmlns:a16="http://schemas.microsoft.com/office/drawing/2014/main" id="{8948C0E0-89E2-42F4-826C-69DD00AD99AF}"/>
                </a:ext>
              </a:extLst>
            </p:cNvPr>
            <p:cNvSpPr/>
            <p:nvPr/>
          </p:nvSpPr>
          <p:spPr bwMode="auto">
            <a:xfrm>
              <a:off x="4757738" y="5384800"/>
              <a:ext cx="28575" cy="28575"/>
            </a:xfrm>
            <a:prstGeom prst="ellipse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7" name="ïṧļide">
              <a:extLst>
                <a:ext uri="{FF2B5EF4-FFF2-40B4-BE49-F238E27FC236}">
                  <a16:creationId xmlns:a16="http://schemas.microsoft.com/office/drawing/2014/main" id="{DC15C3C1-5695-4953-B0F3-DB431B259CDC}"/>
                </a:ext>
              </a:extLst>
            </p:cNvPr>
            <p:cNvSpPr/>
            <p:nvPr/>
          </p:nvSpPr>
          <p:spPr bwMode="auto">
            <a:xfrm>
              <a:off x="4595813" y="4968875"/>
              <a:ext cx="357188" cy="50800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8" name="ïṣļîḍè">
              <a:extLst>
                <a:ext uri="{FF2B5EF4-FFF2-40B4-BE49-F238E27FC236}">
                  <a16:creationId xmlns:a16="http://schemas.microsoft.com/office/drawing/2014/main" id="{CAD21CFD-1018-430C-9675-281342B77707}"/>
                </a:ext>
              </a:extLst>
            </p:cNvPr>
            <p:cNvSpPr/>
            <p:nvPr/>
          </p:nvSpPr>
          <p:spPr bwMode="auto">
            <a:xfrm>
              <a:off x="4841875" y="5019675"/>
              <a:ext cx="50800" cy="20638"/>
            </a:xfrm>
            <a:custGeom>
              <a:avLst/>
              <a:gdLst>
                <a:gd name="T0" fmla="*/ 0 w 32"/>
                <a:gd name="T1" fmla="*/ 0 h 13"/>
                <a:gd name="T2" fmla="*/ 28 w 32"/>
                <a:gd name="T3" fmla="*/ 0 h 13"/>
                <a:gd name="T4" fmla="*/ 32 w 32"/>
                <a:gd name="T5" fmla="*/ 13 h 13"/>
                <a:gd name="T6" fmla="*/ 3 w 32"/>
                <a:gd name="T7" fmla="*/ 13 h 13"/>
                <a:gd name="T8" fmla="*/ 0 w 3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3">
                  <a:moveTo>
                    <a:pt x="0" y="0"/>
                  </a:moveTo>
                  <a:lnTo>
                    <a:pt x="28" y="0"/>
                  </a:lnTo>
                  <a:lnTo>
                    <a:pt x="32" y="13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9" name="îŝliḓê">
              <a:extLst>
                <a:ext uri="{FF2B5EF4-FFF2-40B4-BE49-F238E27FC236}">
                  <a16:creationId xmlns:a16="http://schemas.microsoft.com/office/drawing/2014/main" id="{378C5809-CFB6-4AA7-A5E0-4EC9979A5DC7}"/>
                </a:ext>
              </a:extLst>
            </p:cNvPr>
            <p:cNvSpPr/>
            <p:nvPr/>
          </p:nvSpPr>
          <p:spPr bwMode="auto">
            <a:xfrm>
              <a:off x="4651375" y="5019675"/>
              <a:ext cx="47625" cy="20638"/>
            </a:xfrm>
            <a:custGeom>
              <a:avLst/>
              <a:gdLst>
                <a:gd name="T0" fmla="*/ 30 w 30"/>
                <a:gd name="T1" fmla="*/ 0 h 13"/>
                <a:gd name="T2" fmla="*/ 2 w 30"/>
                <a:gd name="T3" fmla="*/ 0 h 13"/>
                <a:gd name="T4" fmla="*/ 0 w 30"/>
                <a:gd name="T5" fmla="*/ 13 h 13"/>
                <a:gd name="T6" fmla="*/ 28 w 30"/>
                <a:gd name="T7" fmla="*/ 13 h 13"/>
                <a:gd name="T8" fmla="*/ 30 w 3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lnTo>
                    <a:pt x="2" y="0"/>
                  </a:lnTo>
                  <a:lnTo>
                    <a:pt x="0" y="13"/>
                  </a:lnTo>
                  <a:lnTo>
                    <a:pt x="28" y="13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0" name="ïSļîḑé">
              <a:extLst>
                <a:ext uri="{FF2B5EF4-FFF2-40B4-BE49-F238E27FC236}">
                  <a16:creationId xmlns:a16="http://schemas.microsoft.com/office/drawing/2014/main" id="{648CF7C2-3E8A-4DC1-8CCD-EC2B2AE9B1BB}"/>
                </a:ext>
              </a:extLst>
            </p:cNvPr>
            <p:cNvSpPr/>
            <p:nvPr/>
          </p:nvSpPr>
          <p:spPr bwMode="auto">
            <a:xfrm>
              <a:off x="4595813" y="4995863"/>
              <a:ext cx="357188" cy="23813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806" name="Group 805">
            <a:extLst>
              <a:ext uri="{FF2B5EF4-FFF2-40B4-BE49-F238E27FC236}">
                <a16:creationId xmlns:a16="http://schemas.microsoft.com/office/drawing/2014/main" id="{15E97AD9-3F8F-442B-8580-F6DE936498A0}"/>
              </a:ext>
            </a:extLst>
          </p:cNvPr>
          <p:cNvGrpSpPr/>
          <p:nvPr/>
        </p:nvGrpSpPr>
        <p:grpSpPr>
          <a:xfrm>
            <a:off x="2907165" y="1161722"/>
            <a:ext cx="1024614" cy="1024610"/>
            <a:chOff x="2907165" y="1161722"/>
            <a:chExt cx="1024614" cy="1024610"/>
          </a:xfrm>
        </p:grpSpPr>
        <p:sp>
          <p:nvSpPr>
            <p:cNvPr id="39" name="îšľîḍè">
              <a:extLst>
                <a:ext uri="{FF2B5EF4-FFF2-40B4-BE49-F238E27FC236}">
                  <a16:creationId xmlns:a16="http://schemas.microsoft.com/office/drawing/2014/main" id="{EE46BFD3-3656-45E3-A35D-DAC1BD0B5B7E}"/>
                </a:ext>
              </a:extLst>
            </p:cNvPr>
            <p:cNvSpPr/>
            <p:nvPr/>
          </p:nvSpPr>
          <p:spPr>
            <a:xfrm>
              <a:off x="2907165" y="1161722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22" name="iconfont-11244-5317052">
              <a:extLst>
                <a:ext uri="{FF2B5EF4-FFF2-40B4-BE49-F238E27FC236}">
                  <a16:creationId xmlns:a16="http://schemas.microsoft.com/office/drawing/2014/main" id="{1079FECC-3F1D-4B46-AF4D-AA514CEEA5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5776" y="1432988"/>
              <a:ext cx="609685" cy="398769"/>
            </a:xfrm>
            <a:custGeom>
              <a:avLst/>
              <a:gdLst>
                <a:gd name="T0" fmla="*/ 4499 w 12887"/>
                <a:gd name="T1" fmla="*/ 7938 h 8428"/>
                <a:gd name="T2" fmla="*/ 3677 w 12887"/>
                <a:gd name="T3" fmla="*/ 6020 h 8428"/>
                <a:gd name="T4" fmla="*/ 3676 w 12887"/>
                <a:gd name="T5" fmla="*/ 6018 h 8428"/>
                <a:gd name="T6" fmla="*/ 2579 w 12887"/>
                <a:gd name="T7" fmla="*/ 3458 h 8428"/>
                <a:gd name="T8" fmla="*/ 1990 w 12887"/>
                <a:gd name="T9" fmla="*/ 3458 h 8428"/>
                <a:gd name="T10" fmla="*/ 893 w 12887"/>
                <a:gd name="T11" fmla="*/ 6018 h 8428"/>
                <a:gd name="T12" fmla="*/ 892 w 12887"/>
                <a:gd name="T13" fmla="*/ 6020 h 8428"/>
                <a:gd name="T14" fmla="*/ 70 w 12887"/>
                <a:gd name="T15" fmla="*/ 7938 h 8428"/>
                <a:gd name="T16" fmla="*/ 238 w 12887"/>
                <a:gd name="T17" fmla="*/ 8358 h 8428"/>
                <a:gd name="T18" fmla="*/ 659 w 12887"/>
                <a:gd name="T19" fmla="*/ 8190 h 8428"/>
                <a:gd name="T20" fmla="*/ 1399 w 12887"/>
                <a:gd name="T21" fmla="*/ 6464 h 8428"/>
                <a:gd name="T22" fmla="*/ 3171 w 12887"/>
                <a:gd name="T23" fmla="*/ 6464 h 8428"/>
                <a:gd name="T24" fmla="*/ 3911 w 12887"/>
                <a:gd name="T25" fmla="*/ 8190 h 8428"/>
                <a:gd name="T26" fmla="*/ 4331 w 12887"/>
                <a:gd name="T27" fmla="*/ 8358 h 8428"/>
                <a:gd name="T28" fmla="*/ 4499 w 12887"/>
                <a:gd name="T29" fmla="*/ 7937 h 8428"/>
                <a:gd name="T30" fmla="*/ 4499 w 12887"/>
                <a:gd name="T31" fmla="*/ 7938 h 8428"/>
                <a:gd name="T32" fmla="*/ 1672 w 12887"/>
                <a:gd name="T33" fmla="*/ 5824 h 8428"/>
                <a:gd name="T34" fmla="*/ 2284 w 12887"/>
                <a:gd name="T35" fmla="*/ 4396 h 8428"/>
                <a:gd name="T36" fmla="*/ 2896 w 12887"/>
                <a:gd name="T37" fmla="*/ 5824 h 8428"/>
                <a:gd name="T38" fmla="*/ 1672 w 12887"/>
                <a:gd name="T39" fmla="*/ 5824 h 8428"/>
                <a:gd name="T40" fmla="*/ 12820 w 12887"/>
                <a:gd name="T41" fmla="*/ 7941 h 8428"/>
                <a:gd name="T42" fmla="*/ 11487 w 12887"/>
                <a:gd name="T43" fmla="*/ 4741 h 8428"/>
                <a:gd name="T44" fmla="*/ 11486 w 12887"/>
                <a:gd name="T45" fmla="*/ 4739 h 8428"/>
                <a:gd name="T46" fmla="*/ 9620 w 12887"/>
                <a:gd name="T47" fmla="*/ 261 h 8428"/>
                <a:gd name="T48" fmla="*/ 9029 w 12887"/>
                <a:gd name="T49" fmla="*/ 261 h 8428"/>
                <a:gd name="T50" fmla="*/ 7163 w 12887"/>
                <a:gd name="T51" fmla="*/ 4739 h 8428"/>
                <a:gd name="T52" fmla="*/ 7162 w 12887"/>
                <a:gd name="T53" fmla="*/ 4741 h 8428"/>
                <a:gd name="T54" fmla="*/ 5829 w 12887"/>
                <a:gd name="T55" fmla="*/ 7941 h 8428"/>
                <a:gd name="T56" fmla="*/ 6001 w 12887"/>
                <a:gd name="T57" fmla="*/ 8360 h 8428"/>
                <a:gd name="T58" fmla="*/ 6419 w 12887"/>
                <a:gd name="T59" fmla="*/ 8188 h 8428"/>
                <a:gd name="T60" fmla="*/ 7671 w 12887"/>
                <a:gd name="T61" fmla="*/ 5185 h 8428"/>
                <a:gd name="T62" fmla="*/ 10977 w 12887"/>
                <a:gd name="T63" fmla="*/ 5185 h 8428"/>
                <a:gd name="T64" fmla="*/ 12229 w 12887"/>
                <a:gd name="T65" fmla="*/ 8188 h 8428"/>
                <a:gd name="T66" fmla="*/ 12647 w 12887"/>
                <a:gd name="T67" fmla="*/ 8360 h 8428"/>
                <a:gd name="T68" fmla="*/ 12819 w 12887"/>
                <a:gd name="T69" fmla="*/ 7941 h 8428"/>
                <a:gd name="T70" fmla="*/ 12820 w 12887"/>
                <a:gd name="T71" fmla="*/ 7941 h 8428"/>
                <a:gd name="T72" fmla="*/ 7937 w 12887"/>
                <a:gd name="T73" fmla="*/ 4544 h 8428"/>
                <a:gd name="T74" fmla="*/ 9324 w 12887"/>
                <a:gd name="T75" fmla="*/ 1216 h 8428"/>
                <a:gd name="T76" fmla="*/ 10711 w 12887"/>
                <a:gd name="T77" fmla="*/ 4544 h 8428"/>
                <a:gd name="T78" fmla="*/ 7938 w 12887"/>
                <a:gd name="T79" fmla="*/ 4544 h 8428"/>
                <a:gd name="T80" fmla="*/ 7937 w 12887"/>
                <a:gd name="T81" fmla="*/ 4544 h 8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887" h="8428">
                  <a:moveTo>
                    <a:pt x="4499" y="7938"/>
                  </a:moveTo>
                  <a:lnTo>
                    <a:pt x="3677" y="6020"/>
                  </a:lnTo>
                  <a:lnTo>
                    <a:pt x="3676" y="6018"/>
                  </a:lnTo>
                  <a:lnTo>
                    <a:pt x="2579" y="3458"/>
                  </a:lnTo>
                  <a:cubicBezTo>
                    <a:pt x="2468" y="3198"/>
                    <a:pt x="2100" y="3198"/>
                    <a:pt x="1990" y="3458"/>
                  </a:cubicBezTo>
                  <a:lnTo>
                    <a:pt x="893" y="6018"/>
                  </a:lnTo>
                  <a:lnTo>
                    <a:pt x="892" y="6020"/>
                  </a:lnTo>
                  <a:lnTo>
                    <a:pt x="70" y="7938"/>
                  </a:lnTo>
                  <a:cubicBezTo>
                    <a:pt x="0" y="8101"/>
                    <a:pt x="76" y="8289"/>
                    <a:pt x="238" y="8358"/>
                  </a:cubicBezTo>
                  <a:cubicBezTo>
                    <a:pt x="401" y="8428"/>
                    <a:pt x="589" y="8353"/>
                    <a:pt x="659" y="8190"/>
                  </a:cubicBezTo>
                  <a:lnTo>
                    <a:pt x="1399" y="6464"/>
                  </a:lnTo>
                  <a:lnTo>
                    <a:pt x="3171" y="6464"/>
                  </a:lnTo>
                  <a:lnTo>
                    <a:pt x="3911" y="8190"/>
                  </a:lnTo>
                  <a:cubicBezTo>
                    <a:pt x="3980" y="8353"/>
                    <a:pt x="4169" y="8428"/>
                    <a:pt x="4331" y="8358"/>
                  </a:cubicBezTo>
                  <a:cubicBezTo>
                    <a:pt x="4493" y="8288"/>
                    <a:pt x="4569" y="8100"/>
                    <a:pt x="4499" y="7937"/>
                  </a:cubicBezTo>
                  <a:lnTo>
                    <a:pt x="4499" y="7938"/>
                  </a:lnTo>
                  <a:close/>
                  <a:moveTo>
                    <a:pt x="1672" y="5824"/>
                  </a:moveTo>
                  <a:lnTo>
                    <a:pt x="2284" y="4396"/>
                  </a:lnTo>
                  <a:lnTo>
                    <a:pt x="2896" y="5824"/>
                  </a:lnTo>
                  <a:lnTo>
                    <a:pt x="1672" y="5824"/>
                  </a:lnTo>
                  <a:close/>
                  <a:moveTo>
                    <a:pt x="12820" y="7941"/>
                  </a:moveTo>
                  <a:lnTo>
                    <a:pt x="11487" y="4741"/>
                  </a:lnTo>
                  <a:lnTo>
                    <a:pt x="11486" y="4739"/>
                  </a:lnTo>
                  <a:lnTo>
                    <a:pt x="9620" y="261"/>
                  </a:lnTo>
                  <a:cubicBezTo>
                    <a:pt x="9509" y="0"/>
                    <a:pt x="9139" y="0"/>
                    <a:pt x="9029" y="261"/>
                  </a:cubicBezTo>
                  <a:lnTo>
                    <a:pt x="7163" y="4739"/>
                  </a:lnTo>
                  <a:lnTo>
                    <a:pt x="7162" y="4741"/>
                  </a:lnTo>
                  <a:lnTo>
                    <a:pt x="5829" y="7941"/>
                  </a:lnTo>
                  <a:cubicBezTo>
                    <a:pt x="5761" y="8104"/>
                    <a:pt x="5838" y="8292"/>
                    <a:pt x="6001" y="8360"/>
                  </a:cubicBezTo>
                  <a:cubicBezTo>
                    <a:pt x="6164" y="8428"/>
                    <a:pt x="6351" y="8351"/>
                    <a:pt x="6419" y="8188"/>
                  </a:cubicBezTo>
                  <a:lnTo>
                    <a:pt x="7671" y="5185"/>
                  </a:lnTo>
                  <a:lnTo>
                    <a:pt x="10977" y="5185"/>
                  </a:lnTo>
                  <a:lnTo>
                    <a:pt x="12229" y="8188"/>
                  </a:lnTo>
                  <a:cubicBezTo>
                    <a:pt x="12297" y="8351"/>
                    <a:pt x="12484" y="8428"/>
                    <a:pt x="12647" y="8360"/>
                  </a:cubicBezTo>
                  <a:cubicBezTo>
                    <a:pt x="12810" y="8292"/>
                    <a:pt x="12887" y="8104"/>
                    <a:pt x="12819" y="7941"/>
                  </a:cubicBezTo>
                  <a:lnTo>
                    <a:pt x="12820" y="7941"/>
                  </a:lnTo>
                  <a:close/>
                  <a:moveTo>
                    <a:pt x="7937" y="4544"/>
                  </a:moveTo>
                  <a:lnTo>
                    <a:pt x="9324" y="1216"/>
                  </a:lnTo>
                  <a:lnTo>
                    <a:pt x="10711" y="4544"/>
                  </a:lnTo>
                  <a:lnTo>
                    <a:pt x="7938" y="4544"/>
                  </a:lnTo>
                  <a:lnTo>
                    <a:pt x="7937" y="45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805" name="Group 804">
            <a:extLst>
              <a:ext uri="{FF2B5EF4-FFF2-40B4-BE49-F238E27FC236}">
                <a16:creationId xmlns:a16="http://schemas.microsoft.com/office/drawing/2014/main" id="{0A4CCE0B-06F0-46A7-A64E-F5693939BD70}"/>
              </a:ext>
            </a:extLst>
          </p:cNvPr>
          <p:cNvGrpSpPr/>
          <p:nvPr/>
        </p:nvGrpSpPr>
        <p:grpSpPr>
          <a:xfrm>
            <a:off x="4098084" y="2173905"/>
            <a:ext cx="1024614" cy="1024610"/>
            <a:chOff x="4098084" y="2173905"/>
            <a:chExt cx="1024614" cy="1024610"/>
          </a:xfrm>
        </p:grpSpPr>
        <p:sp>
          <p:nvSpPr>
            <p:cNvPr id="42" name="îṥļïḑè">
              <a:extLst>
                <a:ext uri="{FF2B5EF4-FFF2-40B4-BE49-F238E27FC236}">
                  <a16:creationId xmlns:a16="http://schemas.microsoft.com/office/drawing/2014/main" id="{299B99E0-FB95-4623-88B1-6057CBBE2BDC}"/>
                </a:ext>
              </a:extLst>
            </p:cNvPr>
            <p:cNvSpPr/>
            <p:nvPr/>
          </p:nvSpPr>
          <p:spPr>
            <a:xfrm>
              <a:off x="4098084" y="2173905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68" name="daisy_67547">
              <a:extLst>
                <a:ext uri="{FF2B5EF4-FFF2-40B4-BE49-F238E27FC236}">
                  <a16:creationId xmlns:a16="http://schemas.microsoft.com/office/drawing/2014/main" id="{A6882F4D-60E2-40CF-A5F0-8705284571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09627" y="2381368"/>
              <a:ext cx="401529" cy="609685"/>
            </a:xfrm>
            <a:custGeom>
              <a:avLst/>
              <a:gdLst>
                <a:gd name="connsiteX0" fmla="*/ 327641 w 398630"/>
                <a:gd name="connsiteY0" fmla="*/ 397283 h 605283"/>
                <a:gd name="connsiteX1" fmla="*/ 398630 w 398630"/>
                <a:gd name="connsiteY1" fmla="*/ 410763 h 605283"/>
                <a:gd name="connsiteX2" fmla="*/ 352104 w 398630"/>
                <a:gd name="connsiteY2" fmla="*/ 420499 h 605283"/>
                <a:gd name="connsiteX3" fmla="*/ 338747 w 398630"/>
                <a:gd name="connsiteY3" fmla="*/ 407019 h 605283"/>
                <a:gd name="connsiteX4" fmla="*/ 327641 w 398630"/>
                <a:gd name="connsiteY4" fmla="*/ 397283 h 605283"/>
                <a:gd name="connsiteX5" fmla="*/ 271400 w 398630"/>
                <a:gd name="connsiteY5" fmla="*/ 386346 h 605283"/>
                <a:gd name="connsiteX6" fmla="*/ 311774 w 398630"/>
                <a:gd name="connsiteY6" fmla="*/ 393698 h 605283"/>
                <a:gd name="connsiteX7" fmla="*/ 331436 w 398630"/>
                <a:gd name="connsiteY7" fmla="*/ 414405 h 605283"/>
                <a:gd name="connsiteX8" fmla="*/ 338790 w 398630"/>
                <a:gd name="connsiteY8" fmla="*/ 422958 h 605283"/>
                <a:gd name="connsiteX9" fmla="*/ 297065 w 398630"/>
                <a:gd name="connsiteY9" fmla="*/ 426709 h 605283"/>
                <a:gd name="connsiteX10" fmla="*/ 284908 w 398630"/>
                <a:gd name="connsiteY10" fmla="*/ 410804 h 605283"/>
                <a:gd name="connsiteX11" fmla="*/ 271400 w 398630"/>
                <a:gd name="connsiteY11" fmla="*/ 386346 h 605283"/>
                <a:gd name="connsiteX12" fmla="*/ 223628 w 398630"/>
                <a:gd name="connsiteY12" fmla="*/ 379007 h 605283"/>
                <a:gd name="connsiteX13" fmla="*/ 262817 w 398630"/>
                <a:gd name="connsiteY13" fmla="*/ 385007 h 605283"/>
                <a:gd name="connsiteX14" fmla="*/ 283538 w 398630"/>
                <a:gd name="connsiteY14" fmla="*/ 426709 h 605283"/>
                <a:gd name="connsiteX15" fmla="*/ 245550 w 398630"/>
                <a:gd name="connsiteY15" fmla="*/ 420559 h 605283"/>
                <a:gd name="connsiteX16" fmla="*/ 223628 w 398630"/>
                <a:gd name="connsiteY16" fmla="*/ 379007 h 605283"/>
                <a:gd name="connsiteX17" fmla="*/ 200426 w 398630"/>
                <a:gd name="connsiteY17" fmla="*/ 376466 h 605283"/>
                <a:gd name="connsiteX18" fmla="*/ 214986 w 398630"/>
                <a:gd name="connsiteY18" fmla="*/ 377664 h 605283"/>
                <a:gd name="connsiteX19" fmla="*/ 213785 w 398630"/>
                <a:gd name="connsiteY19" fmla="*/ 381409 h 605283"/>
                <a:gd name="connsiteX20" fmla="*/ 229696 w 398630"/>
                <a:gd name="connsiteY20" fmla="*/ 415559 h 605283"/>
                <a:gd name="connsiteX21" fmla="*/ 194272 w 398630"/>
                <a:gd name="connsiteY21" fmla="*/ 389946 h 605283"/>
                <a:gd name="connsiteX22" fmla="*/ 196674 w 398630"/>
                <a:gd name="connsiteY22" fmla="*/ 381409 h 605283"/>
                <a:gd name="connsiteX23" fmla="*/ 200426 w 398630"/>
                <a:gd name="connsiteY23" fmla="*/ 376466 h 605283"/>
                <a:gd name="connsiteX24" fmla="*/ 371778 w 398630"/>
                <a:gd name="connsiteY24" fmla="*/ 367928 h 605283"/>
                <a:gd name="connsiteX25" fmla="*/ 390092 w 398630"/>
                <a:gd name="connsiteY25" fmla="*/ 389944 h 605283"/>
                <a:gd name="connsiteX26" fmla="*/ 358267 w 398630"/>
                <a:gd name="connsiteY26" fmla="*/ 380209 h 605283"/>
                <a:gd name="connsiteX27" fmla="*/ 371778 w 398630"/>
                <a:gd name="connsiteY27" fmla="*/ 367928 h 605283"/>
                <a:gd name="connsiteX28" fmla="*/ 344759 w 398630"/>
                <a:gd name="connsiteY28" fmla="*/ 344712 h 605283"/>
                <a:gd name="connsiteX29" fmla="*/ 363206 w 398630"/>
                <a:gd name="connsiteY29" fmla="*/ 359392 h 605283"/>
                <a:gd name="connsiteX30" fmla="*/ 344759 w 398630"/>
                <a:gd name="connsiteY30" fmla="*/ 377666 h 605283"/>
                <a:gd name="connsiteX31" fmla="*/ 310564 w 398630"/>
                <a:gd name="connsiteY31" fmla="*/ 370326 h 605283"/>
                <a:gd name="connsiteX32" fmla="*/ 344759 w 398630"/>
                <a:gd name="connsiteY32" fmla="*/ 344712 h 605283"/>
                <a:gd name="connsiteX33" fmla="*/ 308125 w 398630"/>
                <a:gd name="connsiteY33" fmla="*/ 331234 h 605283"/>
                <a:gd name="connsiteX34" fmla="*/ 332581 w 398630"/>
                <a:gd name="connsiteY34" fmla="*/ 338573 h 605283"/>
                <a:gd name="connsiteX35" fmla="*/ 293421 w 398630"/>
                <a:gd name="connsiteY35" fmla="*/ 369127 h 605283"/>
                <a:gd name="connsiteX36" fmla="*/ 262814 w 398630"/>
                <a:gd name="connsiteY36" fmla="*/ 366731 h 605283"/>
                <a:gd name="connsiteX37" fmla="*/ 292221 w 398630"/>
                <a:gd name="connsiteY37" fmla="*/ 341119 h 605283"/>
                <a:gd name="connsiteX38" fmla="*/ 286069 w 398630"/>
                <a:gd name="connsiteY38" fmla="*/ 333780 h 605283"/>
                <a:gd name="connsiteX39" fmla="*/ 248110 w 398630"/>
                <a:gd name="connsiteY39" fmla="*/ 366731 h 605283"/>
                <a:gd name="connsiteX40" fmla="*/ 208950 w 398630"/>
                <a:gd name="connsiteY40" fmla="*/ 365532 h 605283"/>
                <a:gd name="connsiteX41" fmla="*/ 308125 w 398630"/>
                <a:gd name="connsiteY41" fmla="*/ 331234 h 605283"/>
                <a:gd name="connsiteX42" fmla="*/ 124832 w 398630"/>
                <a:gd name="connsiteY42" fmla="*/ 269541 h 605283"/>
                <a:gd name="connsiteX43" fmla="*/ 130460 w 398630"/>
                <a:gd name="connsiteY43" fmla="*/ 270121 h 605283"/>
                <a:gd name="connsiteX44" fmla="*/ 124456 w 398630"/>
                <a:gd name="connsiteY44" fmla="*/ 602697 h 605283"/>
                <a:gd name="connsiteX45" fmla="*/ 110947 w 398630"/>
                <a:gd name="connsiteY45" fmla="*/ 591612 h 605283"/>
                <a:gd name="connsiteX46" fmla="*/ 159880 w 398630"/>
                <a:gd name="connsiteY46" fmla="*/ 427870 h 605283"/>
                <a:gd name="connsiteX47" fmla="*/ 121905 w 398630"/>
                <a:gd name="connsiteY47" fmla="*/ 276264 h 605283"/>
                <a:gd name="connsiteX48" fmla="*/ 124832 w 398630"/>
                <a:gd name="connsiteY48" fmla="*/ 269541 h 605283"/>
                <a:gd name="connsiteX49" fmla="*/ 131809 w 398630"/>
                <a:gd name="connsiteY49" fmla="*/ 166323 h 605283"/>
                <a:gd name="connsiteX50" fmla="*/ 150128 w 398630"/>
                <a:gd name="connsiteY50" fmla="*/ 185794 h 605283"/>
                <a:gd name="connsiteX51" fmla="*/ 142770 w 398630"/>
                <a:gd name="connsiteY51" fmla="*/ 257989 h 605283"/>
                <a:gd name="connsiteX52" fmla="*/ 110937 w 398630"/>
                <a:gd name="connsiteY52" fmla="*/ 213953 h 605283"/>
                <a:gd name="connsiteX53" fmla="*/ 113340 w 398630"/>
                <a:gd name="connsiteY53" fmla="*/ 171116 h 605283"/>
                <a:gd name="connsiteX54" fmla="*/ 131809 w 398630"/>
                <a:gd name="connsiteY54" fmla="*/ 166323 h 605283"/>
                <a:gd name="connsiteX55" fmla="*/ 86503 w 398630"/>
                <a:gd name="connsiteY55" fmla="*/ 156373 h 605283"/>
                <a:gd name="connsiteX56" fmla="*/ 96257 w 398630"/>
                <a:gd name="connsiteY56" fmla="*/ 165067 h 605283"/>
                <a:gd name="connsiteX57" fmla="*/ 91305 w 398630"/>
                <a:gd name="connsiteY57" fmla="*/ 204192 h 605283"/>
                <a:gd name="connsiteX58" fmla="*/ 76600 w 398630"/>
                <a:gd name="connsiteY58" fmla="*/ 226228 h 605283"/>
                <a:gd name="connsiteX59" fmla="*/ 50940 w 398630"/>
                <a:gd name="connsiteY59" fmla="*/ 237171 h 605283"/>
                <a:gd name="connsiteX60" fmla="*/ 32634 w 398630"/>
                <a:gd name="connsiteY60" fmla="*/ 233573 h 605283"/>
                <a:gd name="connsiteX61" fmla="*/ 86503 w 398630"/>
                <a:gd name="connsiteY61" fmla="*/ 156373 h 605283"/>
                <a:gd name="connsiteX62" fmla="*/ 175767 w 398630"/>
                <a:gd name="connsiteY62" fmla="*/ 131958 h 605283"/>
                <a:gd name="connsiteX63" fmla="*/ 222298 w 398630"/>
                <a:gd name="connsiteY63" fmla="*/ 140506 h 605283"/>
                <a:gd name="connsiteX64" fmla="*/ 241961 w 398630"/>
                <a:gd name="connsiteY64" fmla="*/ 158953 h 605283"/>
                <a:gd name="connsiteX65" fmla="*/ 246914 w 398630"/>
                <a:gd name="connsiteY65" fmla="*/ 179799 h 605283"/>
                <a:gd name="connsiteX66" fmla="*/ 190477 w 398630"/>
                <a:gd name="connsiteY66" fmla="*/ 179799 h 605283"/>
                <a:gd name="connsiteX67" fmla="*/ 147699 w 398630"/>
                <a:gd name="connsiteY67" fmla="*/ 154004 h 605283"/>
                <a:gd name="connsiteX68" fmla="*/ 159857 w 398630"/>
                <a:gd name="connsiteY68" fmla="*/ 135707 h 605283"/>
                <a:gd name="connsiteX69" fmla="*/ 175767 w 398630"/>
                <a:gd name="connsiteY69" fmla="*/ 131958 h 605283"/>
                <a:gd name="connsiteX70" fmla="*/ 120708 w 398630"/>
                <a:gd name="connsiteY70" fmla="*/ 100203 h 605283"/>
                <a:gd name="connsiteX71" fmla="*/ 123107 w 398630"/>
                <a:gd name="connsiteY71" fmla="*/ 101403 h 605283"/>
                <a:gd name="connsiteX72" fmla="*/ 140352 w 398630"/>
                <a:gd name="connsiteY72" fmla="*/ 105152 h 605283"/>
                <a:gd name="connsiteX73" fmla="*/ 150098 w 398630"/>
                <a:gd name="connsiteY73" fmla="*/ 124649 h 605283"/>
                <a:gd name="connsiteX74" fmla="*/ 148899 w 398630"/>
                <a:gd name="connsiteY74" fmla="*/ 130798 h 605283"/>
                <a:gd name="connsiteX75" fmla="*/ 135403 w 398630"/>
                <a:gd name="connsiteY75" fmla="*/ 147895 h 605283"/>
                <a:gd name="connsiteX76" fmla="*/ 126856 w 398630"/>
                <a:gd name="connsiteY76" fmla="*/ 152844 h 605283"/>
                <a:gd name="connsiteX77" fmla="*/ 109761 w 398630"/>
                <a:gd name="connsiteY77" fmla="*/ 155244 h 605283"/>
                <a:gd name="connsiteX78" fmla="*/ 104813 w 398630"/>
                <a:gd name="connsiteY78" fmla="*/ 154044 h 605283"/>
                <a:gd name="connsiteX79" fmla="*/ 93866 w 398630"/>
                <a:gd name="connsiteY79" fmla="*/ 122249 h 605283"/>
                <a:gd name="connsiteX80" fmla="*/ 120708 w 398630"/>
                <a:gd name="connsiteY80" fmla="*/ 100203 h 605283"/>
                <a:gd name="connsiteX81" fmla="*/ 28419 w 398630"/>
                <a:gd name="connsiteY81" fmla="*/ 77585 h 605283"/>
                <a:gd name="connsiteX82" fmla="*/ 48536 w 398630"/>
                <a:gd name="connsiteY82" fmla="*/ 79382 h 605283"/>
                <a:gd name="connsiteX83" fmla="*/ 87719 w 398630"/>
                <a:gd name="connsiteY83" fmla="*/ 101400 h 605283"/>
                <a:gd name="connsiteX84" fmla="*/ 76610 w 398630"/>
                <a:gd name="connsiteY84" fmla="*/ 122221 h 605283"/>
                <a:gd name="connsiteX85" fmla="*/ 77961 w 398630"/>
                <a:gd name="connsiteY85" fmla="*/ 143041 h 605283"/>
                <a:gd name="connsiteX86" fmla="*/ 66851 w 398630"/>
                <a:gd name="connsiteY86" fmla="*/ 147834 h 605283"/>
                <a:gd name="connsiteX87" fmla="*/ 20312 w 398630"/>
                <a:gd name="connsiteY87" fmla="*/ 134503 h 605283"/>
                <a:gd name="connsiteX88" fmla="*/ 1996 w 398630"/>
                <a:gd name="connsiteY88" fmla="*/ 83127 h 605283"/>
                <a:gd name="connsiteX89" fmla="*/ 1996 w 398630"/>
                <a:gd name="connsiteY89" fmla="*/ 79382 h 605283"/>
                <a:gd name="connsiteX90" fmla="*/ 28419 w 398630"/>
                <a:gd name="connsiteY90" fmla="*/ 77585 h 605283"/>
                <a:gd name="connsiteX91" fmla="*/ 217517 w 398630"/>
                <a:gd name="connsiteY91" fmla="*/ 45231 h 605283"/>
                <a:gd name="connsiteX92" fmla="*/ 219919 w 398630"/>
                <a:gd name="connsiteY92" fmla="*/ 46429 h 605283"/>
                <a:gd name="connsiteX93" fmla="*/ 216316 w 398630"/>
                <a:gd name="connsiteY93" fmla="*/ 84323 h 605283"/>
                <a:gd name="connsiteX94" fmla="*/ 195446 w 398630"/>
                <a:gd name="connsiteY94" fmla="*/ 102596 h 605283"/>
                <a:gd name="connsiteX95" fmla="*/ 161064 w 398630"/>
                <a:gd name="connsiteY95" fmla="*/ 119820 h 605283"/>
                <a:gd name="connsiteX96" fmla="*/ 146500 w 398630"/>
                <a:gd name="connsiteY96" fmla="*/ 96605 h 605283"/>
                <a:gd name="connsiteX97" fmla="*/ 217517 w 398630"/>
                <a:gd name="connsiteY97" fmla="*/ 45231 h 605283"/>
                <a:gd name="connsiteX98" fmla="*/ 125689 w 398630"/>
                <a:gd name="connsiteY98" fmla="*/ 0 h 605283"/>
                <a:gd name="connsiteX99" fmla="*/ 134245 w 398630"/>
                <a:gd name="connsiteY99" fmla="*/ 90465 h 605283"/>
                <a:gd name="connsiteX100" fmla="*/ 133044 w 398630"/>
                <a:gd name="connsiteY100" fmla="*/ 90465 h 605283"/>
                <a:gd name="connsiteX101" fmla="*/ 131843 w 398630"/>
                <a:gd name="connsiteY101" fmla="*/ 89267 h 605283"/>
                <a:gd name="connsiteX102" fmla="*/ 108578 w 398630"/>
                <a:gd name="connsiteY102" fmla="*/ 90465 h 605283"/>
                <a:gd name="connsiteX103" fmla="*/ 125689 w 398630"/>
                <a:gd name="connsiteY103" fmla="*/ 0 h 60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98630" h="605283">
                  <a:moveTo>
                    <a:pt x="327641" y="397283"/>
                  </a:moveTo>
                  <a:cubicBezTo>
                    <a:pt x="352104" y="402226"/>
                    <a:pt x="375367" y="405820"/>
                    <a:pt x="398630" y="410763"/>
                  </a:cubicBezTo>
                  <a:cubicBezTo>
                    <a:pt x="384072" y="414358"/>
                    <a:pt x="368013" y="418103"/>
                    <a:pt x="352104" y="420499"/>
                  </a:cubicBezTo>
                  <a:cubicBezTo>
                    <a:pt x="348502" y="415556"/>
                    <a:pt x="343550" y="411962"/>
                    <a:pt x="338747" y="407019"/>
                  </a:cubicBezTo>
                  <a:cubicBezTo>
                    <a:pt x="334995" y="403424"/>
                    <a:pt x="331393" y="400878"/>
                    <a:pt x="327641" y="397283"/>
                  </a:cubicBezTo>
                  <a:close/>
                  <a:moveTo>
                    <a:pt x="271400" y="386346"/>
                  </a:moveTo>
                  <a:cubicBezTo>
                    <a:pt x="284908" y="388747"/>
                    <a:pt x="298266" y="391148"/>
                    <a:pt x="311774" y="393698"/>
                  </a:cubicBezTo>
                  <a:cubicBezTo>
                    <a:pt x="317928" y="400901"/>
                    <a:pt x="324081" y="408253"/>
                    <a:pt x="331436" y="414405"/>
                  </a:cubicBezTo>
                  <a:cubicBezTo>
                    <a:pt x="333837" y="416956"/>
                    <a:pt x="336239" y="420557"/>
                    <a:pt x="338790" y="422958"/>
                  </a:cubicBezTo>
                  <a:cubicBezTo>
                    <a:pt x="324081" y="425509"/>
                    <a:pt x="310573" y="426709"/>
                    <a:pt x="297065" y="426709"/>
                  </a:cubicBezTo>
                  <a:cubicBezTo>
                    <a:pt x="292262" y="421757"/>
                    <a:pt x="288510" y="416956"/>
                    <a:pt x="284908" y="410804"/>
                  </a:cubicBezTo>
                  <a:cubicBezTo>
                    <a:pt x="279955" y="403452"/>
                    <a:pt x="275002" y="394899"/>
                    <a:pt x="271400" y="386346"/>
                  </a:cubicBezTo>
                  <a:close/>
                  <a:moveTo>
                    <a:pt x="223628" y="379007"/>
                  </a:moveTo>
                  <a:cubicBezTo>
                    <a:pt x="236991" y="380207"/>
                    <a:pt x="249304" y="382607"/>
                    <a:pt x="262817" y="385007"/>
                  </a:cubicBezTo>
                  <a:cubicBezTo>
                    <a:pt x="267622" y="399708"/>
                    <a:pt x="273778" y="414408"/>
                    <a:pt x="283538" y="426709"/>
                  </a:cubicBezTo>
                  <a:cubicBezTo>
                    <a:pt x="270175" y="425509"/>
                    <a:pt x="257862" y="424309"/>
                    <a:pt x="245550" y="420559"/>
                  </a:cubicBezTo>
                  <a:cubicBezTo>
                    <a:pt x="238343" y="405858"/>
                    <a:pt x="229634" y="393708"/>
                    <a:pt x="223628" y="379007"/>
                  </a:cubicBezTo>
                  <a:close/>
                  <a:moveTo>
                    <a:pt x="200426" y="376466"/>
                  </a:moveTo>
                  <a:cubicBezTo>
                    <a:pt x="205229" y="376466"/>
                    <a:pt x="210183" y="377664"/>
                    <a:pt x="214986" y="377664"/>
                  </a:cubicBezTo>
                  <a:cubicBezTo>
                    <a:pt x="214986" y="379012"/>
                    <a:pt x="214986" y="379012"/>
                    <a:pt x="213785" y="381409"/>
                  </a:cubicBezTo>
                  <a:cubicBezTo>
                    <a:pt x="218739" y="392343"/>
                    <a:pt x="223692" y="404625"/>
                    <a:pt x="229696" y="415559"/>
                  </a:cubicBezTo>
                  <a:cubicBezTo>
                    <a:pt x="216337" y="410766"/>
                    <a:pt x="204029" y="402228"/>
                    <a:pt x="194272" y="389946"/>
                  </a:cubicBezTo>
                  <a:cubicBezTo>
                    <a:pt x="195473" y="386352"/>
                    <a:pt x="195473" y="383805"/>
                    <a:pt x="196674" y="381409"/>
                  </a:cubicBezTo>
                  <a:cubicBezTo>
                    <a:pt x="197874" y="379012"/>
                    <a:pt x="199075" y="377664"/>
                    <a:pt x="200426" y="376466"/>
                  </a:cubicBezTo>
                  <a:close/>
                  <a:moveTo>
                    <a:pt x="371778" y="367928"/>
                  </a:moveTo>
                  <a:cubicBezTo>
                    <a:pt x="377932" y="375267"/>
                    <a:pt x="384087" y="382605"/>
                    <a:pt x="390092" y="389944"/>
                  </a:cubicBezTo>
                  <a:cubicBezTo>
                    <a:pt x="380334" y="386350"/>
                    <a:pt x="369376" y="383803"/>
                    <a:pt x="358267" y="380209"/>
                  </a:cubicBezTo>
                  <a:cubicBezTo>
                    <a:pt x="363221" y="376465"/>
                    <a:pt x="368025" y="372870"/>
                    <a:pt x="371778" y="367928"/>
                  </a:cubicBezTo>
                  <a:close/>
                  <a:moveTo>
                    <a:pt x="344759" y="344712"/>
                  </a:moveTo>
                  <a:cubicBezTo>
                    <a:pt x="350908" y="349655"/>
                    <a:pt x="357057" y="354448"/>
                    <a:pt x="363206" y="359392"/>
                  </a:cubicBezTo>
                  <a:lnTo>
                    <a:pt x="344759" y="377666"/>
                  </a:lnTo>
                  <a:cubicBezTo>
                    <a:pt x="332611" y="375269"/>
                    <a:pt x="320313" y="372873"/>
                    <a:pt x="310564" y="370326"/>
                  </a:cubicBezTo>
                  <a:cubicBezTo>
                    <a:pt x="321512" y="363136"/>
                    <a:pt x="333810" y="354448"/>
                    <a:pt x="344759" y="344712"/>
                  </a:cubicBezTo>
                  <a:close/>
                  <a:moveTo>
                    <a:pt x="308125" y="331234"/>
                  </a:moveTo>
                  <a:cubicBezTo>
                    <a:pt x="317877" y="332582"/>
                    <a:pt x="325229" y="334978"/>
                    <a:pt x="332581" y="338573"/>
                  </a:cubicBezTo>
                  <a:cubicBezTo>
                    <a:pt x="319078" y="348458"/>
                    <a:pt x="305574" y="358193"/>
                    <a:pt x="293421" y="369127"/>
                  </a:cubicBezTo>
                  <a:cubicBezTo>
                    <a:pt x="283519" y="367929"/>
                    <a:pt x="272566" y="366731"/>
                    <a:pt x="262814" y="366731"/>
                  </a:cubicBezTo>
                  <a:cubicBezTo>
                    <a:pt x="272566" y="359392"/>
                    <a:pt x="282318" y="350854"/>
                    <a:pt x="292221" y="341119"/>
                  </a:cubicBezTo>
                  <a:cubicBezTo>
                    <a:pt x="295822" y="337375"/>
                    <a:pt x="290871" y="331234"/>
                    <a:pt x="286069" y="333780"/>
                  </a:cubicBezTo>
                  <a:cubicBezTo>
                    <a:pt x="272566" y="343516"/>
                    <a:pt x="260263" y="354449"/>
                    <a:pt x="248110" y="366731"/>
                  </a:cubicBezTo>
                  <a:cubicBezTo>
                    <a:pt x="234606" y="366731"/>
                    <a:pt x="221103" y="366731"/>
                    <a:pt x="208950" y="365532"/>
                  </a:cubicBezTo>
                  <a:cubicBezTo>
                    <a:pt x="234606" y="338573"/>
                    <a:pt x="268965" y="323895"/>
                    <a:pt x="308125" y="331234"/>
                  </a:cubicBezTo>
                  <a:close/>
                  <a:moveTo>
                    <a:pt x="124832" y="269541"/>
                  </a:moveTo>
                  <a:cubicBezTo>
                    <a:pt x="126820" y="268324"/>
                    <a:pt x="129259" y="268324"/>
                    <a:pt x="130460" y="270121"/>
                  </a:cubicBezTo>
                  <a:cubicBezTo>
                    <a:pt x="206410" y="353265"/>
                    <a:pt x="201607" y="520752"/>
                    <a:pt x="124456" y="602697"/>
                  </a:cubicBezTo>
                  <a:cubicBezTo>
                    <a:pt x="117101" y="610038"/>
                    <a:pt x="107195" y="600300"/>
                    <a:pt x="110947" y="591612"/>
                  </a:cubicBezTo>
                  <a:cubicBezTo>
                    <a:pt x="136614" y="536632"/>
                    <a:pt x="159880" y="490191"/>
                    <a:pt x="159880" y="427870"/>
                  </a:cubicBezTo>
                  <a:cubicBezTo>
                    <a:pt x="159880" y="372890"/>
                    <a:pt x="140367" y="326450"/>
                    <a:pt x="121905" y="276264"/>
                  </a:cubicBezTo>
                  <a:cubicBezTo>
                    <a:pt x="121304" y="273193"/>
                    <a:pt x="122843" y="270758"/>
                    <a:pt x="124832" y="269541"/>
                  </a:cubicBezTo>
                  <a:close/>
                  <a:moveTo>
                    <a:pt x="131809" y="166323"/>
                  </a:moveTo>
                  <a:cubicBezTo>
                    <a:pt x="136614" y="173662"/>
                    <a:pt x="142770" y="181002"/>
                    <a:pt x="150128" y="185794"/>
                  </a:cubicBezTo>
                  <a:cubicBezTo>
                    <a:pt x="162440" y="210359"/>
                    <a:pt x="167245" y="235971"/>
                    <a:pt x="142770" y="257989"/>
                  </a:cubicBezTo>
                  <a:cubicBezTo>
                    <a:pt x="121899" y="255442"/>
                    <a:pt x="113340" y="231028"/>
                    <a:pt x="110937" y="213953"/>
                  </a:cubicBezTo>
                  <a:cubicBezTo>
                    <a:pt x="108535" y="199275"/>
                    <a:pt x="112139" y="185794"/>
                    <a:pt x="113340" y="171116"/>
                  </a:cubicBezTo>
                  <a:cubicBezTo>
                    <a:pt x="119496" y="171116"/>
                    <a:pt x="125653" y="168719"/>
                    <a:pt x="131809" y="166323"/>
                  </a:cubicBezTo>
                  <a:close/>
                  <a:moveTo>
                    <a:pt x="86503" y="156373"/>
                  </a:moveTo>
                  <a:cubicBezTo>
                    <a:pt x="88904" y="160121"/>
                    <a:pt x="92506" y="163718"/>
                    <a:pt x="96257" y="165067"/>
                  </a:cubicBezTo>
                  <a:cubicBezTo>
                    <a:pt x="91305" y="176010"/>
                    <a:pt x="90105" y="189502"/>
                    <a:pt x="91305" y="204192"/>
                  </a:cubicBezTo>
                  <a:cubicBezTo>
                    <a:pt x="87704" y="212737"/>
                    <a:pt x="82752" y="220082"/>
                    <a:pt x="76600" y="226228"/>
                  </a:cubicBezTo>
                  <a:cubicBezTo>
                    <a:pt x="70598" y="232224"/>
                    <a:pt x="59493" y="237171"/>
                    <a:pt x="50940" y="237171"/>
                  </a:cubicBezTo>
                  <a:cubicBezTo>
                    <a:pt x="44788" y="238370"/>
                    <a:pt x="38636" y="234772"/>
                    <a:pt x="32634" y="233573"/>
                  </a:cubicBezTo>
                  <a:cubicBezTo>
                    <a:pt x="20329" y="201644"/>
                    <a:pt x="66846" y="178409"/>
                    <a:pt x="86503" y="156373"/>
                  </a:cubicBezTo>
                  <a:close/>
                  <a:moveTo>
                    <a:pt x="175767" y="131958"/>
                  </a:moveTo>
                  <a:cubicBezTo>
                    <a:pt x="191678" y="129558"/>
                    <a:pt x="207738" y="131958"/>
                    <a:pt x="222298" y="140506"/>
                  </a:cubicBezTo>
                  <a:cubicBezTo>
                    <a:pt x="229653" y="145455"/>
                    <a:pt x="237008" y="151604"/>
                    <a:pt x="241961" y="158953"/>
                  </a:cubicBezTo>
                  <a:cubicBezTo>
                    <a:pt x="245563" y="166302"/>
                    <a:pt x="245563" y="172451"/>
                    <a:pt x="246914" y="179799"/>
                  </a:cubicBezTo>
                  <a:cubicBezTo>
                    <a:pt x="228452" y="186998"/>
                    <a:pt x="208939" y="186998"/>
                    <a:pt x="190477" y="179799"/>
                  </a:cubicBezTo>
                  <a:cubicBezTo>
                    <a:pt x="173366" y="173650"/>
                    <a:pt x="161058" y="163752"/>
                    <a:pt x="147699" y="154004"/>
                  </a:cubicBezTo>
                  <a:cubicBezTo>
                    <a:pt x="153703" y="149205"/>
                    <a:pt x="157455" y="143056"/>
                    <a:pt x="159857" y="135707"/>
                  </a:cubicBezTo>
                  <a:cubicBezTo>
                    <a:pt x="166011" y="135707"/>
                    <a:pt x="170964" y="133157"/>
                    <a:pt x="175767" y="131958"/>
                  </a:cubicBezTo>
                  <a:close/>
                  <a:moveTo>
                    <a:pt x="120708" y="100203"/>
                  </a:moveTo>
                  <a:cubicBezTo>
                    <a:pt x="121907" y="100203"/>
                    <a:pt x="121907" y="101403"/>
                    <a:pt x="123107" y="101403"/>
                  </a:cubicBezTo>
                  <a:cubicBezTo>
                    <a:pt x="129255" y="102603"/>
                    <a:pt x="135403" y="101403"/>
                    <a:pt x="140352" y="105152"/>
                  </a:cubicBezTo>
                  <a:cubicBezTo>
                    <a:pt x="147699" y="108752"/>
                    <a:pt x="151298" y="117300"/>
                    <a:pt x="150098" y="124649"/>
                  </a:cubicBezTo>
                  <a:cubicBezTo>
                    <a:pt x="148899" y="127199"/>
                    <a:pt x="148899" y="128398"/>
                    <a:pt x="148899" y="130798"/>
                  </a:cubicBezTo>
                  <a:cubicBezTo>
                    <a:pt x="146500" y="136947"/>
                    <a:pt x="141551" y="143096"/>
                    <a:pt x="135403" y="147895"/>
                  </a:cubicBezTo>
                  <a:cubicBezTo>
                    <a:pt x="131804" y="146695"/>
                    <a:pt x="128055" y="149245"/>
                    <a:pt x="126856" y="152844"/>
                  </a:cubicBezTo>
                  <a:cubicBezTo>
                    <a:pt x="120708" y="154044"/>
                    <a:pt x="115909" y="155244"/>
                    <a:pt x="109761" y="155244"/>
                  </a:cubicBezTo>
                  <a:cubicBezTo>
                    <a:pt x="108562" y="154044"/>
                    <a:pt x="106013" y="154044"/>
                    <a:pt x="104813" y="154044"/>
                  </a:cubicBezTo>
                  <a:cubicBezTo>
                    <a:pt x="93866" y="147895"/>
                    <a:pt x="88918" y="133198"/>
                    <a:pt x="93866" y="122249"/>
                  </a:cubicBezTo>
                  <a:cubicBezTo>
                    <a:pt x="98665" y="111301"/>
                    <a:pt x="109761" y="103952"/>
                    <a:pt x="120708" y="100203"/>
                  </a:cubicBezTo>
                  <a:close/>
                  <a:moveTo>
                    <a:pt x="28419" y="77585"/>
                  </a:moveTo>
                  <a:cubicBezTo>
                    <a:pt x="38365" y="77884"/>
                    <a:pt x="47260" y="78783"/>
                    <a:pt x="48536" y="79382"/>
                  </a:cubicBezTo>
                  <a:cubicBezTo>
                    <a:pt x="64449" y="84325"/>
                    <a:pt x="75409" y="92863"/>
                    <a:pt x="87719" y="101400"/>
                  </a:cubicBezTo>
                  <a:cubicBezTo>
                    <a:pt x="82765" y="106343"/>
                    <a:pt x="77961" y="113683"/>
                    <a:pt x="76610" y="122221"/>
                  </a:cubicBezTo>
                  <a:cubicBezTo>
                    <a:pt x="75409" y="129560"/>
                    <a:pt x="75409" y="136900"/>
                    <a:pt x="77961" y="143041"/>
                  </a:cubicBezTo>
                  <a:cubicBezTo>
                    <a:pt x="75409" y="144239"/>
                    <a:pt x="71805" y="146636"/>
                    <a:pt x="66851" y="147834"/>
                  </a:cubicBezTo>
                  <a:cubicBezTo>
                    <a:pt x="50938" y="147834"/>
                    <a:pt x="33823" y="144239"/>
                    <a:pt x="20312" y="134503"/>
                  </a:cubicBezTo>
                  <a:cubicBezTo>
                    <a:pt x="645" y="121022"/>
                    <a:pt x="-2958" y="105145"/>
                    <a:pt x="1996" y="83127"/>
                  </a:cubicBezTo>
                  <a:cubicBezTo>
                    <a:pt x="3197" y="81928"/>
                    <a:pt x="1996" y="80730"/>
                    <a:pt x="1996" y="79382"/>
                  </a:cubicBezTo>
                  <a:cubicBezTo>
                    <a:pt x="7476" y="77585"/>
                    <a:pt x="18473" y="77285"/>
                    <a:pt x="28419" y="77585"/>
                  </a:cubicBezTo>
                  <a:close/>
                  <a:moveTo>
                    <a:pt x="217517" y="45231"/>
                  </a:moveTo>
                  <a:cubicBezTo>
                    <a:pt x="218718" y="45231"/>
                    <a:pt x="218718" y="46429"/>
                    <a:pt x="219919" y="46429"/>
                  </a:cubicBezTo>
                  <a:cubicBezTo>
                    <a:pt x="237035" y="53768"/>
                    <a:pt x="224874" y="74587"/>
                    <a:pt x="216316" y="84323"/>
                  </a:cubicBezTo>
                  <a:cubicBezTo>
                    <a:pt x="210160" y="91662"/>
                    <a:pt x="202803" y="97803"/>
                    <a:pt x="195446" y="102596"/>
                  </a:cubicBezTo>
                  <a:cubicBezTo>
                    <a:pt x="184336" y="109935"/>
                    <a:pt x="173375" y="114877"/>
                    <a:pt x="161064" y="119820"/>
                  </a:cubicBezTo>
                  <a:cubicBezTo>
                    <a:pt x="159863" y="111283"/>
                    <a:pt x="153707" y="101397"/>
                    <a:pt x="146500" y="96605"/>
                  </a:cubicBezTo>
                  <a:cubicBezTo>
                    <a:pt x="161064" y="70843"/>
                    <a:pt x="186888" y="44033"/>
                    <a:pt x="217517" y="45231"/>
                  </a:cubicBezTo>
                  <a:close/>
                  <a:moveTo>
                    <a:pt x="125689" y="0"/>
                  </a:moveTo>
                  <a:cubicBezTo>
                    <a:pt x="155109" y="22017"/>
                    <a:pt x="140399" y="59911"/>
                    <a:pt x="134245" y="90465"/>
                  </a:cubicBezTo>
                  <a:lnTo>
                    <a:pt x="133044" y="90465"/>
                  </a:lnTo>
                  <a:cubicBezTo>
                    <a:pt x="133044" y="90465"/>
                    <a:pt x="133044" y="89267"/>
                    <a:pt x="131843" y="89267"/>
                  </a:cubicBezTo>
                  <a:cubicBezTo>
                    <a:pt x="124488" y="88069"/>
                    <a:pt x="117134" y="88069"/>
                    <a:pt x="108578" y="90465"/>
                  </a:cubicBezTo>
                  <a:cubicBezTo>
                    <a:pt x="102424" y="66051"/>
                    <a:pt x="92517" y="3595"/>
                    <a:pt x="12568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804" name="Group 803">
            <a:extLst>
              <a:ext uri="{FF2B5EF4-FFF2-40B4-BE49-F238E27FC236}">
                <a16:creationId xmlns:a16="http://schemas.microsoft.com/office/drawing/2014/main" id="{97E33835-1953-4C7F-A6A3-FEE3DF5196B1}"/>
              </a:ext>
            </a:extLst>
          </p:cNvPr>
          <p:cNvGrpSpPr/>
          <p:nvPr/>
        </p:nvGrpSpPr>
        <p:grpSpPr>
          <a:xfrm>
            <a:off x="4688634" y="4355262"/>
            <a:ext cx="0" cy="0"/>
            <a:chOff x="4098084" y="3898841"/>
            <a:chExt cx="1024614" cy="1024610"/>
          </a:xfrm>
        </p:grpSpPr>
        <p:sp>
          <p:nvSpPr>
            <p:cNvPr id="721" name="îṥļïḑè">
              <a:extLst>
                <a:ext uri="{FF2B5EF4-FFF2-40B4-BE49-F238E27FC236}">
                  <a16:creationId xmlns:a16="http://schemas.microsoft.com/office/drawing/2014/main" id="{0BD2C000-7FCE-4C20-84A9-684C23B3E8B4}"/>
                </a:ext>
              </a:extLst>
            </p:cNvPr>
            <p:cNvSpPr/>
            <p:nvPr/>
          </p:nvSpPr>
          <p:spPr>
            <a:xfrm>
              <a:off x="4098084" y="3898841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 dirty="0"/>
            </a:p>
          </p:txBody>
        </p:sp>
        <p:sp>
          <p:nvSpPr>
            <p:cNvPr id="775" name="dollar-symbol-on-poker-piece_105761">
              <a:extLst>
                <a:ext uri="{FF2B5EF4-FFF2-40B4-BE49-F238E27FC236}">
                  <a16:creationId xmlns:a16="http://schemas.microsoft.com/office/drawing/2014/main" id="{D9EB1011-A02A-4CEC-935B-95EA8FDD423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05549" y="4106764"/>
              <a:ext cx="609684" cy="608764"/>
            </a:xfrm>
            <a:custGeom>
              <a:avLst/>
              <a:gdLst>
                <a:gd name="T0" fmla="*/ 600116 w 606244"/>
                <a:gd name="T1" fmla="*/ 600116 w 606244"/>
                <a:gd name="T2" fmla="*/ 600116 w 606244"/>
                <a:gd name="T3" fmla="*/ 600116 w 606244"/>
                <a:gd name="T4" fmla="*/ 455839 w 606244"/>
                <a:gd name="T5" fmla="*/ 455839 w 606244"/>
                <a:gd name="T6" fmla="*/ 600116 w 606244"/>
                <a:gd name="T7" fmla="*/ 600116 w 606244"/>
                <a:gd name="T8" fmla="*/ 600116 w 606244"/>
                <a:gd name="T9" fmla="*/ 600116 w 606244"/>
                <a:gd name="T10" fmla="*/ 600116 w 606244"/>
                <a:gd name="T11" fmla="*/ 600116 w 606244"/>
                <a:gd name="T12" fmla="*/ 600116 w 606244"/>
                <a:gd name="T13" fmla="*/ 600116 w 606244"/>
                <a:gd name="T14" fmla="*/ 600116 w 606244"/>
                <a:gd name="T15" fmla="*/ 600116 w 606244"/>
                <a:gd name="T16" fmla="*/ 600116 w 606244"/>
                <a:gd name="T17" fmla="*/ 600116 w 606244"/>
                <a:gd name="T18" fmla="*/ 600116 w 606244"/>
                <a:gd name="T19" fmla="*/ 600116 w 606244"/>
                <a:gd name="T20" fmla="*/ 600116 w 606244"/>
                <a:gd name="T21" fmla="*/ 600116 w 606244"/>
                <a:gd name="T22" fmla="*/ 600116 w 606244"/>
                <a:gd name="T23" fmla="*/ 600116 w 606244"/>
                <a:gd name="T24" fmla="*/ 600116 w 606244"/>
                <a:gd name="T25" fmla="*/ 600116 w 606244"/>
                <a:gd name="T26" fmla="*/ 600116 w 606244"/>
                <a:gd name="T27" fmla="*/ 600116 w 606244"/>
                <a:gd name="T28" fmla="*/ 600116 w 606244"/>
                <a:gd name="T29" fmla="*/ 600116 w 606244"/>
                <a:gd name="T30" fmla="*/ 600116 w 606244"/>
                <a:gd name="T31" fmla="*/ 600116 w 606244"/>
                <a:gd name="T32" fmla="*/ 600116 w 606244"/>
                <a:gd name="T33" fmla="*/ 600116 w 606244"/>
                <a:gd name="T34" fmla="*/ 600116 w 606244"/>
                <a:gd name="T35" fmla="*/ 600116 w 606244"/>
                <a:gd name="T36" fmla="*/ 600116 w 606244"/>
                <a:gd name="T37" fmla="*/ 600116 w 606244"/>
                <a:gd name="T38" fmla="*/ 600116 w 606244"/>
                <a:gd name="T39" fmla="*/ 600116 w 606244"/>
                <a:gd name="T40" fmla="*/ 600116 w 606244"/>
                <a:gd name="T41" fmla="*/ 600116 w 606244"/>
                <a:gd name="T42" fmla="*/ 600116 w 606244"/>
                <a:gd name="T43" fmla="*/ 600116 w 606244"/>
                <a:gd name="T44" fmla="*/ 455839 w 606244"/>
                <a:gd name="T45" fmla="*/ 455839 w 606244"/>
                <a:gd name="T46" fmla="*/ 600116 w 606244"/>
                <a:gd name="T47" fmla="*/ 600116 w 606244"/>
                <a:gd name="T48" fmla="*/ 600116 w 606244"/>
                <a:gd name="T49" fmla="*/ 600116 w 606244"/>
                <a:gd name="T50" fmla="*/ 600116 w 606244"/>
                <a:gd name="T51" fmla="*/ 600116 w 606244"/>
                <a:gd name="T52" fmla="*/ 600116 w 606244"/>
                <a:gd name="T53" fmla="*/ 600116 w 606244"/>
                <a:gd name="T54" fmla="*/ 455839 w 606244"/>
                <a:gd name="T55" fmla="*/ 455839 w 606244"/>
                <a:gd name="T56" fmla="*/ 600116 w 606244"/>
                <a:gd name="T57" fmla="*/ 600116 w 606244"/>
                <a:gd name="T58" fmla="*/ 600116 w 606244"/>
                <a:gd name="T59" fmla="*/ 600116 w 606244"/>
                <a:gd name="T60" fmla="*/ 600116 w 606244"/>
                <a:gd name="T61" fmla="*/ 600116 w 606244"/>
                <a:gd name="T62" fmla="*/ 600116 w 606244"/>
                <a:gd name="T63" fmla="*/ 600116 w 606244"/>
                <a:gd name="T64" fmla="*/ 455839 w 606244"/>
                <a:gd name="T65" fmla="*/ 455839 w 606244"/>
                <a:gd name="T66" fmla="*/ 600116 w 606244"/>
                <a:gd name="T67" fmla="*/ 600116 w 606244"/>
                <a:gd name="T68" fmla="*/ 600116 w 606244"/>
                <a:gd name="T69" fmla="*/ 600116 w 606244"/>
                <a:gd name="T70" fmla="*/ 600116 w 606244"/>
                <a:gd name="T71" fmla="*/ 600116 w 606244"/>
                <a:gd name="T72" fmla="*/ 600116 w 606244"/>
                <a:gd name="T73" fmla="*/ 600116 w 606244"/>
                <a:gd name="T74" fmla="*/ 455839 w 606244"/>
                <a:gd name="T75" fmla="*/ 455839 w 606244"/>
                <a:gd name="T76" fmla="*/ 600116 w 606244"/>
                <a:gd name="T77" fmla="*/ 600116 w 606244"/>
                <a:gd name="T78" fmla="*/ 600116 w 606244"/>
                <a:gd name="T79" fmla="*/ 600116 w 606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53" h="3953">
                  <a:moveTo>
                    <a:pt x="1976" y="0"/>
                  </a:moveTo>
                  <a:cubicBezTo>
                    <a:pt x="885" y="0"/>
                    <a:pt x="0" y="885"/>
                    <a:pt x="0" y="1976"/>
                  </a:cubicBezTo>
                  <a:cubicBezTo>
                    <a:pt x="0" y="3068"/>
                    <a:pt x="885" y="3953"/>
                    <a:pt x="1976" y="3953"/>
                  </a:cubicBezTo>
                  <a:cubicBezTo>
                    <a:pt x="3068" y="3953"/>
                    <a:pt x="3953" y="3068"/>
                    <a:pt x="3953" y="1976"/>
                  </a:cubicBezTo>
                  <a:cubicBezTo>
                    <a:pt x="3953" y="885"/>
                    <a:pt x="3068" y="0"/>
                    <a:pt x="1976" y="0"/>
                  </a:cubicBezTo>
                  <a:close/>
                  <a:moveTo>
                    <a:pt x="2961" y="513"/>
                  </a:moveTo>
                  <a:lnTo>
                    <a:pt x="2835" y="699"/>
                  </a:lnTo>
                  <a:cubicBezTo>
                    <a:pt x="2667" y="587"/>
                    <a:pt x="2476" y="506"/>
                    <a:pt x="2271" y="466"/>
                  </a:cubicBezTo>
                  <a:lnTo>
                    <a:pt x="2315" y="246"/>
                  </a:lnTo>
                  <a:cubicBezTo>
                    <a:pt x="2547" y="290"/>
                    <a:pt x="2766" y="381"/>
                    <a:pt x="2961" y="513"/>
                  </a:cubicBezTo>
                  <a:close/>
                  <a:moveTo>
                    <a:pt x="2079" y="2854"/>
                  </a:moveTo>
                  <a:lnTo>
                    <a:pt x="2079" y="3083"/>
                  </a:lnTo>
                  <a:lnTo>
                    <a:pt x="1892" y="3083"/>
                  </a:lnTo>
                  <a:lnTo>
                    <a:pt x="1892" y="2855"/>
                  </a:lnTo>
                  <a:cubicBezTo>
                    <a:pt x="1759" y="2840"/>
                    <a:pt x="1634" y="2789"/>
                    <a:pt x="1540" y="2702"/>
                  </a:cubicBezTo>
                  <a:cubicBezTo>
                    <a:pt x="1445" y="2614"/>
                    <a:pt x="1402" y="2485"/>
                    <a:pt x="1405" y="2316"/>
                  </a:cubicBezTo>
                  <a:lnTo>
                    <a:pt x="1410" y="2310"/>
                  </a:lnTo>
                  <a:lnTo>
                    <a:pt x="1740" y="2310"/>
                  </a:lnTo>
                  <a:cubicBezTo>
                    <a:pt x="1740" y="2416"/>
                    <a:pt x="1764" y="2487"/>
                    <a:pt x="1811" y="2532"/>
                  </a:cubicBezTo>
                  <a:cubicBezTo>
                    <a:pt x="1858" y="2577"/>
                    <a:pt x="1919" y="2599"/>
                    <a:pt x="1992" y="2599"/>
                  </a:cubicBezTo>
                  <a:cubicBezTo>
                    <a:pt x="2062" y="2599"/>
                    <a:pt x="2116" y="2580"/>
                    <a:pt x="2153" y="2543"/>
                  </a:cubicBezTo>
                  <a:cubicBezTo>
                    <a:pt x="2191" y="2506"/>
                    <a:pt x="2210" y="2455"/>
                    <a:pt x="2210" y="2392"/>
                  </a:cubicBezTo>
                  <a:cubicBezTo>
                    <a:pt x="2210" y="2330"/>
                    <a:pt x="2192" y="2279"/>
                    <a:pt x="2156" y="2239"/>
                  </a:cubicBezTo>
                  <a:cubicBezTo>
                    <a:pt x="2120" y="2200"/>
                    <a:pt x="2058" y="2163"/>
                    <a:pt x="1971" y="2130"/>
                  </a:cubicBezTo>
                  <a:cubicBezTo>
                    <a:pt x="1800" y="2067"/>
                    <a:pt x="1673" y="1997"/>
                    <a:pt x="1590" y="1921"/>
                  </a:cubicBezTo>
                  <a:cubicBezTo>
                    <a:pt x="1507" y="1844"/>
                    <a:pt x="1466" y="1736"/>
                    <a:pt x="1466" y="1596"/>
                  </a:cubicBezTo>
                  <a:cubicBezTo>
                    <a:pt x="1466" y="1467"/>
                    <a:pt x="1504" y="1360"/>
                    <a:pt x="1587" y="1278"/>
                  </a:cubicBezTo>
                  <a:cubicBezTo>
                    <a:pt x="1670" y="1195"/>
                    <a:pt x="1785" y="1146"/>
                    <a:pt x="1919" y="1131"/>
                  </a:cubicBezTo>
                  <a:lnTo>
                    <a:pt x="1919" y="883"/>
                  </a:lnTo>
                  <a:lnTo>
                    <a:pt x="2105" y="883"/>
                  </a:lnTo>
                  <a:lnTo>
                    <a:pt x="2105" y="1134"/>
                  </a:lnTo>
                  <a:cubicBezTo>
                    <a:pt x="2239" y="1154"/>
                    <a:pt x="2349" y="1210"/>
                    <a:pt x="2427" y="1304"/>
                  </a:cubicBezTo>
                  <a:cubicBezTo>
                    <a:pt x="2504" y="1397"/>
                    <a:pt x="2543" y="1517"/>
                    <a:pt x="2542" y="1665"/>
                  </a:cubicBezTo>
                  <a:lnTo>
                    <a:pt x="2539" y="1670"/>
                  </a:lnTo>
                  <a:lnTo>
                    <a:pt x="2210" y="1670"/>
                  </a:lnTo>
                  <a:cubicBezTo>
                    <a:pt x="2210" y="1576"/>
                    <a:pt x="2191" y="1510"/>
                    <a:pt x="2153" y="1461"/>
                  </a:cubicBezTo>
                  <a:cubicBezTo>
                    <a:pt x="2116" y="1411"/>
                    <a:pt x="2065" y="1387"/>
                    <a:pt x="2000" y="1387"/>
                  </a:cubicBezTo>
                  <a:cubicBezTo>
                    <a:pt x="1934" y="1387"/>
                    <a:pt x="1885" y="1407"/>
                    <a:pt x="1852" y="1445"/>
                  </a:cubicBezTo>
                  <a:cubicBezTo>
                    <a:pt x="1820" y="1483"/>
                    <a:pt x="1804" y="1534"/>
                    <a:pt x="1804" y="1597"/>
                  </a:cubicBezTo>
                  <a:cubicBezTo>
                    <a:pt x="1804" y="1657"/>
                    <a:pt x="1821" y="1706"/>
                    <a:pt x="1855" y="1744"/>
                  </a:cubicBezTo>
                  <a:cubicBezTo>
                    <a:pt x="1889" y="1781"/>
                    <a:pt x="1952" y="1818"/>
                    <a:pt x="2044" y="1854"/>
                  </a:cubicBezTo>
                  <a:cubicBezTo>
                    <a:pt x="2215" y="1921"/>
                    <a:pt x="2341" y="1993"/>
                    <a:pt x="2423" y="2069"/>
                  </a:cubicBezTo>
                  <a:cubicBezTo>
                    <a:pt x="2505" y="2146"/>
                    <a:pt x="2546" y="2253"/>
                    <a:pt x="2546" y="2390"/>
                  </a:cubicBezTo>
                  <a:cubicBezTo>
                    <a:pt x="2546" y="2524"/>
                    <a:pt x="2501" y="2631"/>
                    <a:pt x="2419" y="2711"/>
                  </a:cubicBezTo>
                  <a:cubicBezTo>
                    <a:pt x="2336" y="2792"/>
                    <a:pt x="2225" y="2839"/>
                    <a:pt x="2079" y="2854"/>
                  </a:cubicBezTo>
                  <a:close/>
                  <a:moveTo>
                    <a:pt x="1638" y="246"/>
                  </a:moveTo>
                  <a:lnTo>
                    <a:pt x="1681" y="466"/>
                  </a:lnTo>
                  <a:cubicBezTo>
                    <a:pt x="1475" y="506"/>
                    <a:pt x="1284" y="587"/>
                    <a:pt x="1117" y="700"/>
                  </a:cubicBezTo>
                  <a:lnTo>
                    <a:pt x="992" y="513"/>
                  </a:lnTo>
                  <a:cubicBezTo>
                    <a:pt x="1187" y="381"/>
                    <a:pt x="1406" y="290"/>
                    <a:pt x="1638" y="246"/>
                  </a:cubicBezTo>
                  <a:close/>
                  <a:moveTo>
                    <a:pt x="513" y="992"/>
                  </a:moveTo>
                  <a:lnTo>
                    <a:pt x="699" y="1118"/>
                  </a:lnTo>
                  <a:cubicBezTo>
                    <a:pt x="587" y="1285"/>
                    <a:pt x="506" y="1477"/>
                    <a:pt x="466" y="1682"/>
                  </a:cubicBezTo>
                  <a:lnTo>
                    <a:pt x="246" y="1638"/>
                  </a:lnTo>
                  <a:cubicBezTo>
                    <a:pt x="290" y="1406"/>
                    <a:pt x="381" y="1187"/>
                    <a:pt x="513" y="992"/>
                  </a:cubicBezTo>
                  <a:close/>
                  <a:moveTo>
                    <a:pt x="513" y="2961"/>
                  </a:moveTo>
                  <a:cubicBezTo>
                    <a:pt x="381" y="2766"/>
                    <a:pt x="290" y="2547"/>
                    <a:pt x="246" y="2315"/>
                  </a:cubicBezTo>
                  <a:lnTo>
                    <a:pt x="466" y="2272"/>
                  </a:lnTo>
                  <a:cubicBezTo>
                    <a:pt x="506" y="2478"/>
                    <a:pt x="587" y="2669"/>
                    <a:pt x="700" y="2836"/>
                  </a:cubicBezTo>
                  <a:lnTo>
                    <a:pt x="513" y="2961"/>
                  </a:lnTo>
                  <a:close/>
                  <a:moveTo>
                    <a:pt x="992" y="3440"/>
                  </a:moveTo>
                  <a:lnTo>
                    <a:pt x="1118" y="3254"/>
                  </a:lnTo>
                  <a:cubicBezTo>
                    <a:pt x="1285" y="3366"/>
                    <a:pt x="1477" y="3447"/>
                    <a:pt x="1682" y="3487"/>
                  </a:cubicBezTo>
                  <a:lnTo>
                    <a:pt x="1638" y="3707"/>
                  </a:lnTo>
                  <a:cubicBezTo>
                    <a:pt x="1406" y="3662"/>
                    <a:pt x="1187" y="3572"/>
                    <a:pt x="992" y="3440"/>
                  </a:cubicBezTo>
                  <a:close/>
                  <a:moveTo>
                    <a:pt x="2315" y="3707"/>
                  </a:moveTo>
                  <a:lnTo>
                    <a:pt x="2272" y="3487"/>
                  </a:lnTo>
                  <a:cubicBezTo>
                    <a:pt x="2478" y="3447"/>
                    <a:pt x="2669" y="3366"/>
                    <a:pt x="2836" y="3253"/>
                  </a:cubicBezTo>
                  <a:lnTo>
                    <a:pt x="2961" y="3440"/>
                  </a:lnTo>
                  <a:cubicBezTo>
                    <a:pt x="2766" y="3572"/>
                    <a:pt x="2547" y="3663"/>
                    <a:pt x="2315" y="3707"/>
                  </a:cubicBezTo>
                  <a:close/>
                  <a:moveTo>
                    <a:pt x="3440" y="2961"/>
                  </a:moveTo>
                  <a:lnTo>
                    <a:pt x="3254" y="2835"/>
                  </a:lnTo>
                  <a:cubicBezTo>
                    <a:pt x="3366" y="2667"/>
                    <a:pt x="3447" y="2476"/>
                    <a:pt x="3487" y="2271"/>
                  </a:cubicBezTo>
                  <a:lnTo>
                    <a:pt x="3707" y="2315"/>
                  </a:lnTo>
                  <a:cubicBezTo>
                    <a:pt x="3662" y="2547"/>
                    <a:pt x="3572" y="2766"/>
                    <a:pt x="3440" y="2961"/>
                  </a:cubicBezTo>
                  <a:close/>
                  <a:moveTo>
                    <a:pt x="3487" y="1681"/>
                  </a:moveTo>
                  <a:cubicBezTo>
                    <a:pt x="3447" y="1475"/>
                    <a:pt x="3366" y="1284"/>
                    <a:pt x="3253" y="1117"/>
                  </a:cubicBezTo>
                  <a:lnTo>
                    <a:pt x="3440" y="992"/>
                  </a:lnTo>
                  <a:cubicBezTo>
                    <a:pt x="3572" y="1187"/>
                    <a:pt x="3662" y="1406"/>
                    <a:pt x="3707" y="1638"/>
                  </a:cubicBezTo>
                  <a:lnTo>
                    <a:pt x="3487" y="16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791" name="Group 790">
            <a:extLst>
              <a:ext uri="{FF2B5EF4-FFF2-40B4-BE49-F238E27FC236}">
                <a16:creationId xmlns:a16="http://schemas.microsoft.com/office/drawing/2014/main" id="{2746DDD6-55DD-4235-ADE6-64AD9C6962F9}"/>
              </a:ext>
            </a:extLst>
          </p:cNvPr>
          <p:cNvGrpSpPr/>
          <p:nvPr/>
        </p:nvGrpSpPr>
        <p:grpSpPr>
          <a:xfrm>
            <a:off x="5326293" y="6959450"/>
            <a:ext cx="2715364" cy="732574"/>
            <a:chOff x="5286022" y="3436436"/>
            <a:chExt cx="2715364" cy="732574"/>
          </a:xfrm>
        </p:grpSpPr>
        <p:sp>
          <p:nvSpPr>
            <p:cNvPr id="778" name="iṧlïďe">
              <a:extLst>
                <a:ext uri="{FF2B5EF4-FFF2-40B4-BE49-F238E27FC236}">
                  <a16:creationId xmlns:a16="http://schemas.microsoft.com/office/drawing/2014/main" id="{F1352C4B-7DF3-4B72-B31A-A4A65F887025}"/>
                </a:ext>
              </a:extLst>
            </p:cNvPr>
            <p:cNvSpPr txBox="1"/>
            <p:nvPr/>
          </p:nvSpPr>
          <p:spPr bwMode="auto">
            <a:xfrm>
              <a:off x="5286022" y="3436436"/>
              <a:ext cx="2715364" cy="36933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3.  Tokenize</a:t>
              </a:r>
            </a:p>
          </p:txBody>
        </p:sp>
        <p:sp>
          <p:nvSpPr>
            <p:cNvPr id="779" name="Rectangle 778">
              <a:extLst>
                <a:ext uri="{FF2B5EF4-FFF2-40B4-BE49-F238E27FC236}">
                  <a16:creationId xmlns:a16="http://schemas.microsoft.com/office/drawing/2014/main" id="{A95B18B0-A16F-44EA-8C74-1742B363E58A}"/>
                </a:ext>
              </a:extLst>
            </p:cNvPr>
            <p:cNvSpPr/>
            <p:nvPr/>
          </p:nvSpPr>
          <p:spPr>
            <a:xfrm>
              <a:off x="5286022" y="3799678"/>
              <a:ext cx="2715364" cy="369332"/>
            </a:xfrm>
            <a:prstGeom prst="rect">
              <a:avLst/>
            </a:prstGeom>
            <a:solidFill>
              <a:schemeClr val="accent6"/>
            </a:solidFill>
          </p:spPr>
          <p:txBody>
            <a:bodyPr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Use </a:t>
              </a:r>
              <a:r>
                <a:rPr lang="en-US" altLang="zh-TW" dirty="0" err="1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TweetTokenizer</a:t>
              </a:r>
              <a:endParaRPr lang="en-US" altLang="zh-TW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785" name="Rectangle 784">
            <a:extLst>
              <a:ext uri="{FF2B5EF4-FFF2-40B4-BE49-F238E27FC236}">
                <a16:creationId xmlns:a16="http://schemas.microsoft.com/office/drawing/2014/main" id="{8CA92074-E5CD-4001-AEE0-DF8625C12590}"/>
              </a:ext>
            </a:extLst>
          </p:cNvPr>
          <p:cNvSpPr/>
          <p:nvPr/>
        </p:nvSpPr>
        <p:spPr>
          <a:xfrm>
            <a:off x="5326293" y="3581117"/>
            <a:ext cx="5667729" cy="323165"/>
          </a:xfrm>
          <a:prstGeom prst="rect">
            <a:avLst/>
          </a:prstGeom>
        </p:spPr>
        <p:txBody>
          <a:bodyPr wrap="square" lIns="0" tIns="0" rIns="91440" bIns="45720">
            <a:spAutoFit/>
          </a:bodyPr>
          <a:lstStyle/>
          <a:p>
            <a:pPr algn="ctr"/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we are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team delta! we love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so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much ❤</a:t>
            </a:r>
            <a:r>
              <a:rPr lang="zh-TW" altLang="en-US" dirty="0">
                <a:solidFill>
                  <a:schemeClr val="accent5"/>
                </a:solidFill>
                <a:latin typeface="Tw Cen MT" panose="020B0602020104020603" pitchFamily="34" charset="0"/>
              </a:rPr>
              <a:t>😂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#nlpthebest</a:t>
            </a:r>
            <a:endParaRPr lang="en-US" altLang="zh-TW" sz="1600" dirty="0">
              <a:solidFill>
                <a:schemeClr val="accent5"/>
              </a:solidFill>
              <a:latin typeface="Tw Cen MT" panose="020B0602020104020603" pitchFamily="34" charset="0"/>
            </a:endParaRPr>
          </a:p>
        </p:txBody>
      </p:sp>
      <p:grpSp>
        <p:nvGrpSpPr>
          <p:cNvPr id="793" name="îSľíḍé">
            <a:extLst>
              <a:ext uri="{FF2B5EF4-FFF2-40B4-BE49-F238E27FC236}">
                <a16:creationId xmlns:a16="http://schemas.microsoft.com/office/drawing/2014/main" id="{8BBE2A94-E5C8-49BD-8E16-433DD93064C0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794" name="ïṧlîḓe">
              <a:extLst>
                <a:ext uri="{FF2B5EF4-FFF2-40B4-BE49-F238E27FC236}">
                  <a16:creationId xmlns:a16="http://schemas.microsoft.com/office/drawing/2014/main" id="{912768B2-683F-4FCE-9E49-8863B46565A1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795" name="iṡliḓè">
              <a:extLst>
                <a:ext uri="{FF2B5EF4-FFF2-40B4-BE49-F238E27FC236}">
                  <a16:creationId xmlns:a16="http://schemas.microsoft.com/office/drawing/2014/main" id="{99C8D79C-C8A6-40B5-8906-BE9BFAA7EAB0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796" name="íšḻíḋè">
                <a:extLst>
                  <a:ext uri="{FF2B5EF4-FFF2-40B4-BE49-F238E27FC236}">
                    <a16:creationId xmlns:a16="http://schemas.microsoft.com/office/drawing/2014/main" id="{826319EE-14CC-4072-B52E-2116A3E71BFA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797" name="îS1iḓé">
                <a:extLst>
                  <a:ext uri="{FF2B5EF4-FFF2-40B4-BE49-F238E27FC236}">
                    <a16:creationId xmlns:a16="http://schemas.microsoft.com/office/drawing/2014/main" id="{E7B29E2B-D721-4A2D-A00E-1F9CE428BF86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817" name="Rectangle 816">
            <a:extLst>
              <a:ext uri="{FF2B5EF4-FFF2-40B4-BE49-F238E27FC236}">
                <a16:creationId xmlns:a16="http://schemas.microsoft.com/office/drawing/2014/main" id="{446B869F-E4BE-430F-AFA1-6C44DA91F067}"/>
              </a:ext>
            </a:extLst>
          </p:cNvPr>
          <p:cNvSpPr/>
          <p:nvPr/>
        </p:nvSpPr>
        <p:spPr>
          <a:xfrm>
            <a:off x="682627" y="35286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ahnschrift SemiCondensed" panose="020B0502040204020203" pitchFamily="34" charset="0"/>
              </a:rPr>
              <a:t>Pre-Processing</a:t>
            </a:r>
          </a:p>
        </p:txBody>
      </p:sp>
      <p:sp>
        <p:nvSpPr>
          <p:cNvPr id="819" name="Rectangle 818">
            <a:extLst>
              <a:ext uri="{FF2B5EF4-FFF2-40B4-BE49-F238E27FC236}">
                <a16:creationId xmlns:a16="http://schemas.microsoft.com/office/drawing/2014/main" id="{8704C69A-A599-463C-A98F-37C2670146EC}"/>
              </a:ext>
            </a:extLst>
          </p:cNvPr>
          <p:cNvSpPr/>
          <p:nvPr/>
        </p:nvSpPr>
        <p:spPr>
          <a:xfrm>
            <a:off x="682627" y="-619109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Bahnschrift SemiCondensed" panose="020B0502040204020203" pitchFamily="34" charset="0"/>
              </a:rPr>
              <a:t>Emojis</a:t>
            </a:r>
          </a:p>
        </p:txBody>
      </p:sp>
      <p:grpSp>
        <p:nvGrpSpPr>
          <p:cNvPr id="335" name="Group 334">
            <a:extLst>
              <a:ext uri="{FF2B5EF4-FFF2-40B4-BE49-F238E27FC236}">
                <a16:creationId xmlns:a16="http://schemas.microsoft.com/office/drawing/2014/main" id="{0D1FA1AB-9B77-4F78-9238-DCE7FAC5FB89}"/>
              </a:ext>
            </a:extLst>
          </p:cNvPr>
          <p:cNvGrpSpPr/>
          <p:nvPr/>
        </p:nvGrpSpPr>
        <p:grpSpPr>
          <a:xfrm>
            <a:off x="5315898" y="7215121"/>
            <a:ext cx="2715364" cy="2117568"/>
            <a:chOff x="5286022" y="4290474"/>
            <a:chExt cx="2715364" cy="2117568"/>
          </a:xfrm>
        </p:grpSpPr>
        <p:sp>
          <p:nvSpPr>
            <p:cNvPr id="336" name="iṧlïďe">
              <a:extLst>
                <a:ext uri="{FF2B5EF4-FFF2-40B4-BE49-F238E27FC236}">
                  <a16:creationId xmlns:a16="http://schemas.microsoft.com/office/drawing/2014/main" id="{287FE493-B92D-445D-8EC1-46730059DD06}"/>
                </a:ext>
              </a:extLst>
            </p:cNvPr>
            <p:cNvSpPr txBox="1"/>
            <p:nvPr/>
          </p:nvSpPr>
          <p:spPr bwMode="auto">
            <a:xfrm>
              <a:off x="5286022" y="4290474"/>
              <a:ext cx="2715364" cy="3632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4. Cleaning</a:t>
              </a:r>
            </a:p>
          </p:txBody>
        </p:sp>
        <p:sp>
          <p:nvSpPr>
            <p:cNvPr id="337" name="Rectangle 336">
              <a:extLst>
                <a:ext uri="{FF2B5EF4-FFF2-40B4-BE49-F238E27FC236}">
                  <a16:creationId xmlns:a16="http://schemas.microsoft.com/office/drawing/2014/main" id="{62782BF4-4666-4DF7-995C-1FE77C9CBC91}"/>
                </a:ext>
              </a:extLst>
            </p:cNvPr>
            <p:cNvSpPr/>
            <p:nvPr/>
          </p:nvSpPr>
          <p:spPr>
            <a:xfrm>
              <a:off x="5286022" y="4653716"/>
              <a:ext cx="2715364" cy="1754326"/>
            </a:xfrm>
            <a:prstGeom prst="rect">
              <a:avLst/>
            </a:prstGeom>
            <a:solidFill>
              <a:schemeClr val="accent6"/>
            </a:solidFill>
          </p:spPr>
          <p:txBody>
            <a:bodyPr>
              <a:spAutoFit/>
            </a:bodyPr>
            <a:lstStyle/>
            <a:p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Remove: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Punctuation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Number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#hashtag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@tag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URL</a:t>
              </a:r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DDEE0B0B-451A-4FD7-A49E-07EB022021ED}"/>
              </a:ext>
            </a:extLst>
          </p:cNvPr>
          <p:cNvGrpSpPr/>
          <p:nvPr/>
        </p:nvGrpSpPr>
        <p:grpSpPr>
          <a:xfrm>
            <a:off x="5326293" y="2364602"/>
            <a:ext cx="4004589" cy="1009573"/>
            <a:chOff x="5286021" y="1952067"/>
            <a:chExt cx="4004589" cy="1009573"/>
          </a:xfrm>
        </p:grpSpPr>
        <p:sp>
          <p:nvSpPr>
            <p:cNvPr id="341" name="iṧlïďe">
              <a:extLst>
                <a:ext uri="{FF2B5EF4-FFF2-40B4-BE49-F238E27FC236}">
                  <a16:creationId xmlns:a16="http://schemas.microsoft.com/office/drawing/2014/main" id="{A1D8FB44-146C-4C36-87E2-E78FD9FD6B55}"/>
                </a:ext>
              </a:extLst>
            </p:cNvPr>
            <p:cNvSpPr txBox="1"/>
            <p:nvPr/>
          </p:nvSpPr>
          <p:spPr bwMode="auto">
            <a:xfrm>
              <a:off x="5286021" y="1952067"/>
              <a:ext cx="4004589" cy="38565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2.  Stemming</a:t>
              </a:r>
            </a:p>
          </p:txBody>
        </p:sp>
        <p:sp>
          <p:nvSpPr>
            <p:cNvPr id="342" name="Rectangle 341">
              <a:extLst>
                <a:ext uri="{FF2B5EF4-FFF2-40B4-BE49-F238E27FC236}">
                  <a16:creationId xmlns:a16="http://schemas.microsoft.com/office/drawing/2014/main" id="{FA237715-41BF-4DB4-B5E9-2908D6CC6533}"/>
                </a:ext>
              </a:extLst>
            </p:cNvPr>
            <p:cNvSpPr/>
            <p:nvPr/>
          </p:nvSpPr>
          <p:spPr>
            <a:xfrm>
              <a:off x="5286021" y="2315309"/>
              <a:ext cx="4004589" cy="646331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Stop words, e.g. : I’ve 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→ 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I have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Weird words, e.g.: </a:t>
              </a:r>
              <a:r>
                <a:rPr lang="en-US" altLang="zh-TW" dirty="0" err="1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yeeeessss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 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→ 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yes</a:t>
              </a:r>
            </a:p>
          </p:txBody>
        </p:sp>
      </p:grpSp>
      <p:sp>
        <p:nvSpPr>
          <p:cNvPr id="333" name="Rectangle 332">
            <a:extLst>
              <a:ext uri="{FF2B5EF4-FFF2-40B4-BE49-F238E27FC236}">
                <a16:creationId xmlns:a16="http://schemas.microsoft.com/office/drawing/2014/main" id="{66BB8149-EE23-436A-A60D-4683977933DA}"/>
              </a:ext>
            </a:extLst>
          </p:cNvPr>
          <p:cNvSpPr/>
          <p:nvPr/>
        </p:nvSpPr>
        <p:spPr>
          <a:xfrm>
            <a:off x="5326293" y="1953044"/>
            <a:ext cx="6008457" cy="323165"/>
          </a:xfrm>
          <a:prstGeom prst="rect">
            <a:avLst/>
          </a:prstGeom>
        </p:spPr>
        <p:txBody>
          <a:bodyPr wrap="square" lIns="0" tIns="0" rIns="91440" bIns="45720">
            <a:spAutoFit/>
          </a:bodyPr>
          <a:lstStyle/>
          <a:p>
            <a:pPr algn="ctr"/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w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’re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t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am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d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lta!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w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e love </a:t>
            </a:r>
            <a:r>
              <a:rPr lang="en-US" altLang="zh-TW" dirty="0" err="1">
                <a:solidFill>
                  <a:schemeClr val="accent3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sooooo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much ❤</a:t>
            </a:r>
            <a:r>
              <a:rPr lang="zh-TW" altLang="en-US" dirty="0">
                <a:solidFill>
                  <a:schemeClr val="accent5"/>
                </a:solidFill>
                <a:latin typeface="Tw Cen MT" panose="020B0602020104020603" pitchFamily="34" charset="0"/>
              </a:rPr>
              <a:t>😂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#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nlpthebest</a:t>
            </a:r>
            <a:endParaRPr lang="en-US" altLang="zh-TW" sz="1600" dirty="0">
              <a:solidFill>
                <a:schemeClr val="accent3"/>
              </a:solidFill>
              <a:latin typeface="Tw Cen MT" panose="020B0602020104020603" pitchFamily="34" charset="0"/>
            </a:endParaRP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6B1FA10B-783F-43C3-A5C9-9F34E7B6A691}"/>
              </a:ext>
            </a:extLst>
          </p:cNvPr>
          <p:cNvSpPr/>
          <p:nvPr/>
        </p:nvSpPr>
        <p:spPr>
          <a:xfrm>
            <a:off x="4591268" y="630180"/>
            <a:ext cx="69007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We’re Team Delta! We love NLP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sooooo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much </a:t>
            </a:r>
            <a:r>
              <a:rPr lang="zh-TW" altLang="zh-TW" sz="16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❤😂</a:t>
            </a:r>
            <a:r>
              <a:rPr lang="zh-TW" altLang="zh-TW" sz="1600" dirty="0">
                <a:solidFill>
                  <a:schemeClr val="accent5"/>
                </a:solidFill>
              </a:rPr>
              <a:t> </a:t>
            </a:r>
            <a:r>
              <a:rPr lang="en-US" altLang="zh-TW" dirty="0">
                <a:solidFill>
                  <a:schemeClr val="accent5"/>
                </a:solidFill>
              </a:rPr>
              <a:t>#NLPTHEBEST</a:t>
            </a:r>
            <a:endParaRPr lang="en-US" altLang="zh-TW" sz="1600" dirty="0">
              <a:solidFill>
                <a:schemeClr val="accent5"/>
              </a:solidFill>
              <a:latin typeface="Tw Cen MT" panose="020B06020201040206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2053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" name="Rectangle 786">
            <a:extLst>
              <a:ext uri="{FF2B5EF4-FFF2-40B4-BE49-F238E27FC236}">
                <a16:creationId xmlns:a16="http://schemas.microsoft.com/office/drawing/2014/main" id="{88E1C4E1-417B-4AFC-A354-581B126075BC}"/>
              </a:ext>
            </a:extLst>
          </p:cNvPr>
          <p:cNvSpPr/>
          <p:nvPr/>
        </p:nvSpPr>
        <p:spPr>
          <a:xfrm>
            <a:off x="5122698" y="4550972"/>
            <a:ext cx="587132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[“we”, ”are”, “team”, “delta”, “!”, “we”, “love”, “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”, “so”, </a:t>
            </a:r>
          </a:p>
          <a:p>
            <a:pPr algn="ctr"/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“much”, “❤”, “</a:t>
            </a:r>
            <a:r>
              <a:rPr lang="zh-TW" altLang="en-US" dirty="0">
                <a:solidFill>
                  <a:schemeClr val="accent5"/>
                </a:solidFill>
                <a:latin typeface="Tw Cen MT" panose="020B0602020104020603" pitchFamily="34" charset="0"/>
              </a:rPr>
              <a:t>😂”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, “#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nlpthebest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”]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B5C2C9-7B3E-47B0-801C-C00DD7FEF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7" name="ïšlï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hidden="1" title="iSlide™ 版权声明  COPYRIGHT NOTICE">
            <a:extLst>
              <a:ext uri="{FF2B5EF4-FFF2-40B4-BE49-F238E27FC236}">
                <a16:creationId xmlns:a16="http://schemas.microsoft.com/office/drawing/2014/main" id="{B330D365-5F4F-40C8-8925-C17F9275C003}"/>
              </a:ext>
            </a:extLst>
          </p:cNvPr>
          <p:cNvGrpSpPr>
            <a:grpSpLocks noChangeAspect="1"/>
          </p:cNvGrpSpPr>
          <p:nvPr/>
        </p:nvGrpSpPr>
        <p:grpSpPr>
          <a:xfrm>
            <a:off x="390007" y="2653887"/>
            <a:ext cx="3409531" cy="2384210"/>
            <a:chOff x="3951288" y="2505075"/>
            <a:chExt cx="4397375" cy="3074988"/>
          </a:xfrm>
        </p:grpSpPr>
        <p:sp>
          <p:nvSpPr>
            <p:cNvPr id="45" name="íşľiďê">
              <a:extLst>
                <a:ext uri="{FF2B5EF4-FFF2-40B4-BE49-F238E27FC236}">
                  <a16:creationId xmlns:a16="http://schemas.microsoft.com/office/drawing/2014/main" id="{89D8F306-DCBF-4C36-B21C-654D222DF399}"/>
                </a:ext>
              </a:extLst>
            </p:cNvPr>
            <p:cNvSpPr/>
            <p:nvPr/>
          </p:nvSpPr>
          <p:spPr bwMode="auto">
            <a:xfrm>
              <a:off x="3951288" y="4794250"/>
              <a:ext cx="4397375" cy="701675"/>
            </a:xfrm>
            <a:custGeom>
              <a:avLst/>
              <a:gdLst>
                <a:gd name="T0" fmla="*/ 3047 w 3645"/>
                <a:gd name="T1" fmla="*/ 0 h 582"/>
                <a:gd name="T2" fmla="*/ 1271 w 3645"/>
                <a:gd name="T3" fmla="*/ 17 h 582"/>
                <a:gd name="T4" fmla="*/ 1118 w 3645"/>
                <a:gd name="T5" fmla="*/ 452 h 582"/>
                <a:gd name="T6" fmla="*/ 1019 w 3645"/>
                <a:gd name="T7" fmla="*/ 452 h 582"/>
                <a:gd name="T8" fmla="*/ 1083 w 3645"/>
                <a:gd name="T9" fmla="*/ 19 h 582"/>
                <a:gd name="T10" fmla="*/ 63 w 3645"/>
                <a:gd name="T11" fmla="*/ 29 h 582"/>
                <a:gd name="T12" fmla="*/ 31 w 3645"/>
                <a:gd name="T13" fmla="*/ 103 h 582"/>
                <a:gd name="T14" fmla="*/ 469 w 3645"/>
                <a:gd name="T15" fmla="*/ 485 h 582"/>
                <a:gd name="T16" fmla="*/ 732 w 3645"/>
                <a:gd name="T17" fmla="*/ 582 h 582"/>
                <a:gd name="T18" fmla="*/ 3244 w 3645"/>
                <a:gd name="T19" fmla="*/ 582 h 582"/>
                <a:gd name="T20" fmla="*/ 3463 w 3645"/>
                <a:gd name="T21" fmla="*/ 254 h 582"/>
                <a:gd name="T22" fmla="*/ 3047 w 3645"/>
                <a:gd name="T23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45" h="582">
                  <a:moveTo>
                    <a:pt x="3047" y="0"/>
                  </a:moveTo>
                  <a:cubicBezTo>
                    <a:pt x="1271" y="17"/>
                    <a:pt x="1271" y="17"/>
                    <a:pt x="1271" y="17"/>
                  </a:cubicBezTo>
                  <a:cubicBezTo>
                    <a:pt x="1118" y="452"/>
                    <a:pt x="1118" y="452"/>
                    <a:pt x="1118" y="452"/>
                  </a:cubicBezTo>
                  <a:cubicBezTo>
                    <a:pt x="1019" y="452"/>
                    <a:pt x="1019" y="452"/>
                    <a:pt x="1019" y="452"/>
                  </a:cubicBezTo>
                  <a:cubicBezTo>
                    <a:pt x="1083" y="19"/>
                    <a:pt x="1083" y="19"/>
                    <a:pt x="1083" y="1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20" y="29"/>
                    <a:pt x="0" y="77"/>
                    <a:pt x="31" y="103"/>
                  </a:cubicBezTo>
                  <a:cubicBezTo>
                    <a:pt x="469" y="485"/>
                    <a:pt x="469" y="485"/>
                    <a:pt x="469" y="485"/>
                  </a:cubicBezTo>
                  <a:cubicBezTo>
                    <a:pt x="540" y="547"/>
                    <a:pt x="634" y="582"/>
                    <a:pt x="732" y="582"/>
                  </a:cubicBezTo>
                  <a:cubicBezTo>
                    <a:pt x="3244" y="582"/>
                    <a:pt x="3244" y="582"/>
                    <a:pt x="3244" y="582"/>
                  </a:cubicBezTo>
                  <a:cubicBezTo>
                    <a:pt x="3469" y="582"/>
                    <a:pt x="3645" y="373"/>
                    <a:pt x="3463" y="254"/>
                  </a:cubicBezTo>
                  <a:cubicBezTo>
                    <a:pt x="3047" y="0"/>
                    <a:pt x="3047" y="0"/>
                    <a:pt x="3047" y="0"/>
                  </a:cubicBezTo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šļídè">
              <a:extLst>
                <a:ext uri="{FF2B5EF4-FFF2-40B4-BE49-F238E27FC236}">
                  <a16:creationId xmlns:a16="http://schemas.microsoft.com/office/drawing/2014/main" id="{B0B9B306-34E6-453E-9682-FFC33BB997D3}"/>
                </a:ext>
              </a:extLst>
            </p:cNvPr>
            <p:cNvSpPr/>
            <p:nvPr/>
          </p:nvSpPr>
          <p:spPr bwMode="auto">
            <a:xfrm>
              <a:off x="4156075" y="3217863"/>
              <a:ext cx="1736725" cy="1066800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ṧḻîďé">
              <a:extLst>
                <a:ext uri="{FF2B5EF4-FFF2-40B4-BE49-F238E27FC236}">
                  <a16:creationId xmlns:a16="http://schemas.microsoft.com/office/drawing/2014/main" id="{4B1FC5EC-E1EB-4376-A235-4B22530EDB1A}"/>
                </a:ext>
              </a:extLst>
            </p:cNvPr>
            <p:cNvSpPr/>
            <p:nvPr/>
          </p:nvSpPr>
          <p:spPr bwMode="auto">
            <a:xfrm>
              <a:off x="5892800" y="3217863"/>
              <a:ext cx="1736725" cy="1069975"/>
            </a:xfrm>
            <a:custGeom>
              <a:avLst/>
              <a:gdLst>
                <a:gd name="T0" fmla="*/ 0 w 1440"/>
                <a:gd name="T1" fmla="*/ 888 h 888"/>
                <a:gd name="T2" fmla="*/ 0 w 1440"/>
                <a:gd name="T3" fmla="*/ 174 h 888"/>
                <a:gd name="T4" fmla="*/ 174 w 1440"/>
                <a:gd name="T5" fmla="*/ 0 h 888"/>
                <a:gd name="T6" fmla="*/ 1266 w 1440"/>
                <a:gd name="T7" fmla="*/ 0 h 888"/>
                <a:gd name="T8" fmla="*/ 1440 w 1440"/>
                <a:gd name="T9" fmla="*/ 174 h 888"/>
                <a:gd name="T10" fmla="*/ 1440 w 1440"/>
                <a:gd name="T11" fmla="*/ 886 h 888"/>
                <a:gd name="T12" fmla="*/ 0 w 1440"/>
                <a:gd name="T13" fmla="*/ 88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0" h="888">
                  <a:moveTo>
                    <a:pt x="0" y="888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6" y="0"/>
                    <a:pt x="1266" y="0"/>
                    <a:pt x="1266" y="0"/>
                  </a:cubicBezTo>
                  <a:cubicBezTo>
                    <a:pt x="1362" y="0"/>
                    <a:pt x="1440" y="78"/>
                    <a:pt x="1440" y="174"/>
                  </a:cubicBezTo>
                  <a:cubicBezTo>
                    <a:pt x="1440" y="886"/>
                    <a:pt x="1440" y="886"/>
                    <a:pt x="1440" y="886"/>
                  </a:cubicBezTo>
                  <a:cubicBezTo>
                    <a:pt x="0" y="888"/>
                    <a:pt x="0" y="888"/>
                    <a:pt x="0" y="888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śḻíḋê">
              <a:extLst>
                <a:ext uri="{FF2B5EF4-FFF2-40B4-BE49-F238E27FC236}">
                  <a16:creationId xmlns:a16="http://schemas.microsoft.com/office/drawing/2014/main" id="{947E837F-88AE-4548-9432-98D523E882A9}"/>
                </a:ext>
              </a:extLst>
            </p:cNvPr>
            <p:cNvSpPr/>
            <p:nvPr/>
          </p:nvSpPr>
          <p:spPr bwMode="auto">
            <a:xfrm>
              <a:off x="5892800" y="3263900"/>
              <a:ext cx="1735138" cy="1023938"/>
            </a:xfrm>
            <a:custGeom>
              <a:avLst/>
              <a:gdLst>
                <a:gd name="T0" fmla="*/ 1375 w 1439"/>
                <a:gd name="T1" fmla="*/ 0 h 849"/>
                <a:gd name="T2" fmla="*/ 0 w 1439"/>
                <a:gd name="T3" fmla="*/ 849 h 849"/>
                <a:gd name="T4" fmla="*/ 1439 w 1439"/>
                <a:gd name="T5" fmla="*/ 847 h 849"/>
                <a:gd name="T6" fmla="*/ 1439 w 1439"/>
                <a:gd name="T7" fmla="*/ 135 h 849"/>
                <a:gd name="T8" fmla="*/ 1375 w 1439"/>
                <a:gd name="T9" fmla="*/ 0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9" h="849">
                  <a:moveTo>
                    <a:pt x="1375" y="0"/>
                  </a:moveTo>
                  <a:cubicBezTo>
                    <a:pt x="0" y="849"/>
                    <a:pt x="0" y="849"/>
                    <a:pt x="0" y="849"/>
                  </a:cubicBezTo>
                  <a:cubicBezTo>
                    <a:pt x="1439" y="847"/>
                    <a:pt x="1439" y="847"/>
                    <a:pt x="1439" y="847"/>
                  </a:cubicBezTo>
                  <a:cubicBezTo>
                    <a:pt x="1439" y="135"/>
                    <a:pt x="1439" y="135"/>
                    <a:pt x="1439" y="135"/>
                  </a:cubicBezTo>
                  <a:cubicBezTo>
                    <a:pt x="1439" y="81"/>
                    <a:pt x="1414" y="32"/>
                    <a:pt x="1375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ś1ide">
              <a:extLst>
                <a:ext uri="{FF2B5EF4-FFF2-40B4-BE49-F238E27FC236}">
                  <a16:creationId xmlns:a16="http://schemas.microsoft.com/office/drawing/2014/main" id="{8E358758-E0BA-4531-A352-7C247580CA28}"/>
                </a:ext>
              </a:extLst>
            </p:cNvPr>
            <p:cNvSpPr/>
            <p:nvPr/>
          </p:nvSpPr>
          <p:spPr bwMode="auto">
            <a:xfrm>
              <a:off x="4156075" y="3259138"/>
              <a:ext cx="1736725" cy="1025525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ŝḻide">
              <a:extLst>
                <a:ext uri="{FF2B5EF4-FFF2-40B4-BE49-F238E27FC236}">
                  <a16:creationId xmlns:a16="http://schemas.microsoft.com/office/drawing/2014/main" id="{07072112-6490-40A6-B078-53AB0C48AD61}"/>
                </a:ext>
              </a:extLst>
            </p:cNvPr>
            <p:cNvSpPr/>
            <p:nvPr/>
          </p:nvSpPr>
          <p:spPr bwMode="auto">
            <a:xfrm>
              <a:off x="4318000" y="4718050"/>
              <a:ext cx="180975" cy="322263"/>
            </a:xfrm>
            <a:custGeom>
              <a:avLst/>
              <a:gdLst>
                <a:gd name="T0" fmla="*/ 57 w 114"/>
                <a:gd name="T1" fmla="*/ 1 h 203"/>
                <a:gd name="T2" fmla="*/ 0 w 114"/>
                <a:gd name="T3" fmla="*/ 0 h 203"/>
                <a:gd name="T4" fmla="*/ 23 w 114"/>
                <a:gd name="T5" fmla="*/ 203 h 203"/>
                <a:gd name="T6" fmla="*/ 53 w 114"/>
                <a:gd name="T7" fmla="*/ 203 h 203"/>
                <a:gd name="T8" fmla="*/ 61 w 114"/>
                <a:gd name="T9" fmla="*/ 203 h 203"/>
                <a:gd name="T10" fmla="*/ 91 w 114"/>
                <a:gd name="T11" fmla="*/ 203 h 203"/>
                <a:gd name="T12" fmla="*/ 114 w 114"/>
                <a:gd name="T13" fmla="*/ 0 h 203"/>
                <a:gd name="T14" fmla="*/ 57 w 114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203">
                  <a:moveTo>
                    <a:pt x="57" y="1"/>
                  </a:moveTo>
                  <a:lnTo>
                    <a:pt x="0" y="0"/>
                  </a:lnTo>
                  <a:lnTo>
                    <a:pt x="23" y="203"/>
                  </a:lnTo>
                  <a:lnTo>
                    <a:pt x="53" y="203"/>
                  </a:lnTo>
                  <a:lnTo>
                    <a:pt x="61" y="203"/>
                  </a:lnTo>
                  <a:lnTo>
                    <a:pt x="91" y="203"/>
                  </a:lnTo>
                  <a:lnTo>
                    <a:pt x="114" y="0"/>
                  </a:lnTo>
                  <a:lnTo>
                    <a:pt x="57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ľïďè">
              <a:extLst>
                <a:ext uri="{FF2B5EF4-FFF2-40B4-BE49-F238E27FC236}">
                  <a16:creationId xmlns:a16="http://schemas.microsoft.com/office/drawing/2014/main" id="{F9465839-55E5-46EB-9EDA-17935A929D08}"/>
                </a:ext>
              </a:extLst>
            </p:cNvPr>
            <p:cNvSpPr/>
            <p:nvPr/>
          </p:nvSpPr>
          <p:spPr bwMode="auto">
            <a:xfrm>
              <a:off x="7285038" y="4718050"/>
              <a:ext cx="182563" cy="322263"/>
            </a:xfrm>
            <a:custGeom>
              <a:avLst/>
              <a:gdLst>
                <a:gd name="T0" fmla="*/ 58 w 115"/>
                <a:gd name="T1" fmla="*/ 1 h 203"/>
                <a:gd name="T2" fmla="*/ 0 w 115"/>
                <a:gd name="T3" fmla="*/ 0 h 203"/>
                <a:gd name="T4" fmla="*/ 24 w 115"/>
                <a:gd name="T5" fmla="*/ 203 h 203"/>
                <a:gd name="T6" fmla="*/ 54 w 115"/>
                <a:gd name="T7" fmla="*/ 203 h 203"/>
                <a:gd name="T8" fmla="*/ 62 w 115"/>
                <a:gd name="T9" fmla="*/ 203 h 203"/>
                <a:gd name="T10" fmla="*/ 92 w 115"/>
                <a:gd name="T11" fmla="*/ 203 h 203"/>
                <a:gd name="T12" fmla="*/ 115 w 115"/>
                <a:gd name="T13" fmla="*/ 0 h 203"/>
                <a:gd name="T14" fmla="*/ 58 w 115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203">
                  <a:moveTo>
                    <a:pt x="58" y="1"/>
                  </a:moveTo>
                  <a:lnTo>
                    <a:pt x="0" y="0"/>
                  </a:lnTo>
                  <a:lnTo>
                    <a:pt x="24" y="203"/>
                  </a:lnTo>
                  <a:lnTo>
                    <a:pt x="54" y="203"/>
                  </a:lnTo>
                  <a:lnTo>
                    <a:pt x="62" y="203"/>
                  </a:lnTo>
                  <a:lnTo>
                    <a:pt x="92" y="203"/>
                  </a:lnTo>
                  <a:lnTo>
                    <a:pt x="115" y="0"/>
                  </a:lnTo>
                  <a:lnTo>
                    <a:pt x="58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$1íďe">
              <a:extLst>
                <a:ext uri="{FF2B5EF4-FFF2-40B4-BE49-F238E27FC236}">
                  <a16:creationId xmlns:a16="http://schemas.microsoft.com/office/drawing/2014/main" id="{337E0033-2AD9-4F19-88D0-7303AC14EDC8}"/>
                </a:ext>
              </a:extLst>
            </p:cNvPr>
            <p:cNvSpPr/>
            <p:nvPr/>
          </p:nvSpPr>
          <p:spPr bwMode="auto">
            <a:xfrm>
              <a:off x="4473575" y="4622800"/>
              <a:ext cx="2900363" cy="204788"/>
            </a:xfrm>
            <a:prstGeom prst="rect">
              <a:avLst/>
            </a:pr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sḻïḓê">
              <a:extLst>
                <a:ext uri="{FF2B5EF4-FFF2-40B4-BE49-F238E27FC236}">
                  <a16:creationId xmlns:a16="http://schemas.microsoft.com/office/drawing/2014/main" id="{32FA38A7-D1B0-499C-93BB-76023B00F2D8}"/>
                </a:ext>
              </a:extLst>
            </p:cNvPr>
            <p:cNvSpPr/>
            <p:nvPr/>
          </p:nvSpPr>
          <p:spPr bwMode="auto">
            <a:xfrm>
              <a:off x="4160838" y="4284663"/>
              <a:ext cx="3475038" cy="244475"/>
            </a:xfrm>
            <a:custGeom>
              <a:avLst/>
              <a:gdLst>
                <a:gd name="T0" fmla="*/ 0 w 2189"/>
                <a:gd name="T1" fmla="*/ 154 h 154"/>
                <a:gd name="T2" fmla="*/ 2189 w 2189"/>
                <a:gd name="T3" fmla="*/ 154 h 154"/>
                <a:gd name="T4" fmla="*/ 2085 w 2189"/>
                <a:gd name="T5" fmla="*/ 0 h 154"/>
                <a:gd name="T6" fmla="*/ 99 w 2189"/>
                <a:gd name="T7" fmla="*/ 0 h 154"/>
                <a:gd name="T8" fmla="*/ 0 w 2189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9" h="154">
                  <a:moveTo>
                    <a:pt x="0" y="154"/>
                  </a:moveTo>
                  <a:lnTo>
                    <a:pt x="2189" y="154"/>
                  </a:lnTo>
                  <a:lnTo>
                    <a:pt x="2085" y="0"/>
                  </a:lnTo>
                  <a:lnTo>
                    <a:pt x="99" y="0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8C9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šḷîḍé">
              <a:extLst>
                <a:ext uri="{FF2B5EF4-FFF2-40B4-BE49-F238E27FC236}">
                  <a16:creationId xmlns:a16="http://schemas.microsoft.com/office/drawing/2014/main" id="{5AD146C7-F5C2-4EA0-B46E-3C180B006E25}"/>
                </a:ext>
              </a:extLst>
            </p:cNvPr>
            <p:cNvSpPr/>
            <p:nvPr/>
          </p:nvSpPr>
          <p:spPr bwMode="auto">
            <a:xfrm>
              <a:off x="4156075" y="4464050"/>
              <a:ext cx="1738313" cy="322263"/>
            </a:xfrm>
            <a:custGeom>
              <a:avLst/>
              <a:gdLst>
                <a:gd name="T0" fmla="*/ 1374 w 1441"/>
                <a:gd name="T1" fmla="*/ 268 h 268"/>
                <a:gd name="T2" fmla="*/ 66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6 w 1441"/>
                <a:gd name="T9" fmla="*/ 0 h 268"/>
                <a:gd name="T10" fmla="*/ 1374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4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4" y="268"/>
                  </a:moveTo>
                  <a:cubicBezTo>
                    <a:pt x="66" y="268"/>
                    <a:pt x="66" y="268"/>
                    <a:pt x="66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374" y="0"/>
                    <a:pt x="1374" y="0"/>
                    <a:pt x="1374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4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$ḷíḍè">
              <a:extLst>
                <a:ext uri="{FF2B5EF4-FFF2-40B4-BE49-F238E27FC236}">
                  <a16:creationId xmlns:a16="http://schemas.microsoft.com/office/drawing/2014/main" id="{5BF00A61-3C99-4137-9DF7-0A16EF80C2B3}"/>
                </a:ext>
              </a:extLst>
            </p:cNvPr>
            <p:cNvSpPr/>
            <p:nvPr/>
          </p:nvSpPr>
          <p:spPr bwMode="auto">
            <a:xfrm>
              <a:off x="5889625" y="4464050"/>
              <a:ext cx="1738313" cy="322263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5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ṧḷîdê">
              <a:extLst>
                <a:ext uri="{FF2B5EF4-FFF2-40B4-BE49-F238E27FC236}">
                  <a16:creationId xmlns:a16="http://schemas.microsoft.com/office/drawing/2014/main" id="{D4F561B4-C8F6-4D8B-8500-4B45465D9AD1}"/>
                </a:ext>
              </a:extLst>
            </p:cNvPr>
            <p:cNvSpPr/>
            <p:nvPr/>
          </p:nvSpPr>
          <p:spPr bwMode="auto">
            <a:xfrm>
              <a:off x="7472363" y="3776663"/>
              <a:ext cx="322263" cy="1016000"/>
            </a:xfrm>
            <a:custGeom>
              <a:avLst/>
              <a:gdLst>
                <a:gd name="T0" fmla="*/ 67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7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7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7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8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8" y="0"/>
                    <a:pt x="20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30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30" y="843"/>
                    <a:pt x="67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ṥľíde">
              <a:extLst>
                <a:ext uri="{FF2B5EF4-FFF2-40B4-BE49-F238E27FC236}">
                  <a16:creationId xmlns:a16="http://schemas.microsoft.com/office/drawing/2014/main" id="{BF5F832D-C821-4A11-816E-C12489F78179}"/>
                </a:ext>
              </a:extLst>
            </p:cNvPr>
            <p:cNvSpPr/>
            <p:nvPr/>
          </p:nvSpPr>
          <p:spPr bwMode="auto">
            <a:xfrm>
              <a:off x="3995738" y="3776663"/>
              <a:ext cx="322263" cy="1016000"/>
            </a:xfrm>
            <a:custGeom>
              <a:avLst/>
              <a:gdLst>
                <a:gd name="T0" fmla="*/ 66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6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6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6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7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7" y="0"/>
                    <a:pt x="201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9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29" y="843"/>
                    <a:pt x="66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śľïde">
              <a:extLst>
                <a:ext uri="{FF2B5EF4-FFF2-40B4-BE49-F238E27FC236}">
                  <a16:creationId xmlns:a16="http://schemas.microsoft.com/office/drawing/2014/main" id="{FC5C8F7B-0CE8-46FC-B170-90FE664DBD0B}"/>
                </a:ext>
              </a:extLst>
            </p:cNvPr>
            <p:cNvSpPr/>
            <p:nvPr/>
          </p:nvSpPr>
          <p:spPr bwMode="auto">
            <a:xfrm>
              <a:off x="4256088" y="3676650"/>
              <a:ext cx="773113" cy="676275"/>
            </a:xfrm>
            <a:custGeom>
              <a:avLst/>
              <a:gdLst>
                <a:gd name="T0" fmla="*/ 112 w 640"/>
                <a:gd name="T1" fmla="*/ 560 h 561"/>
                <a:gd name="T2" fmla="*/ 415 w 640"/>
                <a:gd name="T3" fmla="*/ 511 h 561"/>
                <a:gd name="T4" fmla="*/ 426 w 640"/>
                <a:gd name="T5" fmla="*/ 510 h 561"/>
                <a:gd name="T6" fmla="*/ 597 w 640"/>
                <a:gd name="T7" fmla="*/ 532 h 561"/>
                <a:gd name="T8" fmla="*/ 640 w 640"/>
                <a:gd name="T9" fmla="*/ 495 h 561"/>
                <a:gd name="T10" fmla="*/ 638 w 640"/>
                <a:gd name="T11" fmla="*/ 484 h 561"/>
                <a:gd name="T12" fmla="*/ 584 w 640"/>
                <a:gd name="T13" fmla="*/ 176 h 561"/>
                <a:gd name="T14" fmla="*/ 584 w 640"/>
                <a:gd name="T15" fmla="*/ 42 h 561"/>
                <a:gd name="T16" fmla="*/ 536 w 640"/>
                <a:gd name="T17" fmla="*/ 7 h 561"/>
                <a:gd name="T18" fmla="*/ 495 w 640"/>
                <a:gd name="T19" fmla="*/ 18 h 561"/>
                <a:gd name="T20" fmla="*/ 485 w 640"/>
                <a:gd name="T21" fmla="*/ 19 h 561"/>
                <a:gd name="T22" fmla="*/ 40 w 640"/>
                <a:gd name="T23" fmla="*/ 19 h 561"/>
                <a:gd name="T24" fmla="*/ 3 w 640"/>
                <a:gd name="T25" fmla="*/ 48 h 561"/>
                <a:gd name="T26" fmla="*/ 2 w 640"/>
                <a:gd name="T27" fmla="*/ 53 h 561"/>
                <a:gd name="T28" fmla="*/ 4 w 640"/>
                <a:gd name="T29" fmla="*/ 75 h 561"/>
                <a:gd name="T30" fmla="*/ 62 w 640"/>
                <a:gd name="T31" fmla="*/ 346 h 561"/>
                <a:gd name="T32" fmla="*/ 63 w 640"/>
                <a:gd name="T33" fmla="*/ 520 h 561"/>
                <a:gd name="T34" fmla="*/ 85 w 640"/>
                <a:gd name="T35" fmla="*/ 555 h 561"/>
                <a:gd name="T36" fmla="*/ 90 w 640"/>
                <a:gd name="T37" fmla="*/ 557 h 561"/>
                <a:gd name="T38" fmla="*/ 112 w 640"/>
                <a:gd name="T39" fmla="*/ 56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560"/>
                  </a:moveTo>
                  <a:cubicBezTo>
                    <a:pt x="415" y="511"/>
                    <a:pt x="415" y="511"/>
                    <a:pt x="415" y="511"/>
                  </a:cubicBezTo>
                  <a:cubicBezTo>
                    <a:pt x="419" y="510"/>
                    <a:pt x="422" y="510"/>
                    <a:pt x="426" y="510"/>
                  </a:cubicBezTo>
                  <a:cubicBezTo>
                    <a:pt x="597" y="532"/>
                    <a:pt x="597" y="532"/>
                    <a:pt x="597" y="532"/>
                  </a:cubicBezTo>
                  <a:cubicBezTo>
                    <a:pt x="620" y="535"/>
                    <a:pt x="640" y="518"/>
                    <a:pt x="640" y="495"/>
                  </a:cubicBezTo>
                  <a:cubicBezTo>
                    <a:pt x="640" y="491"/>
                    <a:pt x="639" y="487"/>
                    <a:pt x="638" y="484"/>
                  </a:cubicBezTo>
                  <a:cubicBezTo>
                    <a:pt x="629" y="453"/>
                    <a:pt x="581" y="294"/>
                    <a:pt x="584" y="176"/>
                  </a:cubicBezTo>
                  <a:cubicBezTo>
                    <a:pt x="586" y="114"/>
                    <a:pt x="585" y="70"/>
                    <a:pt x="584" y="42"/>
                  </a:cubicBezTo>
                  <a:cubicBezTo>
                    <a:pt x="583" y="17"/>
                    <a:pt x="560" y="0"/>
                    <a:pt x="536" y="7"/>
                  </a:cubicBezTo>
                  <a:cubicBezTo>
                    <a:pt x="495" y="18"/>
                    <a:pt x="495" y="18"/>
                    <a:pt x="495" y="18"/>
                  </a:cubicBezTo>
                  <a:cubicBezTo>
                    <a:pt x="492" y="19"/>
                    <a:pt x="489" y="19"/>
                    <a:pt x="485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2" y="19"/>
                    <a:pt x="7" y="31"/>
                    <a:pt x="3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60"/>
                    <a:pt x="1" y="68"/>
                    <a:pt x="4" y="75"/>
                  </a:cubicBezTo>
                  <a:cubicBezTo>
                    <a:pt x="17" y="110"/>
                    <a:pt x="59" y="229"/>
                    <a:pt x="62" y="346"/>
                  </a:cubicBezTo>
                  <a:cubicBezTo>
                    <a:pt x="64" y="434"/>
                    <a:pt x="64" y="490"/>
                    <a:pt x="63" y="520"/>
                  </a:cubicBezTo>
                  <a:cubicBezTo>
                    <a:pt x="63" y="535"/>
                    <a:pt x="71" y="549"/>
                    <a:pt x="85" y="555"/>
                  </a:cubicBezTo>
                  <a:cubicBezTo>
                    <a:pt x="90" y="557"/>
                    <a:pt x="90" y="557"/>
                    <a:pt x="90" y="557"/>
                  </a:cubicBezTo>
                  <a:cubicBezTo>
                    <a:pt x="97" y="560"/>
                    <a:pt x="104" y="561"/>
                    <a:pt x="112" y="560"/>
                  </a:cubicBezTo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S1ïḑe">
              <a:extLst>
                <a:ext uri="{FF2B5EF4-FFF2-40B4-BE49-F238E27FC236}">
                  <a16:creationId xmlns:a16="http://schemas.microsoft.com/office/drawing/2014/main" id="{C2F1917A-9712-4252-B4A9-6E8F0B9BAF82}"/>
                </a:ext>
              </a:extLst>
            </p:cNvPr>
            <p:cNvSpPr/>
            <p:nvPr/>
          </p:nvSpPr>
          <p:spPr bwMode="auto">
            <a:xfrm>
              <a:off x="4933950" y="4006850"/>
              <a:ext cx="95250" cy="312738"/>
            </a:xfrm>
            <a:custGeom>
              <a:avLst/>
              <a:gdLst>
                <a:gd name="T0" fmla="*/ 34 w 78"/>
                <a:gd name="T1" fmla="*/ 257 h 260"/>
                <a:gd name="T2" fmla="*/ 37 w 78"/>
                <a:gd name="T3" fmla="*/ 258 h 260"/>
                <a:gd name="T4" fmla="*/ 78 w 78"/>
                <a:gd name="T5" fmla="*/ 221 h 260"/>
                <a:gd name="T6" fmla="*/ 76 w 78"/>
                <a:gd name="T7" fmla="*/ 210 h 260"/>
                <a:gd name="T8" fmla="*/ 29 w 78"/>
                <a:gd name="T9" fmla="*/ 0 h 260"/>
                <a:gd name="T10" fmla="*/ 3 w 78"/>
                <a:gd name="T11" fmla="*/ 187 h 260"/>
                <a:gd name="T12" fmla="*/ 34 w 78"/>
                <a:gd name="T13" fmla="*/ 25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60">
                  <a:moveTo>
                    <a:pt x="34" y="257"/>
                  </a:moveTo>
                  <a:cubicBezTo>
                    <a:pt x="35" y="257"/>
                    <a:pt x="36" y="258"/>
                    <a:pt x="37" y="258"/>
                  </a:cubicBezTo>
                  <a:cubicBezTo>
                    <a:pt x="59" y="260"/>
                    <a:pt x="78" y="243"/>
                    <a:pt x="78" y="221"/>
                  </a:cubicBezTo>
                  <a:cubicBezTo>
                    <a:pt x="78" y="217"/>
                    <a:pt x="77" y="213"/>
                    <a:pt x="76" y="210"/>
                  </a:cubicBezTo>
                  <a:cubicBezTo>
                    <a:pt x="69" y="187"/>
                    <a:pt x="41" y="94"/>
                    <a:pt x="29" y="0"/>
                  </a:cubicBezTo>
                  <a:cubicBezTo>
                    <a:pt x="3" y="187"/>
                    <a:pt x="3" y="187"/>
                    <a:pt x="3" y="187"/>
                  </a:cubicBezTo>
                  <a:cubicBezTo>
                    <a:pt x="3" y="187"/>
                    <a:pt x="0" y="236"/>
                    <a:pt x="34" y="257"/>
                  </a:cubicBezTo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şļîdé">
              <a:extLst>
                <a:ext uri="{FF2B5EF4-FFF2-40B4-BE49-F238E27FC236}">
                  <a16:creationId xmlns:a16="http://schemas.microsoft.com/office/drawing/2014/main" id="{970C2D8F-5DC6-490A-A1C7-D2FE41013E6B}"/>
                </a:ext>
              </a:extLst>
            </p:cNvPr>
            <p:cNvSpPr/>
            <p:nvPr/>
          </p:nvSpPr>
          <p:spPr bwMode="auto">
            <a:xfrm>
              <a:off x="4256088" y="3706813"/>
              <a:ext cx="152400" cy="636588"/>
            </a:xfrm>
            <a:custGeom>
              <a:avLst/>
              <a:gdLst>
                <a:gd name="T0" fmla="*/ 20 w 126"/>
                <a:gd name="T1" fmla="*/ 0 h 528"/>
                <a:gd name="T2" fmla="*/ 3 w 126"/>
                <a:gd name="T3" fmla="*/ 23 h 528"/>
                <a:gd name="T4" fmla="*/ 2 w 126"/>
                <a:gd name="T5" fmla="*/ 28 h 528"/>
                <a:gd name="T6" fmla="*/ 4 w 126"/>
                <a:gd name="T7" fmla="*/ 50 h 528"/>
                <a:gd name="T8" fmla="*/ 62 w 126"/>
                <a:gd name="T9" fmla="*/ 321 h 528"/>
                <a:gd name="T10" fmla="*/ 63 w 126"/>
                <a:gd name="T11" fmla="*/ 495 h 528"/>
                <a:gd name="T12" fmla="*/ 82 w 126"/>
                <a:gd name="T13" fmla="*/ 528 h 528"/>
                <a:gd name="T14" fmla="*/ 126 w 126"/>
                <a:gd name="T15" fmla="*/ 206 h 528"/>
                <a:gd name="T16" fmla="*/ 20 w 126"/>
                <a:gd name="T1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528">
                  <a:moveTo>
                    <a:pt x="20" y="0"/>
                  </a:moveTo>
                  <a:cubicBezTo>
                    <a:pt x="12" y="5"/>
                    <a:pt x="5" y="13"/>
                    <a:pt x="3" y="2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5"/>
                    <a:pt x="1" y="43"/>
                    <a:pt x="4" y="50"/>
                  </a:cubicBezTo>
                  <a:cubicBezTo>
                    <a:pt x="17" y="85"/>
                    <a:pt x="59" y="204"/>
                    <a:pt x="62" y="321"/>
                  </a:cubicBezTo>
                  <a:cubicBezTo>
                    <a:pt x="64" y="409"/>
                    <a:pt x="64" y="466"/>
                    <a:pt x="63" y="495"/>
                  </a:cubicBezTo>
                  <a:cubicBezTo>
                    <a:pt x="63" y="509"/>
                    <a:pt x="70" y="522"/>
                    <a:pt x="82" y="528"/>
                  </a:cubicBezTo>
                  <a:cubicBezTo>
                    <a:pt x="126" y="206"/>
                    <a:pt x="126" y="206"/>
                    <a:pt x="126" y="206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ṧḷîďe">
              <a:extLst>
                <a:ext uri="{FF2B5EF4-FFF2-40B4-BE49-F238E27FC236}">
                  <a16:creationId xmlns:a16="http://schemas.microsoft.com/office/drawing/2014/main" id="{CCF0D642-55E7-4114-8D85-69231E3F2779}"/>
                </a:ext>
              </a:extLst>
            </p:cNvPr>
            <p:cNvSpPr/>
            <p:nvPr/>
          </p:nvSpPr>
          <p:spPr bwMode="auto">
            <a:xfrm>
              <a:off x="6721475" y="3649663"/>
              <a:ext cx="773113" cy="676275"/>
            </a:xfrm>
            <a:custGeom>
              <a:avLst/>
              <a:gdLst>
                <a:gd name="T0" fmla="*/ 112 w 640"/>
                <a:gd name="T1" fmla="*/ 1 h 561"/>
                <a:gd name="T2" fmla="*/ 415 w 640"/>
                <a:gd name="T3" fmla="*/ 51 h 561"/>
                <a:gd name="T4" fmla="*/ 426 w 640"/>
                <a:gd name="T5" fmla="*/ 51 h 561"/>
                <a:gd name="T6" fmla="*/ 597 w 640"/>
                <a:gd name="T7" fmla="*/ 29 h 561"/>
                <a:gd name="T8" fmla="*/ 640 w 640"/>
                <a:gd name="T9" fmla="*/ 67 h 561"/>
                <a:gd name="T10" fmla="*/ 638 w 640"/>
                <a:gd name="T11" fmla="*/ 78 h 561"/>
                <a:gd name="T12" fmla="*/ 584 w 640"/>
                <a:gd name="T13" fmla="*/ 386 h 561"/>
                <a:gd name="T14" fmla="*/ 584 w 640"/>
                <a:gd name="T15" fmla="*/ 520 h 561"/>
                <a:gd name="T16" fmla="*/ 536 w 640"/>
                <a:gd name="T17" fmla="*/ 555 h 561"/>
                <a:gd name="T18" fmla="*/ 495 w 640"/>
                <a:gd name="T19" fmla="*/ 544 h 561"/>
                <a:gd name="T20" fmla="*/ 485 w 640"/>
                <a:gd name="T21" fmla="*/ 543 h 561"/>
                <a:gd name="T22" fmla="*/ 40 w 640"/>
                <a:gd name="T23" fmla="*/ 543 h 561"/>
                <a:gd name="T24" fmla="*/ 3 w 640"/>
                <a:gd name="T25" fmla="*/ 513 h 561"/>
                <a:gd name="T26" fmla="*/ 2 w 640"/>
                <a:gd name="T27" fmla="*/ 509 h 561"/>
                <a:gd name="T28" fmla="*/ 4 w 640"/>
                <a:gd name="T29" fmla="*/ 487 h 561"/>
                <a:gd name="T30" fmla="*/ 62 w 640"/>
                <a:gd name="T31" fmla="*/ 215 h 561"/>
                <a:gd name="T32" fmla="*/ 63 w 640"/>
                <a:gd name="T33" fmla="*/ 42 h 561"/>
                <a:gd name="T34" fmla="*/ 85 w 640"/>
                <a:gd name="T35" fmla="*/ 6 h 561"/>
                <a:gd name="T36" fmla="*/ 90 w 640"/>
                <a:gd name="T37" fmla="*/ 4 h 561"/>
                <a:gd name="T38" fmla="*/ 112 w 640"/>
                <a:gd name="T39" fmla="*/ 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1"/>
                  </a:moveTo>
                  <a:cubicBezTo>
                    <a:pt x="415" y="51"/>
                    <a:pt x="415" y="51"/>
                    <a:pt x="415" y="51"/>
                  </a:cubicBezTo>
                  <a:cubicBezTo>
                    <a:pt x="419" y="51"/>
                    <a:pt x="422" y="52"/>
                    <a:pt x="426" y="51"/>
                  </a:cubicBezTo>
                  <a:cubicBezTo>
                    <a:pt x="597" y="29"/>
                    <a:pt x="597" y="29"/>
                    <a:pt x="597" y="29"/>
                  </a:cubicBezTo>
                  <a:cubicBezTo>
                    <a:pt x="620" y="26"/>
                    <a:pt x="640" y="44"/>
                    <a:pt x="640" y="67"/>
                  </a:cubicBezTo>
                  <a:cubicBezTo>
                    <a:pt x="640" y="71"/>
                    <a:pt x="639" y="74"/>
                    <a:pt x="638" y="78"/>
                  </a:cubicBezTo>
                  <a:cubicBezTo>
                    <a:pt x="629" y="109"/>
                    <a:pt x="581" y="267"/>
                    <a:pt x="584" y="386"/>
                  </a:cubicBezTo>
                  <a:cubicBezTo>
                    <a:pt x="586" y="448"/>
                    <a:pt x="585" y="491"/>
                    <a:pt x="584" y="520"/>
                  </a:cubicBezTo>
                  <a:cubicBezTo>
                    <a:pt x="583" y="544"/>
                    <a:pt x="560" y="561"/>
                    <a:pt x="536" y="555"/>
                  </a:cubicBezTo>
                  <a:cubicBezTo>
                    <a:pt x="495" y="544"/>
                    <a:pt x="495" y="544"/>
                    <a:pt x="495" y="544"/>
                  </a:cubicBezTo>
                  <a:cubicBezTo>
                    <a:pt x="492" y="543"/>
                    <a:pt x="489" y="543"/>
                    <a:pt x="485" y="543"/>
                  </a:cubicBezTo>
                  <a:cubicBezTo>
                    <a:pt x="40" y="543"/>
                    <a:pt x="40" y="543"/>
                    <a:pt x="40" y="543"/>
                  </a:cubicBezTo>
                  <a:cubicBezTo>
                    <a:pt x="22" y="543"/>
                    <a:pt x="7" y="530"/>
                    <a:pt x="3" y="513"/>
                  </a:cubicBezTo>
                  <a:cubicBezTo>
                    <a:pt x="2" y="509"/>
                    <a:pt x="2" y="509"/>
                    <a:pt x="2" y="509"/>
                  </a:cubicBezTo>
                  <a:cubicBezTo>
                    <a:pt x="0" y="501"/>
                    <a:pt x="1" y="494"/>
                    <a:pt x="4" y="487"/>
                  </a:cubicBezTo>
                  <a:cubicBezTo>
                    <a:pt x="17" y="451"/>
                    <a:pt x="59" y="332"/>
                    <a:pt x="62" y="215"/>
                  </a:cubicBezTo>
                  <a:cubicBezTo>
                    <a:pt x="64" y="127"/>
                    <a:pt x="64" y="71"/>
                    <a:pt x="63" y="42"/>
                  </a:cubicBezTo>
                  <a:cubicBezTo>
                    <a:pt x="63" y="27"/>
                    <a:pt x="71" y="13"/>
                    <a:pt x="85" y="6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7" y="1"/>
                    <a:pt x="104" y="0"/>
                    <a:pt x="112" y="1"/>
                  </a:cubicBezTo>
                  <a:close/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ṩ1iḑe">
              <a:extLst>
                <a:ext uri="{FF2B5EF4-FFF2-40B4-BE49-F238E27FC236}">
                  <a16:creationId xmlns:a16="http://schemas.microsoft.com/office/drawing/2014/main" id="{B0F0DA45-2E66-460D-A7A3-965C8E92C4E7}"/>
                </a:ext>
              </a:extLst>
            </p:cNvPr>
            <p:cNvSpPr/>
            <p:nvPr/>
          </p:nvSpPr>
          <p:spPr bwMode="auto">
            <a:xfrm>
              <a:off x="7375525" y="3716338"/>
              <a:ext cx="119063" cy="576263"/>
            </a:xfrm>
            <a:custGeom>
              <a:avLst/>
              <a:gdLst>
                <a:gd name="T0" fmla="*/ 98 w 98"/>
                <a:gd name="T1" fmla="*/ 12 h 478"/>
                <a:gd name="T2" fmla="*/ 96 w 98"/>
                <a:gd name="T3" fmla="*/ 0 h 478"/>
                <a:gd name="T4" fmla="*/ 0 w 98"/>
                <a:gd name="T5" fmla="*/ 101 h 478"/>
                <a:gd name="T6" fmla="*/ 39 w 98"/>
                <a:gd name="T7" fmla="*/ 478 h 478"/>
                <a:gd name="T8" fmla="*/ 42 w 98"/>
                <a:gd name="T9" fmla="*/ 465 h 478"/>
                <a:gd name="T10" fmla="*/ 42 w 98"/>
                <a:gd name="T11" fmla="*/ 331 h 478"/>
                <a:gd name="T12" fmla="*/ 96 w 98"/>
                <a:gd name="T13" fmla="*/ 23 h 478"/>
                <a:gd name="T14" fmla="*/ 98 w 98"/>
                <a:gd name="T15" fmla="*/ 1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478">
                  <a:moveTo>
                    <a:pt x="98" y="12"/>
                  </a:moveTo>
                  <a:cubicBezTo>
                    <a:pt x="98" y="8"/>
                    <a:pt x="97" y="4"/>
                    <a:pt x="96" y="0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9" y="478"/>
                    <a:pt x="39" y="478"/>
                    <a:pt x="39" y="478"/>
                  </a:cubicBezTo>
                  <a:cubicBezTo>
                    <a:pt x="41" y="474"/>
                    <a:pt x="42" y="470"/>
                    <a:pt x="42" y="465"/>
                  </a:cubicBezTo>
                  <a:cubicBezTo>
                    <a:pt x="43" y="436"/>
                    <a:pt x="44" y="393"/>
                    <a:pt x="42" y="331"/>
                  </a:cubicBezTo>
                  <a:cubicBezTo>
                    <a:pt x="39" y="212"/>
                    <a:pt x="87" y="54"/>
                    <a:pt x="96" y="23"/>
                  </a:cubicBezTo>
                  <a:cubicBezTo>
                    <a:pt x="97" y="19"/>
                    <a:pt x="98" y="16"/>
                    <a:pt x="98" y="12"/>
                  </a:cubicBezTo>
                  <a:close/>
                </a:path>
              </a:pathLst>
            </a:custGeom>
            <a:solidFill>
              <a:srgbClr val="E6D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ḷîḓe">
              <a:extLst>
                <a:ext uri="{FF2B5EF4-FFF2-40B4-BE49-F238E27FC236}">
                  <a16:creationId xmlns:a16="http://schemas.microsoft.com/office/drawing/2014/main" id="{6C1D92AC-45F6-4981-BD51-826F76DFCB97}"/>
                </a:ext>
              </a:extLst>
            </p:cNvPr>
            <p:cNvSpPr/>
            <p:nvPr/>
          </p:nvSpPr>
          <p:spPr bwMode="auto">
            <a:xfrm>
              <a:off x="6797675" y="3717925"/>
              <a:ext cx="696913" cy="106363"/>
            </a:xfrm>
            <a:custGeom>
              <a:avLst/>
              <a:gdLst>
                <a:gd name="T0" fmla="*/ 246 w 577"/>
                <a:gd name="T1" fmla="*/ 86 h 89"/>
                <a:gd name="T2" fmla="*/ 568 w 577"/>
                <a:gd name="T3" fmla="*/ 46 h 89"/>
                <a:gd name="T4" fmla="*/ 575 w 577"/>
                <a:gd name="T5" fmla="*/ 22 h 89"/>
                <a:gd name="T6" fmla="*/ 577 w 577"/>
                <a:gd name="T7" fmla="*/ 14 h 89"/>
                <a:gd name="T8" fmla="*/ 243 w 577"/>
                <a:gd name="T9" fmla="*/ 38 h 89"/>
                <a:gd name="T10" fmla="*/ 0 w 577"/>
                <a:gd name="T11" fmla="*/ 0 h 89"/>
                <a:gd name="T12" fmla="*/ 1 w 577"/>
                <a:gd name="T13" fmla="*/ 47 h 89"/>
                <a:gd name="T14" fmla="*/ 246 w 577"/>
                <a:gd name="T15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" h="89">
                  <a:moveTo>
                    <a:pt x="246" y="86"/>
                  </a:moveTo>
                  <a:cubicBezTo>
                    <a:pt x="262" y="83"/>
                    <a:pt x="517" y="52"/>
                    <a:pt x="568" y="46"/>
                  </a:cubicBezTo>
                  <a:cubicBezTo>
                    <a:pt x="571" y="35"/>
                    <a:pt x="574" y="27"/>
                    <a:pt x="575" y="22"/>
                  </a:cubicBezTo>
                  <a:cubicBezTo>
                    <a:pt x="576" y="19"/>
                    <a:pt x="577" y="17"/>
                    <a:pt x="577" y="14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43" y="38"/>
                    <a:pt x="50" y="11"/>
                    <a:pt x="0" y="0"/>
                  </a:cubicBezTo>
                  <a:cubicBezTo>
                    <a:pt x="0" y="12"/>
                    <a:pt x="1" y="28"/>
                    <a:pt x="1" y="47"/>
                  </a:cubicBezTo>
                  <a:cubicBezTo>
                    <a:pt x="49" y="56"/>
                    <a:pt x="231" y="89"/>
                    <a:pt x="246" y="86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ṧ1îḍè">
              <a:extLst>
                <a:ext uri="{FF2B5EF4-FFF2-40B4-BE49-F238E27FC236}">
                  <a16:creationId xmlns:a16="http://schemas.microsoft.com/office/drawing/2014/main" id="{7187311F-AEA1-436F-B14A-7B0A68CFDE96}"/>
                </a:ext>
              </a:extLst>
            </p:cNvPr>
            <p:cNvSpPr/>
            <p:nvPr/>
          </p:nvSpPr>
          <p:spPr bwMode="auto">
            <a:xfrm>
              <a:off x="6756400" y="4071938"/>
              <a:ext cx="671513" cy="96838"/>
            </a:xfrm>
            <a:custGeom>
              <a:avLst/>
              <a:gdLst>
                <a:gd name="T0" fmla="*/ 16 w 557"/>
                <a:gd name="T1" fmla="*/ 0 h 80"/>
                <a:gd name="T2" fmla="*/ 0 w 557"/>
                <a:gd name="T3" fmla="*/ 63 h 80"/>
                <a:gd name="T4" fmla="*/ 208 w 557"/>
                <a:gd name="T5" fmla="*/ 64 h 80"/>
                <a:gd name="T6" fmla="*/ 557 w 557"/>
                <a:gd name="T7" fmla="*/ 80 h 80"/>
                <a:gd name="T8" fmla="*/ 556 w 557"/>
                <a:gd name="T9" fmla="*/ 36 h 80"/>
                <a:gd name="T10" fmla="*/ 556 w 557"/>
                <a:gd name="T11" fmla="*/ 22 h 80"/>
                <a:gd name="T12" fmla="*/ 132 w 557"/>
                <a:gd name="T13" fmla="*/ 22 h 80"/>
                <a:gd name="T14" fmla="*/ 16 w 557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7" h="80">
                  <a:moveTo>
                    <a:pt x="16" y="0"/>
                  </a:moveTo>
                  <a:cubicBezTo>
                    <a:pt x="11" y="23"/>
                    <a:pt x="6" y="44"/>
                    <a:pt x="0" y="63"/>
                  </a:cubicBezTo>
                  <a:cubicBezTo>
                    <a:pt x="74" y="64"/>
                    <a:pt x="208" y="64"/>
                    <a:pt x="208" y="64"/>
                  </a:cubicBezTo>
                  <a:cubicBezTo>
                    <a:pt x="557" y="80"/>
                    <a:pt x="557" y="80"/>
                    <a:pt x="557" y="80"/>
                  </a:cubicBezTo>
                  <a:cubicBezTo>
                    <a:pt x="557" y="67"/>
                    <a:pt x="557" y="52"/>
                    <a:pt x="556" y="36"/>
                  </a:cubicBezTo>
                  <a:cubicBezTo>
                    <a:pt x="556" y="31"/>
                    <a:pt x="556" y="27"/>
                    <a:pt x="556" y="22"/>
                  </a:cubicBezTo>
                  <a:cubicBezTo>
                    <a:pt x="132" y="22"/>
                    <a:pt x="132" y="22"/>
                    <a:pt x="132" y="22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1îḋe">
              <a:extLst>
                <a:ext uri="{FF2B5EF4-FFF2-40B4-BE49-F238E27FC236}">
                  <a16:creationId xmlns:a16="http://schemas.microsoft.com/office/drawing/2014/main" id="{3604022C-78DC-4D06-B3FE-FD94F737DB71}"/>
                </a:ext>
              </a:extLst>
            </p:cNvPr>
            <p:cNvSpPr/>
            <p:nvPr/>
          </p:nvSpPr>
          <p:spPr bwMode="auto">
            <a:xfrm>
              <a:off x="6721475" y="4203700"/>
              <a:ext cx="706438" cy="122238"/>
            </a:xfrm>
            <a:custGeom>
              <a:avLst/>
              <a:gdLst>
                <a:gd name="T0" fmla="*/ 9 w 585"/>
                <a:gd name="T1" fmla="*/ 12 h 102"/>
                <a:gd name="T2" fmla="*/ 4 w 585"/>
                <a:gd name="T3" fmla="*/ 28 h 102"/>
                <a:gd name="T4" fmla="*/ 2 w 585"/>
                <a:gd name="T5" fmla="*/ 50 h 102"/>
                <a:gd name="T6" fmla="*/ 3 w 585"/>
                <a:gd name="T7" fmla="*/ 54 h 102"/>
                <a:gd name="T8" fmla="*/ 28 w 585"/>
                <a:gd name="T9" fmla="*/ 81 h 102"/>
                <a:gd name="T10" fmla="*/ 224 w 585"/>
                <a:gd name="T11" fmla="*/ 57 h 102"/>
                <a:gd name="T12" fmla="*/ 459 w 585"/>
                <a:gd name="T13" fmla="*/ 84 h 102"/>
                <a:gd name="T14" fmla="*/ 485 w 585"/>
                <a:gd name="T15" fmla="*/ 84 h 102"/>
                <a:gd name="T16" fmla="*/ 495 w 585"/>
                <a:gd name="T17" fmla="*/ 85 h 102"/>
                <a:gd name="T18" fmla="*/ 536 w 585"/>
                <a:gd name="T19" fmla="*/ 96 h 102"/>
                <a:gd name="T20" fmla="*/ 584 w 585"/>
                <a:gd name="T21" fmla="*/ 61 h 102"/>
                <a:gd name="T22" fmla="*/ 585 w 585"/>
                <a:gd name="T23" fmla="*/ 33 h 102"/>
                <a:gd name="T24" fmla="*/ 212 w 585"/>
                <a:gd name="T25" fmla="*/ 0 h 102"/>
                <a:gd name="T26" fmla="*/ 9 w 585"/>
                <a:gd name="T27" fmla="*/ 1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5" h="102">
                  <a:moveTo>
                    <a:pt x="9" y="12"/>
                  </a:moveTo>
                  <a:cubicBezTo>
                    <a:pt x="7" y="18"/>
                    <a:pt x="5" y="24"/>
                    <a:pt x="4" y="28"/>
                  </a:cubicBezTo>
                  <a:cubicBezTo>
                    <a:pt x="1" y="35"/>
                    <a:pt x="0" y="42"/>
                    <a:pt x="2" y="50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6" y="67"/>
                    <a:pt x="16" y="77"/>
                    <a:pt x="28" y="81"/>
                  </a:cubicBezTo>
                  <a:cubicBezTo>
                    <a:pt x="224" y="57"/>
                    <a:pt x="224" y="57"/>
                    <a:pt x="224" y="57"/>
                  </a:cubicBezTo>
                  <a:cubicBezTo>
                    <a:pt x="459" y="84"/>
                    <a:pt x="459" y="84"/>
                    <a:pt x="459" y="84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9" y="84"/>
                    <a:pt x="492" y="84"/>
                    <a:pt x="495" y="85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60" y="102"/>
                    <a:pt x="583" y="85"/>
                    <a:pt x="584" y="61"/>
                  </a:cubicBezTo>
                  <a:cubicBezTo>
                    <a:pt x="584" y="53"/>
                    <a:pt x="585" y="44"/>
                    <a:pt x="585" y="3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9" y="12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ṩļîḓè">
              <a:extLst>
                <a:ext uri="{FF2B5EF4-FFF2-40B4-BE49-F238E27FC236}">
                  <a16:creationId xmlns:a16="http://schemas.microsoft.com/office/drawing/2014/main" id="{9AB61662-D791-4E7B-8B22-E73D217E41D4}"/>
                </a:ext>
              </a:extLst>
            </p:cNvPr>
            <p:cNvSpPr/>
            <p:nvPr/>
          </p:nvSpPr>
          <p:spPr bwMode="auto">
            <a:xfrm>
              <a:off x="6796088" y="3852863"/>
              <a:ext cx="661988" cy="76200"/>
            </a:xfrm>
            <a:custGeom>
              <a:avLst/>
              <a:gdLst>
                <a:gd name="T0" fmla="*/ 1 w 548"/>
                <a:gd name="T1" fmla="*/ 0 h 64"/>
                <a:gd name="T2" fmla="*/ 0 w 548"/>
                <a:gd name="T3" fmla="*/ 47 h 64"/>
                <a:gd name="T4" fmla="*/ 0 w 548"/>
                <a:gd name="T5" fmla="*/ 51 h 64"/>
                <a:gd name="T6" fmla="*/ 289 w 548"/>
                <a:gd name="T7" fmla="*/ 51 h 64"/>
                <a:gd name="T8" fmla="*/ 538 w 548"/>
                <a:gd name="T9" fmla="*/ 64 h 64"/>
                <a:gd name="T10" fmla="*/ 548 w 548"/>
                <a:gd name="T11" fmla="*/ 13 h 64"/>
                <a:gd name="T12" fmla="*/ 390 w 548"/>
                <a:gd name="T13" fmla="*/ 26 h 64"/>
                <a:gd name="T14" fmla="*/ 1 w 548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8" h="64">
                  <a:moveTo>
                    <a:pt x="1" y="0"/>
                  </a:moveTo>
                  <a:cubicBezTo>
                    <a:pt x="1" y="14"/>
                    <a:pt x="1" y="30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41" y="47"/>
                    <a:pt x="545" y="29"/>
                    <a:pt x="548" y="13"/>
                  </a:cubicBezTo>
                  <a:cubicBezTo>
                    <a:pt x="516" y="15"/>
                    <a:pt x="399" y="23"/>
                    <a:pt x="390" y="26"/>
                  </a:cubicBezTo>
                  <a:cubicBezTo>
                    <a:pt x="381" y="30"/>
                    <a:pt x="65" y="5"/>
                    <a:pt x="1" y="0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sľiḑé">
              <a:extLst>
                <a:ext uri="{FF2B5EF4-FFF2-40B4-BE49-F238E27FC236}">
                  <a16:creationId xmlns:a16="http://schemas.microsoft.com/office/drawing/2014/main" id="{83399205-5E15-4435-90D6-79F6888FDC66}"/>
                </a:ext>
              </a:extLst>
            </p:cNvPr>
            <p:cNvSpPr/>
            <p:nvPr/>
          </p:nvSpPr>
          <p:spPr bwMode="auto">
            <a:xfrm>
              <a:off x="6786563" y="3962400"/>
              <a:ext cx="652463" cy="82550"/>
            </a:xfrm>
            <a:custGeom>
              <a:avLst/>
              <a:gdLst>
                <a:gd name="T0" fmla="*/ 6 w 541"/>
                <a:gd name="T1" fmla="*/ 0 h 68"/>
                <a:gd name="T2" fmla="*/ 0 w 541"/>
                <a:gd name="T3" fmla="*/ 49 h 68"/>
                <a:gd name="T4" fmla="*/ 298 w 541"/>
                <a:gd name="T5" fmla="*/ 68 h 68"/>
                <a:gd name="T6" fmla="*/ 535 w 541"/>
                <a:gd name="T7" fmla="*/ 49 h 68"/>
                <a:gd name="T8" fmla="*/ 541 w 541"/>
                <a:gd name="T9" fmla="*/ 6 h 68"/>
                <a:gd name="T10" fmla="*/ 152 w 541"/>
                <a:gd name="T11" fmla="*/ 16 h 68"/>
                <a:gd name="T12" fmla="*/ 6 w 541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1" h="68">
                  <a:moveTo>
                    <a:pt x="6" y="0"/>
                  </a:moveTo>
                  <a:cubicBezTo>
                    <a:pt x="5" y="17"/>
                    <a:pt x="2" y="33"/>
                    <a:pt x="0" y="49"/>
                  </a:cubicBezTo>
                  <a:cubicBezTo>
                    <a:pt x="298" y="68"/>
                    <a:pt x="298" y="68"/>
                    <a:pt x="298" y="68"/>
                  </a:cubicBezTo>
                  <a:cubicBezTo>
                    <a:pt x="535" y="49"/>
                    <a:pt x="535" y="49"/>
                    <a:pt x="535" y="49"/>
                  </a:cubicBezTo>
                  <a:cubicBezTo>
                    <a:pt x="537" y="35"/>
                    <a:pt x="539" y="20"/>
                    <a:pt x="541" y="6"/>
                  </a:cubicBezTo>
                  <a:cubicBezTo>
                    <a:pt x="152" y="16"/>
                    <a:pt x="152" y="16"/>
                    <a:pt x="152" y="16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sľïḍé">
              <a:extLst>
                <a:ext uri="{FF2B5EF4-FFF2-40B4-BE49-F238E27FC236}">
                  <a16:creationId xmlns:a16="http://schemas.microsoft.com/office/drawing/2014/main" id="{3C2D2221-2116-4024-A014-C13B08E810B0}"/>
                </a:ext>
              </a:extLst>
            </p:cNvPr>
            <p:cNvSpPr/>
            <p:nvPr/>
          </p:nvSpPr>
          <p:spPr bwMode="auto">
            <a:xfrm>
              <a:off x="7432675" y="3733800"/>
              <a:ext cx="61913" cy="46038"/>
            </a:xfrm>
            <a:custGeom>
              <a:avLst/>
              <a:gdLst>
                <a:gd name="T0" fmla="*/ 44 w 51"/>
                <a:gd name="T1" fmla="*/ 24 h 37"/>
                <a:gd name="T2" fmla="*/ 45 w 51"/>
                <a:gd name="T3" fmla="*/ 20 h 37"/>
                <a:gd name="T4" fmla="*/ 46 w 51"/>
                <a:gd name="T5" fmla="*/ 19 h 37"/>
                <a:gd name="T6" fmla="*/ 47 w 51"/>
                <a:gd name="T7" fmla="*/ 16 h 37"/>
                <a:gd name="T8" fmla="*/ 47 w 51"/>
                <a:gd name="T9" fmla="*/ 15 h 37"/>
                <a:gd name="T10" fmla="*/ 48 w 51"/>
                <a:gd name="T11" fmla="*/ 12 h 37"/>
                <a:gd name="T12" fmla="*/ 48 w 51"/>
                <a:gd name="T13" fmla="*/ 11 h 37"/>
                <a:gd name="T14" fmla="*/ 49 w 51"/>
                <a:gd name="T15" fmla="*/ 8 h 37"/>
                <a:gd name="T16" fmla="*/ 50 w 51"/>
                <a:gd name="T17" fmla="*/ 4 h 37"/>
                <a:gd name="T18" fmla="*/ 50 w 51"/>
                <a:gd name="T19" fmla="*/ 4 h 37"/>
                <a:gd name="T20" fmla="*/ 51 w 51"/>
                <a:gd name="T21" fmla="*/ 0 h 37"/>
                <a:gd name="T22" fmla="*/ 34 w 51"/>
                <a:gd name="T23" fmla="*/ 1 h 37"/>
                <a:gd name="T24" fmla="*/ 0 w 51"/>
                <a:gd name="T25" fmla="*/ 37 h 37"/>
                <a:gd name="T26" fmla="*/ 42 w 51"/>
                <a:gd name="T27" fmla="*/ 32 h 37"/>
                <a:gd name="T28" fmla="*/ 43 w 51"/>
                <a:gd name="T29" fmla="*/ 30 h 37"/>
                <a:gd name="T30" fmla="*/ 44 w 51"/>
                <a:gd name="T31" fmla="*/ 26 h 37"/>
                <a:gd name="T32" fmla="*/ 44 w 51"/>
                <a:gd name="T33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37">
                  <a:moveTo>
                    <a:pt x="44" y="24"/>
                  </a:moveTo>
                  <a:cubicBezTo>
                    <a:pt x="45" y="23"/>
                    <a:pt x="45" y="22"/>
                    <a:pt x="45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8"/>
                    <a:pt x="46" y="17"/>
                    <a:pt x="47" y="16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8" y="13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50" y="7"/>
                    <a:pt x="50" y="6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2"/>
                    <a:pt x="51" y="1"/>
                    <a:pt x="51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9" y="34"/>
                    <a:pt x="33" y="33"/>
                    <a:pt x="42" y="32"/>
                  </a:cubicBezTo>
                  <a:cubicBezTo>
                    <a:pt x="42" y="31"/>
                    <a:pt x="42" y="30"/>
                    <a:pt x="43" y="30"/>
                  </a:cubicBezTo>
                  <a:cubicBezTo>
                    <a:pt x="43" y="29"/>
                    <a:pt x="43" y="28"/>
                    <a:pt x="44" y="26"/>
                  </a:cubicBezTo>
                  <a:cubicBezTo>
                    <a:pt x="44" y="26"/>
                    <a:pt x="44" y="25"/>
                    <a:pt x="44" y="24"/>
                  </a:cubicBez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ṧlíḍe">
              <a:extLst>
                <a:ext uri="{FF2B5EF4-FFF2-40B4-BE49-F238E27FC236}">
                  <a16:creationId xmlns:a16="http://schemas.microsoft.com/office/drawing/2014/main" id="{CFB2058D-8285-4D76-89C2-BB78E0D70207}"/>
                </a:ext>
              </a:extLst>
            </p:cNvPr>
            <p:cNvSpPr/>
            <p:nvPr/>
          </p:nvSpPr>
          <p:spPr bwMode="auto">
            <a:xfrm>
              <a:off x="7404100" y="4098925"/>
              <a:ext cx="23813" cy="69850"/>
            </a:xfrm>
            <a:custGeom>
              <a:avLst/>
              <a:gdLst>
                <a:gd name="T0" fmla="*/ 0 w 20"/>
                <a:gd name="T1" fmla="*/ 0 h 58"/>
                <a:gd name="T2" fmla="*/ 5 w 20"/>
                <a:gd name="T3" fmla="*/ 58 h 58"/>
                <a:gd name="T4" fmla="*/ 20 w 20"/>
                <a:gd name="T5" fmla="*/ 58 h 58"/>
                <a:gd name="T6" fmla="*/ 20 w 20"/>
                <a:gd name="T7" fmla="*/ 58 h 58"/>
                <a:gd name="T8" fmla="*/ 20 w 20"/>
                <a:gd name="T9" fmla="*/ 48 h 58"/>
                <a:gd name="T10" fmla="*/ 20 w 20"/>
                <a:gd name="T11" fmla="*/ 48 h 58"/>
                <a:gd name="T12" fmla="*/ 20 w 20"/>
                <a:gd name="T13" fmla="*/ 38 h 58"/>
                <a:gd name="T14" fmla="*/ 20 w 20"/>
                <a:gd name="T15" fmla="*/ 37 h 58"/>
                <a:gd name="T16" fmla="*/ 20 w 20"/>
                <a:gd name="T17" fmla="*/ 27 h 58"/>
                <a:gd name="T18" fmla="*/ 20 w 20"/>
                <a:gd name="T19" fmla="*/ 26 h 58"/>
                <a:gd name="T20" fmla="*/ 19 w 20"/>
                <a:gd name="T21" fmla="*/ 14 h 58"/>
                <a:gd name="T22" fmla="*/ 19 w 20"/>
                <a:gd name="T23" fmla="*/ 0 h 58"/>
                <a:gd name="T24" fmla="*/ 19 w 20"/>
                <a:gd name="T25" fmla="*/ 0 h 58"/>
                <a:gd name="T26" fmla="*/ 0 w 20"/>
                <a:gd name="T2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58">
                  <a:moveTo>
                    <a:pt x="0" y="0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5"/>
                    <a:pt x="20" y="51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5"/>
                    <a:pt x="20" y="41"/>
                    <a:pt x="20" y="38"/>
                  </a:cubicBezTo>
                  <a:cubicBezTo>
                    <a:pt x="20" y="38"/>
                    <a:pt x="20" y="37"/>
                    <a:pt x="20" y="37"/>
                  </a:cubicBezTo>
                  <a:cubicBezTo>
                    <a:pt x="20" y="34"/>
                    <a:pt x="20" y="30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2"/>
                    <a:pt x="19" y="18"/>
                    <a:pt x="19" y="14"/>
                  </a:cubicBezTo>
                  <a:cubicBezTo>
                    <a:pt x="19" y="9"/>
                    <a:pt x="19" y="5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Sľiḍè">
              <a:extLst>
                <a:ext uri="{FF2B5EF4-FFF2-40B4-BE49-F238E27FC236}">
                  <a16:creationId xmlns:a16="http://schemas.microsoft.com/office/drawing/2014/main" id="{D5EA4C9D-E556-458C-939E-8BE1BCF1F259}"/>
                </a:ext>
              </a:extLst>
            </p:cNvPr>
            <p:cNvSpPr/>
            <p:nvPr/>
          </p:nvSpPr>
          <p:spPr bwMode="auto">
            <a:xfrm>
              <a:off x="7418388" y="4241800"/>
              <a:ext cx="9525" cy="50800"/>
            </a:xfrm>
            <a:custGeom>
              <a:avLst/>
              <a:gdLst>
                <a:gd name="T0" fmla="*/ 4 w 8"/>
                <a:gd name="T1" fmla="*/ 42 h 42"/>
                <a:gd name="T2" fmla="*/ 4 w 8"/>
                <a:gd name="T3" fmla="*/ 42 h 42"/>
                <a:gd name="T4" fmla="*/ 5 w 8"/>
                <a:gd name="T5" fmla="*/ 40 h 42"/>
                <a:gd name="T6" fmla="*/ 5 w 8"/>
                <a:gd name="T7" fmla="*/ 39 h 42"/>
                <a:gd name="T8" fmla="*/ 6 w 8"/>
                <a:gd name="T9" fmla="*/ 37 h 42"/>
                <a:gd name="T10" fmla="*/ 6 w 8"/>
                <a:gd name="T11" fmla="*/ 34 h 42"/>
                <a:gd name="T12" fmla="*/ 7 w 8"/>
                <a:gd name="T13" fmla="*/ 33 h 42"/>
                <a:gd name="T14" fmla="*/ 7 w 8"/>
                <a:gd name="T15" fmla="*/ 29 h 42"/>
                <a:gd name="T16" fmla="*/ 7 w 8"/>
                <a:gd name="T17" fmla="*/ 23 h 42"/>
                <a:gd name="T18" fmla="*/ 7 w 8"/>
                <a:gd name="T19" fmla="*/ 22 h 42"/>
                <a:gd name="T20" fmla="*/ 7 w 8"/>
                <a:gd name="T21" fmla="*/ 16 h 42"/>
                <a:gd name="T22" fmla="*/ 8 w 8"/>
                <a:gd name="T23" fmla="*/ 15 h 42"/>
                <a:gd name="T24" fmla="*/ 8 w 8"/>
                <a:gd name="T25" fmla="*/ 9 h 42"/>
                <a:gd name="T26" fmla="*/ 8 w 8"/>
                <a:gd name="T27" fmla="*/ 9 h 42"/>
                <a:gd name="T28" fmla="*/ 8 w 8"/>
                <a:gd name="T29" fmla="*/ 1 h 42"/>
                <a:gd name="T30" fmla="*/ 8 w 8"/>
                <a:gd name="T31" fmla="*/ 1 h 42"/>
                <a:gd name="T32" fmla="*/ 0 w 8"/>
                <a:gd name="T33" fmla="*/ 0 h 42"/>
                <a:gd name="T34" fmla="*/ 4 w 8"/>
                <a:gd name="T3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42"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1"/>
                    <a:pt x="5" y="40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6" y="34"/>
                    <a:pt x="7" y="33"/>
                    <a:pt x="7" y="33"/>
                  </a:cubicBezTo>
                  <a:cubicBezTo>
                    <a:pt x="7" y="32"/>
                    <a:pt x="7" y="30"/>
                    <a:pt x="7" y="29"/>
                  </a:cubicBezTo>
                  <a:cubicBezTo>
                    <a:pt x="7" y="27"/>
                    <a:pt x="7" y="25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8"/>
                    <a:pt x="7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3"/>
                    <a:pt x="8" y="11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6"/>
                    <a:pt x="8" y="4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ŝ1ïḓe">
              <a:extLst>
                <a:ext uri="{FF2B5EF4-FFF2-40B4-BE49-F238E27FC236}">
                  <a16:creationId xmlns:a16="http://schemas.microsoft.com/office/drawing/2014/main" id="{4331902B-4EBF-48CB-A405-D3FC5DF44183}"/>
                </a:ext>
              </a:extLst>
            </p:cNvPr>
            <p:cNvSpPr/>
            <p:nvPr/>
          </p:nvSpPr>
          <p:spPr bwMode="auto">
            <a:xfrm>
              <a:off x="7378700" y="3868738"/>
              <a:ext cx="79375" cy="60325"/>
            </a:xfrm>
            <a:custGeom>
              <a:avLst/>
              <a:gdLst>
                <a:gd name="T0" fmla="*/ 5 w 65"/>
                <a:gd name="T1" fmla="*/ 49 h 51"/>
                <a:gd name="T2" fmla="*/ 55 w 65"/>
                <a:gd name="T3" fmla="*/ 51 h 51"/>
                <a:gd name="T4" fmla="*/ 57 w 65"/>
                <a:gd name="T5" fmla="*/ 39 h 51"/>
                <a:gd name="T6" fmla="*/ 58 w 65"/>
                <a:gd name="T7" fmla="*/ 36 h 51"/>
                <a:gd name="T8" fmla="*/ 60 w 65"/>
                <a:gd name="T9" fmla="*/ 26 h 51"/>
                <a:gd name="T10" fmla="*/ 60 w 65"/>
                <a:gd name="T11" fmla="*/ 24 h 51"/>
                <a:gd name="T12" fmla="*/ 62 w 65"/>
                <a:gd name="T13" fmla="*/ 13 h 51"/>
                <a:gd name="T14" fmla="*/ 63 w 65"/>
                <a:gd name="T15" fmla="*/ 12 h 51"/>
                <a:gd name="T16" fmla="*/ 65 w 65"/>
                <a:gd name="T17" fmla="*/ 0 h 51"/>
                <a:gd name="T18" fmla="*/ 0 w 65"/>
                <a:gd name="T19" fmla="*/ 5 h 51"/>
                <a:gd name="T20" fmla="*/ 5 w 65"/>
                <a:gd name="T21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1">
                  <a:moveTo>
                    <a:pt x="5" y="49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47"/>
                    <a:pt x="56" y="43"/>
                    <a:pt x="57" y="39"/>
                  </a:cubicBezTo>
                  <a:cubicBezTo>
                    <a:pt x="57" y="38"/>
                    <a:pt x="57" y="37"/>
                    <a:pt x="58" y="36"/>
                  </a:cubicBezTo>
                  <a:cubicBezTo>
                    <a:pt x="58" y="33"/>
                    <a:pt x="59" y="29"/>
                    <a:pt x="60" y="26"/>
                  </a:cubicBezTo>
                  <a:cubicBezTo>
                    <a:pt x="60" y="25"/>
                    <a:pt x="60" y="24"/>
                    <a:pt x="60" y="24"/>
                  </a:cubicBezTo>
                  <a:cubicBezTo>
                    <a:pt x="61" y="20"/>
                    <a:pt x="62" y="17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8"/>
                    <a:pt x="65" y="4"/>
                    <a:pt x="65" y="0"/>
                  </a:cubicBezTo>
                  <a:cubicBezTo>
                    <a:pt x="53" y="1"/>
                    <a:pt x="27" y="3"/>
                    <a:pt x="0" y="5"/>
                  </a:cubicBezTo>
                  <a:lnTo>
                    <a:pt x="5" y="49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š1îḋé">
              <a:extLst>
                <a:ext uri="{FF2B5EF4-FFF2-40B4-BE49-F238E27FC236}">
                  <a16:creationId xmlns:a16="http://schemas.microsoft.com/office/drawing/2014/main" id="{E1E2D233-7DA5-4481-865F-0534E941B5B7}"/>
                </a:ext>
              </a:extLst>
            </p:cNvPr>
            <p:cNvSpPr/>
            <p:nvPr/>
          </p:nvSpPr>
          <p:spPr bwMode="auto">
            <a:xfrm>
              <a:off x="7389813" y="3968750"/>
              <a:ext cx="49213" cy="55563"/>
            </a:xfrm>
            <a:custGeom>
              <a:avLst/>
              <a:gdLst>
                <a:gd name="T0" fmla="*/ 4 w 40"/>
                <a:gd name="T1" fmla="*/ 46 h 46"/>
                <a:gd name="T2" fmla="*/ 34 w 40"/>
                <a:gd name="T3" fmla="*/ 43 h 46"/>
                <a:gd name="T4" fmla="*/ 37 w 40"/>
                <a:gd name="T5" fmla="*/ 22 h 46"/>
                <a:gd name="T6" fmla="*/ 37 w 40"/>
                <a:gd name="T7" fmla="*/ 21 h 46"/>
                <a:gd name="T8" fmla="*/ 40 w 40"/>
                <a:gd name="T9" fmla="*/ 0 h 46"/>
                <a:gd name="T10" fmla="*/ 0 w 40"/>
                <a:gd name="T11" fmla="*/ 1 h 46"/>
                <a:gd name="T12" fmla="*/ 4 w 4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6">
                  <a:moveTo>
                    <a:pt x="4" y="46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5" y="36"/>
                    <a:pt x="36" y="29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8" y="14"/>
                    <a:pt x="39" y="7"/>
                    <a:pt x="4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46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1ídê">
              <a:extLst>
                <a:ext uri="{FF2B5EF4-FFF2-40B4-BE49-F238E27FC236}">
                  <a16:creationId xmlns:a16="http://schemas.microsoft.com/office/drawing/2014/main" id="{97C88834-C3AA-4924-BE2A-B6DEDE72A2A7}"/>
                </a:ext>
              </a:extLst>
            </p:cNvPr>
            <p:cNvSpPr/>
            <p:nvPr/>
          </p:nvSpPr>
          <p:spPr bwMode="auto">
            <a:xfrm>
              <a:off x="7167563" y="3594100"/>
              <a:ext cx="300038" cy="381000"/>
            </a:xfrm>
            <a:custGeom>
              <a:avLst/>
              <a:gdLst>
                <a:gd name="T0" fmla="*/ 88 w 189"/>
                <a:gd name="T1" fmla="*/ 0 h 240"/>
                <a:gd name="T2" fmla="*/ 189 w 189"/>
                <a:gd name="T3" fmla="*/ 174 h 240"/>
                <a:gd name="T4" fmla="*/ 157 w 189"/>
                <a:gd name="T5" fmla="*/ 240 h 240"/>
                <a:gd name="T6" fmla="*/ 95 w 189"/>
                <a:gd name="T7" fmla="*/ 219 h 240"/>
                <a:gd name="T8" fmla="*/ 0 w 189"/>
                <a:gd name="T9" fmla="*/ 48 h 240"/>
                <a:gd name="T10" fmla="*/ 88 w 189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240">
                  <a:moveTo>
                    <a:pt x="88" y="0"/>
                  </a:moveTo>
                  <a:lnTo>
                    <a:pt x="189" y="174"/>
                  </a:lnTo>
                  <a:lnTo>
                    <a:pt x="157" y="240"/>
                  </a:lnTo>
                  <a:lnTo>
                    <a:pt x="95" y="219"/>
                  </a:lnTo>
                  <a:lnTo>
                    <a:pt x="0" y="48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sḷïḋê">
              <a:extLst>
                <a:ext uri="{FF2B5EF4-FFF2-40B4-BE49-F238E27FC236}">
                  <a16:creationId xmlns:a16="http://schemas.microsoft.com/office/drawing/2014/main" id="{DBBB7A8F-D9FF-4E25-B414-5DB34ABE4050}"/>
                </a:ext>
              </a:extLst>
            </p:cNvPr>
            <p:cNvSpPr/>
            <p:nvPr/>
          </p:nvSpPr>
          <p:spPr bwMode="auto">
            <a:xfrm>
              <a:off x="7112000" y="341630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sľiḍé">
              <a:extLst>
                <a:ext uri="{FF2B5EF4-FFF2-40B4-BE49-F238E27FC236}">
                  <a16:creationId xmlns:a16="http://schemas.microsoft.com/office/drawing/2014/main" id="{B14AFD46-D0B0-497C-A736-73F810F1D3A0}"/>
                </a:ext>
              </a:extLst>
            </p:cNvPr>
            <p:cNvSpPr/>
            <p:nvPr/>
          </p:nvSpPr>
          <p:spPr bwMode="auto">
            <a:xfrm>
              <a:off x="6235700" y="3063875"/>
              <a:ext cx="1130300" cy="1409700"/>
            </a:xfrm>
            <a:custGeom>
              <a:avLst/>
              <a:gdLst>
                <a:gd name="T0" fmla="*/ 726 w 937"/>
                <a:gd name="T1" fmla="*/ 294 h 1170"/>
                <a:gd name="T2" fmla="*/ 726 w 937"/>
                <a:gd name="T3" fmla="*/ 293 h 1170"/>
                <a:gd name="T4" fmla="*/ 609 w 937"/>
                <a:gd name="T5" fmla="*/ 73 h 1170"/>
                <a:gd name="T6" fmla="*/ 540 w 937"/>
                <a:gd name="T7" fmla="*/ 6 h 1170"/>
                <a:gd name="T8" fmla="*/ 475 w 937"/>
                <a:gd name="T9" fmla="*/ 6 h 1170"/>
                <a:gd name="T10" fmla="*/ 297 w 937"/>
                <a:gd name="T11" fmla="*/ 32 h 1170"/>
                <a:gd name="T12" fmla="*/ 275 w 937"/>
                <a:gd name="T13" fmla="*/ 35 h 1170"/>
                <a:gd name="T14" fmla="*/ 142 w 937"/>
                <a:gd name="T15" fmla="*/ 378 h 1170"/>
                <a:gd name="T16" fmla="*/ 0 w 937"/>
                <a:gd name="T17" fmla="*/ 909 h 1170"/>
                <a:gd name="T18" fmla="*/ 8 w 937"/>
                <a:gd name="T19" fmla="*/ 1034 h 1170"/>
                <a:gd name="T20" fmla="*/ 29 w 937"/>
                <a:gd name="T21" fmla="*/ 1103 h 1170"/>
                <a:gd name="T22" fmla="*/ 159 w 937"/>
                <a:gd name="T23" fmla="*/ 1147 h 1170"/>
                <a:gd name="T24" fmla="*/ 444 w 937"/>
                <a:gd name="T25" fmla="*/ 1114 h 1170"/>
                <a:gd name="T26" fmla="*/ 728 w 937"/>
                <a:gd name="T27" fmla="*/ 1166 h 1170"/>
                <a:gd name="T28" fmla="*/ 726 w 937"/>
                <a:gd name="T29" fmla="*/ 294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7" h="1170">
                  <a:moveTo>
                    <a:pt x="726" y="294"/>
                  </a:moveTo>
                  <a:cubicBezTo>
                    <a:pt x="726" y="293"/>
                    <a:pt x="726" y="293"/>
                    <a:pt x="726" y="293"/>
                  </a:cubicBezTo>
                  <a:cubicBezTo>
                    <a:pt x="694" y="217"/>
                    <a:pt x="655" y="143"/>
                    <a:pt x="609" y="73"/>
                  </a:cubicBezTo>
                  <a:cubicBezTo>
                    <a:pt x="591" y="45"/>
                    <a:pt x="571" y="16"/>
                    <a:pt x="540" y="6"/>
                  </a:cubicBezTo>
                  <a:cubicBezTo>
                    <a:pt x="519" y="0"/>
                    <a:pt x="496" y="3"/>
                    <a:pt x="475" y="6"/>
                  </a:cubicBezTo>
                  <a:cubicBezTo>
                    <a:pt x="415" y="15"/>
                    <a:pt x="356" y="23"/>
                    <a:pt x="297" y="32"/>
                  </a:cubicBezTo>
                  <a:cubicBezTo>
                    <a:pt x="289" y="33"/>
                    <a:pt x="282" y="34"/>
                    <a:pt x="275" y="35"/>
                  </a:cubicBezTo>
                  <a:cubicBezTo>
                    <a:pt x="146" y="55"/>
                    <a:pt x="162" y="247"/>
                    <a:pt x="142" y="378"/>
                  </a:cubicBezTo>
                  <a:cubicBezTo>
                    <a:pt x="124" y="490"/>
                    <a:pt x="21" y="726"/>
                    <a:pt x="0" y="909"/>
                  </a:cubicBezTo>
                  <a:cubicBezTo>
                    <a:pt x="2" y="951"/>
                    <a:pt x="4" y="992"/>
                    <a:pt x="8" y="1034"/>
                  </a:cubicBezTo>
                  <a:cubicBezTo>
                    <a:pt x="14" y="1062"/>
                    <a:pt x="21" y="1085"/>
                    <a:pt x="29" y="1103"/>
                  </a:cubicBezTo>
                  <a:cubicBezTo>
                    <a:pt x="77" y="1170"/>
                    <a:pt x="159" y="1147"/>
                    <a:pt x="159" y="1147"/>
                  </a:cubicBezTo>
                  <a:cubicBezTo>
                    <a:pt x="159" y="1147"/>
                    <a:pt x="299" y="1093"/>
                    <a:pt x="444" y="1114"/>
                  </a:cubicBezTo>
                  <a:cubicBezTo>
                    <a:pt x="549" y="1117"/>
                    <a:pt x="648" y="1157"/>
                    <a:pt x="728" y="1166"/>
                  </a:cubicBezTo>
                  <a:cubicBezTo>
                    <a:pt x="937" y="926"/>
                    <a:pt x="727" y="297"/>
                    <a:pt x="726" y="294"/>
                  </a:cubicBezTo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ṧļîḓè">
              <a:extLst>
                <a:ext uri="{FF2B5EF4-FFF2-40B4-BE49-F238E27FC236}">
                  <a16:creationId xmlns:a16="http://schemas.microsoft.com/office/drawing/2014/main" id="{BFD83762-D30C-4882-A2B3-81872EBCE21C}"/>
                </a:ext>
              </a:extLst>
            </p:cNvPr>
            <p:cNvSpPr/>
            <p:nvPr/>
          </p:nvSpPr>
          <p:spPr bwMode="auto">
            <a:xfrm>
              <a:off x="6373813" y="3059113"/>
              <a:ext cx="652463" cy="1425575"/>
            </a:xfrm>
            <a:custGeom>
              <a:avLst/>
              <a:gdLst>
                <a:gd name="T0" fmla="*/ 309 w 541"/>
                <a:gd name="T1" fmla="*/ 389 h 1183"/>
                <a:gd name="T2" fmla="*/ 330 w 541"/>
                <a:gd name="T3" fmla="*/ 503 h 1183"/>
                <a:gd name="T4" fmla="*/ 541 w 541"/>
                <a:gd name="T5" fmla="*/ 1183 h 1183"/>
                <a:gd name="T6" fmla="*/ 20 w 541"/>
                <a:gd name="T7" fmla="*/ 1150 h 1183"/>
                <a:gd name="T8" fmla="*/ 6 w 541"/>
                <a:gd name="T9" fmla="*/ 979 h 1183"/>
                <a:gd name="T10" fmla="*/ 4 w 541"/>
                <a:gd name="T11" fmla="*/ 810 h 1183"/>
                <a:gd name="T12" fmla="*/ 58 w 541"/>
                <a:gd name="T13" fmla="*/ 545 h 1183"/>
                <a:gd name="T14" fmla="*/ 189 w 541"/>
                <a:gd name="T15" fmla="*/ 67 h 1183"/>
                <a:gd name="T16" fmla="*/ 199 w 541"/>
                <a:gd name="T17" fmla="*/ 43 h 1183"/>
                <a:gd name="T18" fmla="*/ 224 w 541"/>
                <a:gd name="T19" fmla="*/ 28 h 1183"/>
                <a:gd name="T20" fmla="*/ 367 w 541"/>
                <a:gd name="T21" fmla="*/ 3 h 1183"/>
                <a:gd name="T22" fmla="*/ 340 w 541"/>
                <a:gd name="T23" fmla="*/ 183 h 1183"/>
                <a:gd name="T24" fmla="*/ 309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309" y="389"/>
                  </a:moveTo>
                  <a:cubicBezTo>
                    <a:pt x="312" y="427"/>
                    <a:pt x="321" y="465"/>
                    <a:pt x="330" y="503"/>
                  </a:cubicBezTo>
                  <a:cubicBezTo>
                    <a:pt x="386" y="732"/>
                    <a:pt x="484" y="954"/>
                    <a:pt x="541" y="1183"/>
                  </a:cubicBezTo>
                  <a:cubicBezTo>
                    <a:pt x="387" y="1183"/>
                    <a:pt x="408" y="1059"/>
                    <a:pt x="20" y="1150"/>
                  </a:cubicBezTo>
                  <a:cubicBezTo>
                    <a:pt x="15" y="1062"/>
                    <a:pt x="10" y="1066"/>
                    <a:pt x="6" y="979"/>
                  </a:cubicBezTo>
                  <a:cubicBezTo>
                    <a:pt x="3" y="922"/>
                    <a:pt x="0" y="866"/>
                    <a:pt x="4" y="810"/>
                  </a:cubicBezTo>
                  <a:cubicBezTo>
                    <a:pt x="10" y="719"/>
                    <a:pt x="34" y="632"/>
                    <a:pt x="58" y="545"/>
                  </a:cubicBezTo>
                  <a:cubicBezTo>
                    <a:pt x="102" y="386"/>
                    <a:pt x="145" y="226"/>
                    <a:pt x="189" y="67"/>
                  </a:cubicBezTo>
                  <a:cubicBezTo>
                    <a:pt x="191" y="58"/>
                    <a:pt x="194" y="49"/>
                    <a:pt x="199" y="43"/>
                  </a:cubicBezTo>
                  <a:cubicBezTo>
                    <a:pt x="206" y="35"/>
                    <a:pt x="215" y="31"/>
                    <a:pt x="224" y="28"/>
                  </a:cubicBezTo>
                  <a:cubicBezTo>
                    <a:pt x="269" y="14"/>
                    <a:pt x="320" y="0"/>
                    <a:pt x="367" y="3"/>
                  </a:cubicBezTo>
                  <a:cubicBezTo>
                    <a:pt x="384" y="49"/>
                    <a:pt x="351" y="137"/>
                    <a:pt x="340" y="183"/>
                  </a:cubicBezTo>
                  <a:cubicBezTo>
                    <a:pt x="325" y="250"/>
                    <a:pt x="305" y="318"/>
                    <a:pt x="309" y="3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$ľide">
              <a:extLst>
                <a:ext uri="{FF2B5EF4-FFF2-40B4-BE49-F238E27FC236}">
                  <a16:creationId xmlns:a16="http://schemas.microsoft.com/office/drawing/2014/main" id="{CEF03112-204A-4DBD-A40E-7D507A477211}"/>
                </a:ext>
              </a:extLst>
            </p:cNvPr>
            <p:cNvSpPr/>
            <p:nvPr/>
          </p:nvSpPr>
          <p:spPr bwMode="auto">
            <a:xfrm>
              <a:off x="6527800" y="2593975"/>
              <a:ext cx="165100" cy="249238"/>
            </a:xfrm>
            <a:custGeom>
              <a:avLst/>
              <a:gdLst>
                <a:gd name="T0" fmla="*/ 68 w 137"/>
                <a:gd name="T1" fmla="*/ 75 h 206"/>
                <a:gd name="T2" fmla="*/ 41 w 137"/>
                <a:gd name="T3" fmla="*/ 166 h 206"/>
                <a:gd name="T4" fmla="*/ 32 w 137"/>
                <a:gd name="T5" fmla="*/ 189 h 206"/>
                <a:gd name="T6" fmla="*/ 25 w 137"/>
                <a:gd name="T7" fmla="*/ 199 h 206"/>
                <a:gd name="T8" fmla="*/ 1 w 137"/>
                <a:gd name="T9" fmla="*/ 157 h 206"/>
                <a:gd name="T10" fmla="*/ 3 w 137"/>
                <a:gd name="T11" fmla="*/ 93 h 206"/>
                <a:gd name="T12" fmla="*/ 22 w 137"/>
                <a:gd name="T13" fmla="*/ 41 h 206"/>
                <a:gd name="T14" fmla="*/ 49 w 137"/>
                <a:gd name="T15" fmla="*/ 22 h 206"/>
                <a:gd name="T16" fmla="*/ 93 w 137"/>
                <a:gd name="T17" fmla="*/ 4 h 206"/>
                <a:gd name="T18" fmla="*/ 112 w 137"/>
                <a:gd name="T19" fmla="*/ 28 h 206"/>
                <a:gd name="T20" fmla="*/ 68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8" y="75"/>
                  </a:moveTo>
                  <a:cubicBezTo>
                    <a:pt x="52" y="102"/>
                    <a:pt x="43" y="134"/>
                    <a:pt x="41" y="166"/>
                  </a:cubicBezTo>
                  <a:cubicBezTo>
                    <a:pt x="40" y="174"/>
                    <a:pt x="39" y="184"/>
                    <a:pt x="32" y="189"/>
                  </a:cubicBezTo>
                  <a:cubicBezTo>
                    <a:pt x="25" y="194"/>
                    <a:pt x="31" y="206"/>
                    <a:pt x="25" y="199"/>
                  </a:cubicBezTo>
                  <a:cubicBezTo>
                    <a:pt x="20" y="191"/>
                    <a:pt x="2" y="166"/>
                    <a:pt x="1" y="157"/>
                  </a:cubicBezTo>
                  <a:cubicBezTo>
                    <a:pt x="0" y="135"/>
                    <a:pt x="0" y="114"/>
                    <a:pt x="3" y="93"/>
                  </a:cubicBezTo>
                  <a:cubicBezTo>
                    <a:pt x="5" y="74"/>
                    <a:pt x="10" y="55"/>
                    <a:pt x="22" y="41"/>
                  </a:cubicBezTo>
                  <a:cubicBezTo>
                    <a:pt x="30" y="33"/>
                    <a:pt x="40" y="27"/>
                    <a:pt x="49" y="22"/>
                  </a:cubicBezTo>
                  <a:cubicBezTo>
                    <a:pt x="63" y="14"/>
                    <a:pt x="77" y="6"/>
                    <a:pt x="93" y="4"/>
                  </a:cubicBezTo>
                  <a:cubicBezTo>
                    <a:pt x="120" y="0"/>
                    <a:pt x="137" y="10"/>
                    <a:pt x="112" y="28"/>
                  </a:cubicBezTo>
                  <a:cubicBezTo>
                    <a:pt x="95" y="41"/>
                    <a:pt x="80" y="56"/>
                    <a:pt x="68" y="7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$ḷíḓe">
              <a:extLst>
                <a:ext uri="{FF2B5EF4-FFF2-40B4-BE49-F238E27FC236}">
                  <a16:creationId xmlns:a16="http://schemas.microsoft.com/office/drawing/2014/main" id="{25AF2D5E-00A5-42E0-A748-28F1ADDE0278}"/>
                </a:ext>
              </a:extLst>
            </p:cNvPr>
            <p:cNvSpPr/>
            <p:nvPr/>
          </p:nvSpPr>
          <p:spPr bwMode="auto">
            <a:xfrm>
              <a:off x="6519863" y="2505075"/>
              <a:ext cx="454025" cy="369888"/>
            </a:xfrm>
            <a:custGeom>
              <a:avLst/>
              <a:gdLst>
                <a:gd name="T0" fmla="*/ 20 w 376"/>
                <a:gd name="T1" fmla="*/ 65 h 307"/>
                <a:gd name="T2" fmla="*/ 14 w 376"/>
                <a:gd name="T3" fmla="*/ 30 h 307"/>
                <a:gd name="T4" fmla="*/ 48 w 376"/>
                <a:gd name="T5" fmla="*/ 34 h 307"/>
                <a:gd name="T6" fmla="*/ 49 w 376"/>
                <a:gd name="T7" fmla="*/ 14 h 307"/>
                <a:gd name="T8" fmla="*/ 131 w 376"/>
                <a:gd name="T9" fmla="*/ 6 h 307"/>
                <a:gd name="T10" fmla="*/ 294 w 376"/>
                <a:gd name="T11" fmla="*/ 33 h 307"/>
                <a:gd name="T12" fmla="*/ 371 w 376"/>
                <a:gd name="T13" fmla="*/ 153 h 307"/>
                <a:gd name="T14" fmla="*/ 328 w 376"/>
                <a:gd name="T15" fmla="*/ 307 h 307"/>
                <a:gd name="T16" fmla="*/ 334 w 376"/>
                <a:gd name="T17" fmla="*/ 250 h 307"/>
                <a:gd name="T18" fmla="*/ 323 w 376"/>
                <a:gd name="T19" fmla="*/ 214 h 307"/>
                <a:gd name="T20" fmla="*/ 273 w 376"/>
                <a:gd name="T21" fmla="*/ 158 h 307"/>
                <a:gd name="T22" fmla="*/ 162 w 376"/>
                <a:gd name="T23" fmla="*/ 117 h 307"/>
                <a:gd name="T24" fmla="*/ 46 w 376"/>
                <a:gd name="T25" fmla="*/ 114 h 307"/>
                <a:gd name="T26" fmla="*/ 16 w 376"/>
                <a:gd name="T27" fmla="*/ 104 h 307"/>
                <a:gd name="T28" fmla="*/ 2 w 376"/>
                <a:gd name="T29" fmla="*/ 65 h 307"/>
                <a:gd name="T30" fmla="*/ 20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20" y="65"/>
                  </a:moveTo>
                  <a:cubicBezTo>
                    <a:pt x="17" y="54"/>
                    <a:pt x="15" y="42"/>
                    <a:pt x="14" y="30"/>
                  </a:cubicBezTo>
                  <a:cubicBezTo>
                    <a:pt x="25" y="34"/>
                    <a:pt x="37" y="36"/>
                    <a:pt x="48" y="34"/>
                  </a:cubicBezTo>
                  <a:cubicBezTo>
                    <a:pt x="48" y="28"/>
                    <a:pt x="48" y="21"/>
                    <a:pt x="49" y="14"/>
                  </a:cubicBezTo>
                  <a:cubicBezTo>
                    <a:pt x="49" y="8"/>
                    <a:pt x="125" y="7"/>
                    <a:pt x="131" y="6"/>
                  </a:cubicBezTo>
                  <a:cubicBezTo>
                    <a:pt x="189" y="3"/>
                    <a:pt x="242" y="0"/>
                    <a:pt x="294" y="33"/>
                  </a:cubicBezTo>
                  <a:cubicBezTo>
                    <a:pt x="338" y="61"/>
                    <a:pt x="365" y="101"/>
                    <a:pt x="371" y="153"/>
                  </a:cubicBezTo>
                  <a:cubicBezTo>
                    <a:pt x="376" y="203"/>
                    <a:pt x="358" y="267"/>
                    <a:pt x="328" y="307"/>
                  </a:cubicBezTo>
                  <a:cubicBezTo>
                    <a:pt x="329" y="294"/>
                    <a:pt x="337" y="263"/>
                    <a:pt x="334" y="250"/>
                  </a:cubicBezTo>
                  <a:cubicBezTo>
                    <a:pt x="333" y="238"/>
                    <a:pt x="329" y="225"/>
                    <a:pt x="323" y="214"/>
                  </a:cubicBezTo>
                  <a:cubicBezTo>
                    <a:pt x="312" y="192"/>
                    <a:pt x="294" y="172"/>
                    <a:pt x="273" y="158"/>
                  </a:cubicBezTo>
                  <a:cubicBezTo>
                    <a:pt x="240" y="136"/>
                    <a:pt x="201" y="124"/>
                    <a:pt x="162" y="117"/>
                  </a:cubicBezTo>
                  <a:cubicBezTo>
                    <a:pt x="126" y="111"/>
                    <a:pt x="82" y="105"/>
                    <a:pt x="46" y="114"/>
                  </a:cubicBezTo>
                  <a:cubicBezTo>
                    <a:pt x="28" y="118"/>
                    <a:pt x="25" y="122"/>
                    <a:pt x="16" y="104"/>
                  </a:cubicBezTo>
                  <a:cubicBezTo>
                    <a:pt x="14" y="101"/>
                    <a:pt x="0" y="65"/>
                    <a:pt x="2" y="65"/>
                  </a:cubicBezTo>
                  <a:cubicBezTo>
                    <a:pt x="8" y="65"/>
                    <a:pt x="14" y="65"/>
                    <a:pt x="20" y="6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šḷíďè">
              <a:extLst>
                <a:ext uri="{FF2B5EF4-FFF2-40B4-BE49-F238E27FC236}">
                  <a16:creationId xmlns:a16="http://schemas.microsoft.com/office/drawing/2014/main" id="{8EBFF2C7-3D65-41BA-AB1C-ABCCCDBAC338}"/>
                </a:ext>
              </a:extLst>
            </p:cNvPr>
            <p:cNvSpPr/>
            <p:nvPr/>
          </p:nvSpPr>
          <p:spPr bwMode="auto">
            <a:xfrm>
              <a:off x="6435725" y="5322888"/>
              <a:ext cx="144463" cy="257175"/>
            </a:xfrm>
            <a:custGeom>
              <a:avLst/>
              <a:gdLst>
                <a:gd name="T0" fmla="*/ 24 w 91"/>
                <a:gd name="T1" fmla="*/ 34 h 162"/>
                <a:gd name="T2" fmla="*/ 0 w 91"/>
                <a:gd name="T3" fmla="*/ 125 h 162"/>
                <a:gd name="T4" fmla="*/ 26 w 91"/>
                <a:gd name="T5" fmla="*/ 162 h 162"/>
                <a:gd name="T6" fmla="*/ 68 w 91"/>
                <a:gd name="T7" fmla="*/ 137 h 162"/>
                <a:gd name="T8" fmla="*/ 91 w 91"/>
                <a:gd name="T9" fmla="*/ 59 h 162"/>
                <a:gd name="T10" fmla="*/ 73 w 91"/>
                <a:gd name="T11" fmla="*/ 0 h 162"/>
                <a:gd name="T12" fmla="*/ 24 w 91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8" y="137"/>
                  </a:lnTo>
                  <a:lnTo>
                    <a:pt x="91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ḻîḓè">
              <a:extLst>
                <a:ext uri="{FF2B5EF4-FFF2-40B4-BE49-F238E27FC236}">
                  <a16:creationId xmlns:a16="http://schemas.microsoft.com/office/drawing/2014/main" id="{20411541-E4CF-4647-AE49-F38685556A6C}"/>
                </a:ext>
              </a:extLst>
            </p:cNvPr>
            <p:cNvSpPr/>
            <p:nvPr/>
          </p:nvSpPr>
          <p:spPr bwMode="auto">
            <a:xfrm>
              <a:off x="6731000" y="5295900"/>
              <a:ext cx="146050" cy="257175"/>
            </a:xfrm>
            <a:custGeom>
              <a:avLst/>
              <a:gdLst>
                <a:gd name="T0" fmla="*/ 24 w 92"/>
                <a:gd name="T1" fmla="*/ 34 h 162"/>
                <a:gd name="T2" fmla="*/ 0 w 92"/>
                <a:gd name="T3" fmla="*/ 125 h 162"/>
                <a:gd name="T4" fmla="*/ 26 w 92"/>
                <a:gd name="T5" fmla="*/ 162 h 162"/>
                <a:gd name="T6" fmla="*/ 67 w 92"/>
                <a:gd name="T7" fmla="*/ 137 h 162"/>
                <a:gd name="T8" fmla="*/ 92 w 92"/>
                <a:gd name="T9" fmla="*/ 59 h 162"/>
                <a:gd name="T10" fmla="*/ 73 w 92"/>
                <a:gd name="T11" fmla="*/ 0 h 162"/>
                <a:gd name="T12" fmla="*/ 24 w 92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7" y="137"/>
                  </a:lnTo>
                  <a:lnTo>
                    <a:pt x="92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ś1îḋê">
              <a:extLst>
                <a:ext uri="{FF2B5EF4-FFF2-40B4-BE49-F238E27FC236}">
                  <a16:creationId xmlns:a16="http://schemas.microsoft.com/office/drawing/2014/main" id="{B661F444-C023-4613-B4C6-37C123B6E8E7}"/>
                </a:ext>
              </a:extLst>
            </p:cNvPr>
            <p:cNvSpPr/>
            <p:nvPr/>
          </p:nvSpPr>
          <p:spPr bwMode="auto">
            <a:xfrm>
              <a:off x="6248400" y="4249738"/>
              <a:ext cx="484188" cy="1158875"/>
            </a:xfrm>
            <a:custGeom>
              <a:avLst/>
              <a:gdLst>
                <a:gd name="T0" fmla="*/ 383 w 402"/>
                <a:gd name="T1" fmla="*/ 137 h 961"/>
                <a:gd name="T2" fmla="*/ 330 w 402"/>
                <a:gd name="T3" fmla="*/ 48 h 961"/>
                <a:gd name="T4" fmla="*/ 135 w 402"/>
                <a:gd name="T5" fmla="*/ 20 h 961"/>
                <a:gd name="T6" fmla="*/ 28 w 402"/>
                <a:gd name="T7" fmla="*/ 109 h 961"/>
                <a:gd name="T8" fmla="*/ 0 w 402"/>
                <a:gd name="T9" fmla="*/ 218 h 961"/>
                <a:gd name="T10" fmla="*/ 26 w 402"/>
                <a:gd name="T11" fmla="*/ 321 h 961"/>
                <a:gd name="T12" fmla="*/ 182 w 402"/>
                <a:gd name="T13" fmla="*/ 961 h 961"/>
                <a:gd name="T14" fmla="*/ 270 w 402"/>
                <a:gd name="T15" fmla="*/ 948 h 961"/>
                <a:gd name="T16" fmla="*/ 276 w 402"/>
                <a:gd name="T17" fmla="*/ 294 h 961"/>
                <a:gd name="T18" fmla="*/ 383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383" y="137"/>
                  </a:moveTo>
                  <a:cubicBezTo>
                    <a:pt x="374" y="107"/>
                    <a:pt x="359" y="61"/>
                    <a:pt x="330" y="48"/>
                  </a:cubicBezTo>
                  <a:cubicBezTo>
                    <a:pt x="267" y="22"/>
                    <a:pt x="199" y="0"/>
                    <a:pt x="135" y="20"/>
                  </a:cubicBezTo>
                  <a:cubicBezTo>
                    <a:pt x="91" y="33"/>
                    <a:pt x="52" y="65"/>
                    <a:pt x="28" y="109"/>
                  </a:cubicBezTo>
                  <a:cubicBezTo>
                    <a:pt x="10" y="141"/>
                    <a:pt x="0" y="180"/>
                    <a:pt x="0" y="218"/>
                  </a:cubicBezTo>
                  <a:cubicBezTo>
                    <a:pt x="0" y="255"/>
                    <a:pt x="18" y="286"/>
                    <a:pt x="26" y="321"/>
                  </a:cubicBezTo>
                  <a:cubicBezTo>
                    <a:pt x="78" y="534"/>
                    <a:pt x="130" y="748"/>
                    <a:pt x="182" y="961"/>
                  </a:cubicBezTo>
                  <a:cubicBezTo>
                    <a:pt x="270" y="948"/>
                    <a:pt x="270" y="948"/>
                    <a:pt x="270" y="948"/>
                  </a:cubicBezTo>
                  <a:cubicBezTo>
                    <a:pt x="276" y="294"/>
                    <a:pt x="276" y="294"/>
                    <a:pt x="276" y="294"/>
                  </a:cubicBezTo>
                  <a:cubicBezTo>
                    <a:pt x="312" y="257"/>
                    <a:pt x="402" y="198"/>
                    <a:pt x="383" y="137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ṥ1îḑé">
              <a:extLst>
                <a:ext uri="{FF2B5EF4-FFF2-40B4-BE49-F238E27FC236}">
                  <a16:creationId xmlns:a16="http://schemas.microsoft.com/office/drawing/2014/main" id="{3B1E122C-1DA6-4C3B-83C1-E2166F3826E4}"/>
                </a:ext>
              </a:extLst>
            </p:cNvPr>
            <p:cNvSpPr/>
            <p:nvPr/>
          </p:nvSpPr>
          <p:spPr bwMode="auto">
            <a:xfrm>
              <a:off x="6600825" y="4252913"/>
              <a:ext cx="441325" cy="1143000"/>
            </a:xfrm>
            <a:custGeom>
              <a:avLst/>
              <a:gdLst>
                <a:gd name="T0" fmla="*/ 359 w 365"/>
                <a:gd name="T1" fmla="*/ 235 h 949"/>
                <a:gd name="T2" fmla="*/ 365 w 365"/>
                <a:gd name="T3" fmla="*/ 166 h 949"/>
                <a:gd name="T4" fmla="*/ 358 w 365"/>
                <a:gd name="T5" fmla="*/ 113 h 949"/>
                <a:gd name="T6" fmla="*/ 326 w 365"/>
                <a:gd name="T7" fmla="*/ 67 h 949"/>
                <a:gd name="T8" fmla="*/ 154 w 365"/>
                <a:gd name="T9" fmla="*/ 15 h 949"/>
                <a:gd name="T10" fmla="*/ 77 w 365"/>
                <a:gd name="T11" fmla="*/ 53 h 949"/>
                <a:gd name="T12" fmla="*/ 4 w 365"/>
                <a:gd name="T13" fmla="*/ 124 h 949"/>
                <a:gd name="T14" fmla="*/ 0 w 365"/>
                <a:gd name="T15" fmla="*/ 133 h 949"/>
                <a:gd name="T16" fmla="*/ 5 w 365"/>
                <a:gd name="T17" fmla="*/ 139 h 949"/>
                <a:gd name="T18" fmla="*/ 82 w 365"/>
                <a:gd name="T19" fmla="*/ 260 h 949"/>
                <a:gd name="T20" fmla="*/ 104 w 365"/>
                <a:gd name="T21" fmla="*/ 433 h 949"/>
                <a:gd name="T22" fmla="*/ 111 w 365"/>
                <a:gd name="T23" fmla="*/ 644 h 949"/>
                <a:gd name="T24" fmla="*/ 122 w 365"/>
                <a:gd name="T25" fmla="*/ 936 h 949"/>
                <a:gd name="T26" fmla="*/ 222 w 365"/>
                <a:gd name="T27" fmla="*/ 949 h 949"/>
                <a:gd name="T28" fmla="*/ 274 w 365"/>
                <a:gd name="T29" fmla="*/ 680 h 949"/>
                <a:gd name="T30" fmla="*/ 348 w 365"/>
                <a:gd name="T31" fmla="*/ 302 h 949"/>
                <a:gd name="T32" fmla="*/ 359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359" y="235"/>
                  </a:moveTo>
                  <a:cubicBezTo>
                    <a:pt x="362" y="212"/>
                    <a:pt x="364" y="189"/>
                    <a:pt x="365" y="166"/>
                  </a:cubicBezTo>
                  <a:cubicBezTo>
                    <a:pt x="365" y="148"/>
                    <a:pt x="364" y="130"/>
                    <a:pt x="358" y="113"/>
                  </a:cubicBezTo>
                  <a:cubicBezTo>
                    <a:pt x="352" y="94"/>
                    <a:pt x="339" y="80"/>
                    <a:pt x="326" y="67"/>
                  </a:cubicBezTo>
                  <a:cubicBezTo>
                    <a:pt x="278" y="22"/>
                    <a:pt x="216" y="0"/>
                    <a:pt x="154" y="15"/>
                  </a:cubicBezTo>
                  <a:cubicBezTo>
                    <a:pt x="127" y="22"/>
                    <a:pt x="101" y="36"/>
                    <a:pt x="77" y="53"/>
                  </a:cubicBezTo>
                  <a:cubicBezTo>
                    <a:pt x="50" y="72"/>
                    <a:pt x="24" y="95"/>
                    <a:pt x="4" y="124"/>
                  </a:cubicBezTo>
                  <a:cubicBezTo>
                    <a:pt x="2" y="126"/>
                    <a:pt x="0" y="130"/>
                    <a:pt x="0" y="133"/>
                  </a:cubicBezTo>
                  <a:cubicBezTo>
                    <a:pt x="1" y="136"/>
                    <a:pt x="3" y="137"/>
                    <a:pt x="5" y="139"/>
                  </a:cubicBezTo>
                  <a:cubicBezTo>
                    <a:pt x="39" y="171"/>
                    <a:pt x="65" y="214"/>
                    <a:pt x="82" y="260"/>
                  </a:cubicBezTo>
                  <a:cubicBezTo>
                    <a:pt x="102" y="317"/>
                    <a:pt x="101" y="373"/>
                    <a:pt x="104" y="433"/>
                  </a:cubicBezTo>
                  <a:cubicBezTo>
                    <a:pt x="106" y="503"/>
                    <a:pt x="109" y="573"/>
                    <a:pt x="111" y="644"/>
                  </a:cubicBezTo>
                  <a:cubicBezTo>
                    <a:pt x="115" y="741"/>
                    <a:pt x="119" y="839"/>
                    <a:pt x="122" y="936"/>
                  </a:cubicBezTo>
                  <a:cubicBezTo>
                    <a:pt x="222" y="949"/>
                    <a:pt x="222" y="949"/>
                    <a:pt x="222" y="949"/>
                  </a:cubicBezTo>
                  <a:cubicBezTo>
                    <a:pt x="239" y="859"/>
                    <a:pt x="257" y="770"/>
                    <a:pt x="274" y="680"/>
                  </a:cubicBezTo>
                  <a:cubicBezTo>
                    <a:pt x="299" y="554"/>
                    <a:pt x="323" y="428"/>
                    <a:pt x="348" y="302"/>
                  </a:cubicBezTo>
                  <a:cubicBezTo>
                    <a:pt x="352" y="280"/>
                    <a:pt x="356" y="258"/>
                    <a:pt x="359" y="235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š1íde">
              <a:extLst>
                <a:ext uri="{FF2B5EF4-FFF2-40B4-BE49-F238E27FC236}">
                  <a16:creationId xmlns:a16="http://schemas.microsoft.com/office/drawing/2014/main" id="{D51021F4-8193-42FD-A2AE-3B889412E4D4}"/>
                </a:ext>
              </a:extLst>
            </p:cNvPr>
            <p:cNvSpPr/>
            <p:nvPr/>
          </p:nvSpPr>
          <p:spPr bwMode="auto">
            <a:xfrm>
              <a:off x="6902450" y="3078163"/>
              <a:ext cx="409575" cy="611188"/>
            </a:xfrm>
            <a:custGeom>
              <a:avLst/>
              <a:gdLst>
                <a:gd name="T0" fmla="*/ 0 w 258"/>
                <a:gd name="T1" fmla="*/ 0 h 385"/>
                <a:gd name="T2" fmla="*/ 97 w 258"/>
                <a:gd name="T3" fmla="*/ 51 h 385"/>
                <a:gd name="T4" fmla="*/ 258 w 258"/>
                <a:gd name="T5" fmla="*/ 322 h 385"/>
                <a:gd name="T6" fmla="*/ 153 w 258"/>
                <a:gd name="T7" fmla="*/ 385 h 385"/>
                <a:gd name="T8" fmla="*/ 88 w 258"/>
                <a:gd name="T9" fmla="*/ 249 h 385"/>
                <a:gd name="T10" fmla="*/ 0 w 258"/>
                <a:gd name="T1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385">
                  <a:moveTo>
                    <a:pt x="0" y="0"/>
                  </a:moveTo>
                  <a:lnTo>
                    <a:pt x="97" y="51"/>
                  </a:lnTo>
                  <a:lnTo>
                    <a:pt x="258" y="322"/>
                  </a:lnTo>
                  <a:lnTo>
                    <a:pt x="153" y="385"/>
                  </a:lnTo>
                  <a:lnTo>
                    <a:pt x="88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ṧlïḍe">
              <a:extLst>
                <a:ext uri="{FF2B5EF4-FFF2-40B4-BE49-F238E27FC236}">
                  <a16:creationId xmlns:a16="http://schemas.microsoft.com/office/drawing/2014/main" id="{5736A002-43A0-418A-81E5-3867B5A16FA1}"/>
                </a:ext>
              </a:extLst>
            </p:cNvPr>
            <p:cNvSpPr/>
            <p:nvPr/>
          </p:nvSpPr>
          <p:spPr bwMode="auto">
            <a:xfrm>
              <a:off x="6103938" y="3562350"/>
              <a:ext cx="257175" cy="330200"/>
            </a:xfrm>
            <a:custGeom>
              <a:avLst/>
              <a:gdLst>
                <a:gd name="T0" fmla="*/ 19 w 162"/>
                <a:gd name="T1" fmla="*/ 208 h 208"/>
                <a:gd name="T2" fmla="*/ 83 w 162"/>
                <a:gd name="T3" fmla="*/ 190 h 208"/>
                <a:gd name="T4" fmla="*/ 162 w 162"/>
                <a:gd name="T5" fmla="*/ 36 h 208"/>
                <a:gd name="T6" fmla="*/ 79 w 162"/>
                <a:gd name="T7" fmla="*/ 0 h 208"/>
                <a:gd name="T8" fmla="*/ 0 w 162"/>
                <a:gd name="T9" fmla="*/ 152 h 208"/>
                <a:gd name="T10" fmla="*/ 19 w 162"/>
                <a:gd name="T11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208">
                  <a:moveTo>
                    <a:pt x="19" y="208"/>
                  </a:moveTo>
                  <a:lnTo>
                    <a:pt x="83" y="190"/>
                  </a:lnTo>
                  <a:lnTo>
                    <a:pt x="162" y="36"/>
                  </a:lnTo>
                  <a:lnTo>
                    <a:pt x="79" y="0"/>
                  </a:lnTo>
                  <a:lnTo>
                    <a:pt x="0" y="152"/>
                  </a:lnTo>
                  <a:lnTo>
                    <a:pt x="19" y="208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ṧḷïďé">
              <a:extLst>
                <a:ext uri="{FF2B5EF4-FFF2-40B4-BE49-F238E27FC236}">
                  <a16:creationId xmlns:a16="http://schemas.microsoft.com/office/drawing/2014/main" id="{652F3B90-E957-41AC-9D9E-DEF1EA4D2C96}"/>
                </a:ext>
              </a:extLst>
            </p:cNvPr>
            <p:cNvSpPr/>
            <p:nvPr/>
          </p:nvSpPr>
          <p:spPr bwMode="auto">
            <a:xfrm>
              <a:off x="7450138" y="3367088"/>
              <a:ext cx="390525" cy="392113"/>
            </a:xfrm>
            <a:custGeom>
              <a:avLst/>
              <a:gdLst>
                <a:gd name="T0" fmla="*/ 312 w 324"/>
                <a:gd name="T1" fmla="*/ 184 h 325"/>
                <a:gd name="T2" fmla="*/ 141 w 324"/>
                <a:gd name="T3" fmla="*/ 313 h 325"/>
                <a:gd name="T4" fmla="*/ 12 w 324"/>
                <a:gd name="T5" fmla="*/ 141 h 325"/>
                <a:gd name="T6" fmla="*/ 184 w 324"/>
                <a:gd name="T7" fmla="*/ 12 h 325"/>
                <a:gd name="T8" fmla="*/ 312 w 324"/>
                <a:gd name="T9" fmla="*/ 18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325">
                  <a:moveTo>
                    <a:pt x="312" y="184"/>
                  </a:moveTo>
                  <a:cubicBezTo>
                    <a:pt x="300" y="267"/>
                    <a:pt x="224" y="325"/>
                    <a:pt x="141" y="313"/>
                  </a:cubicBezTo>
                  <a:cubicBezTo>
                    <a:pt x="58" y="301"/>
                    <a:pt x="0" y="224"/>
                    <a:pt x="12" y="141"/>
                  </a:cubicBezTo>
                  <a:cubicBezTo>
                    <a:pt x="24" y="58"/>
                    <a:pt x="101" y="0"/>
                    <a:pt x="184" y="12"/>
                  </a:cubicBezTo>
                  <a:cubicBezTo>
                    <a:pt x="267" y="24"/>
                    <a:pt x="324" y="101"/>
                    <a:pt x="312" y="184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ṣḻïďe">
              <a:extLst>
                <a:ext uri="{FF2B5EF4-FFF2-40B4-BE49-F238E27FC236}">
                  <a16:creationId xmlns:a16="http://schemas.microsoft.com/office/drawing/2014/main" id="{3B3A5F4D-D3A9-45AE-9196-870225B45662}"/>
                </a:ext>
              </a:extLst>
            </p:cNvPr>
            <p:cNvSpPr/>
            <p:nvPr/>
          </p:nvSpPr>
          <p:spPr bwMode="auto">
            <a:xfrm>
              <a:off x="7510463" y="3429000"/>
              <a:ext cx="269875" cy="268288"/>
            </a:xfrm>
            <a:custGeom>
              <a:avLst/>
              <a:gdLst>
                <a:gd name="T0" fmla="*/ 214 w 223"/>
                <a:gd name="T1" fmla="*/ 126 h 223"/>
                <a:gd name="T2" fmla="*/ 96 w 223"/>
                <a:gd name="T3" fmla="*/ 215 h 223"/>
                <a:gd name="T4" fmla="*/ 8 w 223"/>
                <a:gd name="T5" fmla="*/ 96 h 223"/>
                <a:gd name="T6" fmla="*/ 126 w 223"/>
                <a:gd name="T7" fmla="*/ 8 h 223"/>
                <a:gd name="T8" fmla="*/ 214 w 223"/>
                <a:gd name="T9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223">
                  <a:moveTo>
                    <a:pt x="214" y="126"/>
                  </a:moveTo>
                  <a:cubicBezTo>
                    <a:pt x="206" y="183"/>
                    <a:pt x="153" y="223"/>
                    <a:pt x="96" y="215"/>
                  </a:cubicBezTo>
                  <a:cubicBezTo>
                    <a:pt x="39" y="206"/>
                    <a:pt x="0" y="153"/>
                    <a:pt x="8" y="96"/>
                  </a:cubicBezTo>
                  <a:cubicBezTo>
                    <a:pt x="16" y="39"/>
                    <a:pt x="69" y="0"/>
                    <a:pt x="126" y="8"/>
                  </a:cubicBezTo>
                  <a:cubicBezTo>
                    <a:pt x="183" y="16"/>
                    <a:pt x="223" y="69"/>
                    <a:pt x="214" y="126"/>
                  </a:cubicBezTo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Sľiḓe">
              <a:extLst>
                <a:ext uri="{FF2B5EF4-FFF2-40B4-BE49-F238E27FC236}">
                  <a16:creationId xmlns:a16="http://schemas.microsoft.com/office/drawing/2014/main" id="{8BF24CB9-54CC-4851-A2C3-54B83B716C76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ṡḻîďè">
              <a:extLst>
                <a:ext uri="{FF2B5EF4-FFF2-40B4-BE49-F238E27FC236}">
                  <a16:creationId xmlns:a16="http://schemas.microsoft.com/office/drawing/2014/main" id="{A80DA540-50BC-4781-B712-03D90B80891F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$ľíďé">
              <a:extLst>
                <a:ext uri="{FF2B5EF4-FFF2-40B4-BE49-F238E27FC236}">
                  <a16:creationId xmlns:a16="http://schemas.microsoft.com/office/drawing/2014/main" id="{0AA9DBCD-FB04-4E60-A005-EB8C8B774740}"/>
                </a:ext>
              </a:extLst>
            </p:cNvPr>
            <p:cNvSpPr/>
            <p:nvPr/>
          </p:nvSpPr>
          <p:spPr bwMode="auto">
            <a:xfrm>
              <a:off x="7597775" y="3521075"/>
              <a:ext cx="92075" cy="92075"/>
            </a:xfrm>
            <a:custGeom>
              <a:avLst/>
              <a:gdLst>
                <a:gd name="T0" fmla="*/ 73 w 76"/>
                <a:gd name="T1" fmla="*/ 43 h 76"/>
                <a:gd name="T2" fmla="*/ 33 w 76"/>
                <a:gd name="T3" fmla="*/ 73 h 76"/>
                <a:gd name="T4" fmla="*/ 3 w 76"/>
                <a:gd name="T5" fmla="*/ 33 h 76"/>
                <a:gd name="T6" fmla="*/ 43 w 76"/>
                <a:gd name="T7" fmla="*/ 3 h 76"/>
                <a:gd name="T8" fmla="*/ 73 w 76"/>
                <a:gd name="T9" fmla="*/ 4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6">
                  <a:moveTo>
                    <a:pt x="73" y="43"/>
                  </a:moveTo>
                  <a:cubicBezTo>
                    <a:pt x="70" y="63"/>
                    <a:pt x="52" y="76"/>
                    <a:pt x="33" y="73"/>
                  </a:cubicBezTo>
                  <a:cubicBezTo>
                    <a:pt x="13" y="70"/>
                    <a:pt x="0" y="52"/>
                    <a:pt x="3" y="33"/>
                  </a:cubicBezTo>
                  <a:cubicBezTo>
                    <a:pt x="5" y="13"/>
                    <a:pt x="23" y="0"/>
                    <a:pt x="43" y="3"/>
                  </a:cubicBezTo>
                  <a:cubicBezTo>
                    <a:pt x="63" y="5"/>
                    <a:pt x="76" y="24"/>
                    <a:pt x="73" y="43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ṩ1ïḑé">
              <a:extLst>
                <a:ext uri="{FF2B5EF4-FFF2-40B4-BE49-F238E27FC236}">
                  <a16:creationId xmlns:a16="http://schemas.microsoft.com/office/drawing/2014/main" id="{45659C61-CD57-42BA-ABB0-B7FD278CE33D}"/>
                </a:ext>
              </a:extLst>
            </p:cNvPr>
            <p:cNvSpPr/>
            <p:nvPr/>
          </p:nvSpPr>
          <p:spPr bwMode="auto">
            <a:xfrm>
              <a:off x="7673975" y="3740150"/>
              <a:ext cx="12700" cy="3175"/>
            </a:xfrm>
            <a:custGeom>
              <a:avLst/>
              <a:gdLst>
                <a:gd name="T0" fmla="*/ 11 w 11"/>
                <a:gd name="T1" fmla="*/ 0 h 2"/>
                <a:gd name="T2" fmla="*/ 0 w 11"/>
                <a:gd name="T3" fmla="*/ 2 h 2"/>
                <a:gd name="T4" fmla="*/ 11 w 11"/>
                <a:gd name="T5" fmla="*/ 0 h 2"/>
                <a:gd name="T6" fmla="*/ 11 w 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">
                  <a:moveTo>
                    <a:pt x="11" y="0"/>
                  </a:moveTo>
                  <a:cubicBezTo>
                    <a:pt x="8" y="1"/>
                    <a:pt x="4" y="2"/>
                    <a:pt x="0" y="2"/>
                  </a:cubicBezTo>
                  <a:cubicBezTo>
                    <a:pt x="4" y="2"/>
                    <a:pt x="8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ṥ1íḑè">
              <a:extLst>
                <a:ext uri="{FF2B5EF4-FFF2-40B4-BE49-F238E27FC236}">
                  <a16:creationId xmlns:a16="http://schemas.microsoft.com/office/drawing/2014/main" id="{F6A988E7-0156-4DDD-A9BD-4B22CFE77949}"/>
                </a:ext>
              </a:extLst>
            </p:cNvPr>
            <p:cNvSpPr/>
            <p:nvPr/>
          </p:nvSpPr>
          <p:spPr bwMode="auto">
            <a:xfrm>
              <a:off x="7643813" y="3683000"/>
              <a:ext cx="42863" cy="61913"/>
            </a:xfrm>
            <a:custGeom>
              <a:avLst/>
              <a:gdLst>
                <a:gd name="T0" fmla="*/ 31 w 36"/>
                <a:gd name="T1" fmla="*/ 0 h 52"/>
                <a:gd name="T2" fmla="*/ 7 w 36"/>
                <a:gd name="T3" fmla="*/ 5 h 52"/>
                <a:gd name="T4" fmla="*/ 0 w 36"/>
                <a:gd name="T5" fmla="*/ 52 h 52"/>
                <a:gd name="T6" fmla="*/ 25 w 36"/>
                <a:gd name="T7" fmla="*/ 50 h 52"/>
                <a:gd name="T8" fmla="*/ 36 w 36"/>
                <a:gd name="T9" fmla="*/ 48 h 52"/>
                <a:gd name="T10" fmla="*/ 31 w 36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2">
                  <a:moveTo>
                    <a:pt x="31" y="0"/>
                  </a:moveTo>
                  <a:cubicBezTo>
                    <a:pt x="23" y="3"/>
                    <a:pt x="15" y="4"/>
                    <a:pt x="7" y="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13" y="52"/>
                    <a:pt x="25" y="50"/>
                  </a:cubicBezTo>
                  <a:cubicBezTo>
                    <a:pt x="29" y="50"/>
                    <a:pt x="33" y="49"/>
                    <a:pt x="36" y="48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ṧľïḑé">
              <a:extLst>
                <a:ext uri="{FF2B5EF4-FFF2-40B4-BE49-F238E27FC236}">
                  <a16:creationId xmlns:a16="http://schemas.microsoft.com/office/drawing/2014/main" id="{8D330E5A-146C-4272-95C2-A487ADD3948A}"/>
                </a:ext>
              </a:extLst>
            </p:cNvPr>
            <p:cNvSpPr/>
            <p:nvPr/>
          </p:nvSpPr>
          <p:spPr bwMode="auto">
            <a:xfrm>
              <a:off x="7651750" y="3598863"/>
              <a:ext cx="28575" cy="90488"/>
            </a:xfrm>
            <a:custGeom>
              <a:avLst/>
              <a:gdLst>
                <a:gd name="T0" fmla="*/ 16 w 24"/>
                <a:gd name="T1" fmla="*/ 0 h 74"/>
                <a:gd name="T2" fmla="*/ 10 w 24"/>
                <a:gd name="T3" fmla="*/ 4 h 74"/>
                <a:gd name="T4" fmla="*/ 3 w 24"/>
                <a:gd name="T5" fmla="*/ 48 h 74"/>
                <a:gd name="T6" fmla="*/ 0 w 24"/>
                <a:gd name="T7" fmla="*/ 74 h 74"/>
                <a:gd name="T8" fmla="*/ 24 w 24"/>
                <a:gd name="T9" fmla="*/ 69 h 74"/>
                <a:gd name="T10" fmla="*/ 16 w 24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74">
                  <a:moveTo>
                    <a:pt x="16" y="0"/>
                  </a:moveTo>
                  <a:cubicBezTo>
                    <a:pt x="14" y="2"/>
                    <a:pt x="12" y="3"/>
                    <a:pt x="10" y="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8" y="73"/>
                    <a:pt x="16" y="72"/>
                    <a:pt x="24" y="69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íṥḻiḑe">
              <a:extLst>
                <a:ext uri="{FF2B5EF4-FFF2-40B4-BE49-F238E27FC236}">
                  <a16:creationId xmlns:a16="http://schemas.microsoft.com/office/drawing/2014/main" id="{AFBF9536-AB8E-4D9B-893D-DD9895AD8133}"/>
                </a:ext>
              </a:extLst>
            </p:cNvPr>
            <p:cNvSpPr/>
            <p:nvPr/>
          </p:nvSpPr>
          <p:spPr bwMode="auto">
            <a:xfrm>
              <a:off x="7643813" y="3657600"/>
              <a:ext cx="11113" cy="87313"/>
            </a:xfrm>
            <a:custGeom>
              <a:avLst/>
              <a:gdLst>
                <a:gd name="T0" fmla="*/ 10 w 10"/>
                <a:gd name="T1" fmla="*/ 0 h 73"/>
                <a:gd name="T2" fmla="*/ 0 w 10"/>
                <a:gd name="T3" fmla="*/ 73 h 73"/>
                <a:gd name="T4" fmla="*/ 0 w 10"/>
                <a:gd name="T5" fmla="*/ 73 h 73"/>
                <a:gd name="T6" fmla="*/ 7 w 10"/>
                <a:gd name="T7" fmla="*/ 26 h 73"/>
                <a:gd name="T8" fmla="*/ 10 w 10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3">
                  <a:moveTo>
                    <a:pt x="10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ṩḻíḑé">
              <a:extLst>
                <a:ext uri="{FF2B5EF4-FFF2-40B4-BE49-F238E27FC236}">
                  <a16:creationId xmlns:a16="http://schemas.microsoft.com/office/drawing/2014/main" id="{BAE004E2-A7B2-46D4-B1FD-61202A21038D}"/>
                </a:ext>
              </a:extLst>
            </p:cNvPr>
            <p:cNvSpPr/>
            <p:nvPr/>
          </p:nvSpPr>
          <p:spPr bwMode="auto">
            <a:xfrm>
              <a:off x="7664450" y="3598863"/>
              <a:ext cx="6350" cy="4763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ṣḷíḋè">
              <a:extLst>
                <a:ext uri="{FF2B5EF4-FFF2-40B4-BE49-F238E27FC236}">
                  <a16:creationId xmlns:a16="http://schemas.microsoft.com/office/drawing/2014/main" id="{13BFF7A5-A514-4E98-98B4-12494777EA9C}"/>
                </a:ext>
              </a:extLst>
            </p:cNvPr>
            <p:cNvSpPr/>
            <p:nvPr/>
          </p:nvSpPr>
          <p:spPr bwMode="auto">
            <a:xfrm>
              <a:off x="6540500" y="4064000"/>
              <a:ext cx="1068388" cy="766763"/>
            </a:xfrm>
            <a:custGeom>
              <a:avLst/>
              <a:gdLst>
                <a:gd name="T0" fmla="*/ 3 w 886"/>
                <a:gd name="T1" fmla="*/ 163 h 636"/>
                <a:gd name="T2" fmla="*/ 562 w 886"/>
                <a:gd name="T3" fmla="*/ 582 h 636"/>
                <a:gd name="T4" fmla="*/ 865 w 886"/>
                <a:gd name="T5" fmla="*/ 160 h 636"/>
                <a:gd name="T6" fmla="*/ 882 w 886"/>
                <a:gd name="T7" fmla="*/ 75 h 636"/>
                <a:gd name="T8" fmla="*/ 800 w 886"/>
                <a:gd name="T9" fmla="*/ 120 h 636"/>
                <a:gd name="T10" fmla="*/ 781 w 886"/>
                <a:gd name="T11" fmla="*/ 195 h 636"/>
                <a:gd name="T12" fmla="*/ 780 w 886"/>
                <a:gd name="T13" fmla="*/ 197 h 636"/>
                <a:gd name="T14" fmla="*/ 765 w 886"/>
                <a:gd name="T15" fmla="*/ 243 h 636"/>
                <a:gd name="T16" fmla="*/ 684 w 886"/>
                <a:gd name="T17" fmla="*/ 403 h 636"/>
                <a:gd name="T18" fmla="*/ 666 w 886"/>
                <a:gd name="T19" fmla="*/ 426 h 636"/>
                <a:gd name="T20" fmla="*/ 620 w 886"/>
                <a:gd name="T21" fmla="*/ 474 h 636"/>
                <a:gd name="T22" fmla="*/ 607 w 886"/>
                <a:gd name="T23" fmla="*/ 485 h 636"/>
                <a:gd name="T24" fmla="*/ 569 w 886"/>
                <a:gd name="T25" fmla="*/ 511 h 636"/>
                <a:gd name="T26" fmla="*/ 540 w 886"/>
                <a:gd name="T27" fmla="*/ 526 h 636"/>
                <a:gd name="T28" fmla="*/ 487 w 886"/>
                <a:gd name="T29" fmla="*/ 543 h 636"/>
                <a:gd name="T30" fmla="*/ 482 w 886"/>
                <a:gd name="T31" fmla="*/ 544 h 636"/>
                <a:gd name="T32" fmla="*/ 470 w 886"/>
                <a:gd name="T33" fmla="*/ 546 h 636"/>
                <a:gd name="T34" fmla="*/ 418 w 886"/>
                <a:gd name="T35" fmla="*/ 550 h 636"/>
                <a:gd name="T36" fmla="*/ 418 w 886"/>
                <a:gd name="T37" fmla="*/ 550 h 636"/>
                <a:gd name="T38" fmla="*/ 413 w 886"/>
                <a:gd name="T39" fmla="*/ 550 h 636"/>
                <a:gd name="T40" fmla="*/ 395 w 886"/>
                <a:gd name="T41" fmla="*/ 549 h 636"/>
                <a:gd name="T42" fmla="*/ 336 w 886"/>
                <a:gd name="T43" fmla="*/ 540 h 636"/>
                <a:gd name="T44" fmla="*/ 318 w 886"/>
                <a:gd name="T45" fmla="*/ 536 h 636"/>
                <a:gd name="T46" fmla="*/ 268 w 886"/>
                <a:gd name="T47" fmla="*/ 518 h 636"/>
                <a:gd name="T48" fmla="*/ 267 w 886"/>
                <a:gd name="T49" fmla="*/ 517 h 636"/>
                <a:gd name="T50" fmla="*/ 249 w 886"/>
                <a:gd name="T51" fmla="*/ 508 h 636"/>
                <a:gd name="T52" fmla="*/ 221 w 886"/>
                <a:gd name="T53" fmla="*/ 491 h 636"/>
                <a:gd name="T54" fmla="*/ 181 w 886"/>
                <a:gd name="T55" fmla="*/ 456 h 636"/>
                <a:gd name="T56" fmla="*/ 163 w 886"/>
                <a:gd name="T57" fmla="*/ 435 h 636"/>
                <a:gd name="T58" fmla="*/ 114 w 886"/>
                <a:gd name="T59" fmla="*/ 351 h 636"/>
                <a:gd name="T60" fmla="*/ 112 w 886"/>
                <a:gd name="T61" fmla="*/ 347 h 636"/>
                <a:gd name="T62" fmla="*/ 102 w 886"/>
                <a:gd name="T63" fmla="*/ 317 h 636"/>
                <a:gd name="T64" fmla="*/ 78 w 886"/>
                <a:gd name="T65" fmla="*/ 195 h 636"/>
                <a:gd name="T66" fmla="*/ 75 w 886"/>
                <a:gd name="T67" fmla="*/ 166 h 636"/>
                <a:gd name="T68" fmla="*/ 74 w 886"/>
                <a:gd name="T69" fmla="*/ 124 h 636"/>
                <a:gd name="T70" fmla="*/ 82 w 886"/>
                <a:gd name="T71" fmla="*/ 12 h 636"/>
                <a:gd name="T72" fmla="*/ 9 w 886"/>
                <a:gd name="T73" fmla="*/ 0 h 636"/>
                <a:gd name="T74" fmla="*/ 335 w 886"/>
                <a:gd name="T75" fmla="*/ 54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6" h="636">
                  <a:moveTo>
                    <a:pt x="9" y="0"/>
                  </a:moveTo>
                  <a:cubicBezTo>
                    <a:pt x="1" y="54"/>
                    <a:pt x="0" y="109"/>
                    <a:pt x="3" y="163"/>
                  </a:cubicBezTo>
                  <a:cubicBezTo>
                    <a:pt x="9" y="276"/>
                    <a:pt x="35" y="401"/>
                    <a:pt x="131" y="495"/>
                  </a:cubicBezTo>
                  <a:cubicBezTo>
                    <a:pt x="233" y="595"/>
                    <a:pt x="421" y="636"/>
                    <a:pt x="562" y="582"/>
                  </a:cubicBezTo>
                  <a:cubicBezTo>
                    <a:pt x="696" y="530"/>
                    <a:pt x="770" y="416"/>
                    <a:pt x="816" y="310"/>
                  </a:cubicBezTo>
                  <a:cubicBezTo>
                    <a:pt x="837" y="261"/>
                    <a:pt x="853" y="211"/>
                    <a:pt x="865" y="160"/>
                  </a:cubicBezTo>
                  <a:cubicBezTo>
                    <a:pt x="872" y="133"/>
                    <a:pt x="878" y="106"/>
                    <a:pt x="881" y="79"/>
                  </a:cubicBezTo>
                  <a:cubicBezTo>
                    <a:pt x="881" y="78"/>
                    <a:pt x="881" y="76"/>
                    <a:pt x="882" y="75"/>
                  </a:cubicBezTo>
                  <a:cubicBezTo>
                    <a:pt x="886" y="39"/>
                    <a:pt x="813" y="31"/>
                    <a:pt x="809" y="66"/>
                  </a:cubicBezTo>
                  <a:cubicBezTo>
                    <a:pt x="807" y="85"/>
                    <a:pt x="804" y="103"/>
                    <a:pt x="800" y="120"/>
                  </a:cubicBezTo>
                  <a:cubicBezTo>
                    <a:pt x="796" y="140"/>
                    <a:pt x="791" y="159"/>
                    <a:pt x="786" y="178"/>
                  </a:cubicBezTo>
                  <a:cubicBezTo>
                    <a:pt x="784" y="184"/>
                    <a:pt x="783" y="190"/>
                    <a:pt x="781" y="195"/>
                  </a:cubicBezTo>
                  <a:cubicBezTo>
                    <a:pt x="781" y="196"/>
                    <a:pt x="781" y="196"/>
                    <a:pt x="781" y="197"/>
                  </a:cubicBezTo>
                  <a:cubicBezTo>
                    <a:pt x="780" y="197"/>
                    <a:pt x="780" y="197"/>
                    <a:pt x="780" y="197"/>
                  </a:cubicBezTo>
                  <a:cubicBezTo>
                    <a:pt x="779" y="201"/>
                    <a:pt x="778" y="204"/>
                    <a:pt x="777" y="207"/>
                  </a:cubicBezTo>
                  <a:cubicBezTo>
                    <a:pt x="774" y="219"/>
                    <a:pt x="769" y="231"/>
                    <a:pt x="765" y="243"/>
                  </a:cubicBezTo>
                  <a:cubicBezTo>
                    <a:pt x="746" y="296"/>
                    <a:pt x="722" y="347"/>
                    <a:pt x="689" y="395"/>
                  </a:cubicBezTo>
                  <a:cubicBezTo>
                    <a:pt x="687" y="398"/>
                    <a:pt x="685" y="401"/>
                    <a:pt x="684" y="403"/>
                  </a:cubicBezTo>
                  <a:cubicBezTo>
                    <a:pt x="686" y="400"/>
                    <a:pt x="681" y="406"/>
                    <a:pt x="680" y="408"/>
                  </a:cubicBezTo>
                  <a:cubicBezTo>
                    <a:pt x="676" y="414"/>
                    <a:pt x="671" y="420"/>
                    <a:pt x="666" y="426"/>
                  </a:cubicBezTo>
                  <a:cubicBezTo>
                    <a:pt x="656" y="438"/>
                    <a:pt x="646" y="449"/>
                    <a:pt x="636" y="459"/>
                  </a:cubicBezTo>
                  <a:cubicBezTo>
                    <a:pt x="631" y="464"/>
                    <a:pt x="626" y="469"/>
                    <a:pt x="620" y="474"/>
                  </a:cubicBezTo>
                  <a:cubicBezTo>
                    <a:pt x="618" y="476"/>
                    <a:pt x="615" y="478"/>
                    <a:pt x="613" y="481"/>
                  </a:cubicBezTo>
                  <a:cubicBezTo>
                    <a:pt x="611" y="482"/>
                    <a:pt x="609" y="483"/>
                    <a:pt x="607" y="485"/>
                  </a:cubicBezTo>
                  <a:cubicBezTo>
                    <a:pt x="607" y="485"/>
                    <a:pt x="606" y="486"/>
                    <a:pt x="605" y="487"/>
                  </a:cubicBezTo>
                  <a:cubicBezTo>
                    <a:pt x="593" y="495"/>
                    <a:pt x="582" y="503"/>
                    <a:pt x="569" y="511"/>
                  </a:cubicBezTo>
                  <a:cubicBezTo>
                    <a:pt x="563" y="514"/>
                    <a:pt x="556" y="518"/>
                    <a:pt x="550" y="521"/>
                  </a:cubicBezTo>
                  <a:cubicBezTo>
                    <a:pt x="547" y="523"/>
                    <a:pt x="544" y="524"/>
                    <a:pt x="540" y="526"/>
                  </a:cubicBezTo>
                  <a:cubicBezTo>
                    <a:pt x="549" y="522"/>
                    <a:pt x="535" y="528"/>
                    <a:pt x="533" y="529"/>
                  </a:cubicBezTo>
                  <a:cubicBezTo>
                    <a:pt x="518" y="534"/>
                    <a:pt x="503" y="539"/>
                    <a:pt x="487" y="543"/>
                  </a:cubicBezTo>
                  <a:cubicBezTo>
                    <a:pt x="486" y="543"/>
                    <a:pt x="484" y="543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78" y="545"/>
                    <a:pt x="474" y="545"/>
                    <a:pt x="470" y="546"/>
                  </a:cubicBezTo>
                  <a:cubicBezTo>
                    <a:pt x="461" y="547"/>
                    <a:pt x="452" y="548"/>
                    <a:pt x="443" y="549"/>
                  </a:cubicBezTo>
                  <a:cubicBezTo>
                    <a:pt x="435" y="549"/>
                    <a:pt x="426" y="550"/>
                    <a:pt x="418" y="550"/>
                  </a:cubicBezTo>
                  <a:cubicBezTo>
                    <a:pt x="417" y="550"/>
                    <a:pt x="416" y="550"/>
                    <a:pt x="415" y="550"/>
                  </a:cubicBezTo>
                  <a:cubicBezTo>
                    <a:pt x="416" y="550"/>
                    <a:pt x="417" y="550"/>
                    <a:pt x="418" y="550"/>
                  </a:cubicBezTo>
                  <a:cubicBezTo>
                    <a:pt x="416" y="550"/>
                    <a:pt x="415" y="550"/>
                    <a:pt x="414" y="550"/>
                  </a:cubicBezTo>
                  <a:cubicBezTo>
                    <a:pt x="413" y="550"/>
                    <a:pt x="413" y="550"/>
                    <a:pt x="413" y="550"/>
                  </a:cubicBezTo>
                  <a:cubicBezTo>
                    <a:pt x="413" y="550"/>
                    <a:pt x="412" y="550"/>
                    <a:pt x="412" y="550"/>
                  </a:cubicBezTo>
                  <a:cubicBezTo>
                    <a:pt x="406" y="549"/>
                    <a:pt x="401" y="549"/>
                    <a:pt x="395" y="549"/>
                  </a:cubicBezTo>
                  <a:cubicBezTo>
                    <a:pt x="375" y="547"/>
                    <a:pt x="356" y="544"/>
                    <a:pt x="336" y="540"/>
                  </a:cubicBezTo>
                  <a:cubicBezTo>
                    <a:pt x="336" y="540"/>
                    <a:pt x="336" y="540"/>
                    <a:pt x="336" y="540"/>
                  </a:cubicBezTo>
                  <a:cubicBezTo>
                    <a:pt x="334" y="540"/>
                    <a:pt x="332" y="539"/>
                    <a:pt x="330" y="539"/>
                  </a:cubicBezTo>
                  <a:cubicBezTo>
                    <a:pt x="326" y="538"/>
                    <a:pt x="322" y="537"/>
                    <a:pt x="318" y="536"/>
                  </a:cubicBezTo>
                  <a:cubicBezTo>
                    <a:pt x="308" y="533"/>
                    <a:pt x="299" y="530"/>
                    <a:pt x="290" y="526"/>
                  </a:cubicBezTo>
                  <a:cubicBezTo>
                    <a:pt x="282" y="524"/>
                    <a:pt x="275" y="521"/>
                    <a:pt x="268" y="518"/>
                  </a:cubicBezTo>
                  <a:cubicBezTo>
                    <a:pt x="268" y="518"/>
                    <a:pt x="268" y="518"/>
                    <a:pt x="268" y="518"/>
                  </a:cubicBezTo>
                  <a:cubicBezTo>
                    <a:pt x="267" y="517"/>
                    <a:pt x="267" y="517"/>
                    <a:pt x="267" y="517"/>
                  </a:cubicBezTo>
                  <a:cubicBezTo>
                    <a:pt x="266" y="517"/>
                    <a:pt x="264" y="516"/>
                    <a:pt x="263" y="515"/>
                  </a:cubicBezTo>
                  <a:cubicBezTo>
                    <a:pt x="258" y="513"/>
                    <a:pt x="254" y="511"/>
                    <a:pt x="249" y="508"/>
                  </a:cubicBezTo>
                  <a:cubicBezTo>
                    <a:pt x="243" y="505"/>
                    <a:pt x="237" y="501"/>
                    <a:pt x="231" y="497"/>
                  </a:cubicBezTo>
                  <a:cubicBezTo>
                    <a:pt x="227" y="495"/>
                    <a:pt x="224" y="493"/>
                    <a:pt x="221" y="491"/>
                  </a:cubicBezTo>
                  <a:cubicBezTo>
                    <a:pt x="219" y="489"/>
                    <a:pt x="210" y="483"/>
                    <a:pt x="213" y="484"/>
                  </a:cubicBezTo>
                  <a:cubicBezTo>
                    <a:pt x="201" y="475"/>
                    <a:pt x="191" y="466"/>
                    <a:pt x="181" y="456"/>
                  </a:cubicBezTo>
                  <a:cubicBezTo>
                    <a:pt x="176" y="451"/>
                    <a:pt x="172" y="446"/>
                    <a:pt x="167" y="441"/>
                  </a:cubicBezTo>
                  <a:cubicBezTo>
                    <a:pt x="166" y="440"/>
                    <a:pt x="160" y="432"/>
                    <a:pt x="163" y="435"/>
                  </a:cubicBezTo>
                  <a:cubicBezTo>
                    <a:pt x="160" y="432"/>
                    <a:pt x="158" y="429"/>
                    <a:pt x="156" y="426"/>
                  </a:cubicBezTo>
                  <a:cubicBezTo>
                    <a:pt x="139" y="402"/>
                    <a:pt x="125" y="377"/>
                    <a:pt x="114" y="351"/>
                  </a:cubicBezTo>
                  <a:cubicBezTo>
                    <a:pt x="114" y="350"/>
                    <a:pt x="113" y="350"/>
                    <a:pt x="113" y="349"/>
                  </a:cubicBezTo>
                  <a:cubicBezTo>
                    <a:pt x="113" y="349"/>
                    <a:pt x="113" y="348"/>
                    <a:pt x="112" y="347"/>
                  </a:cubicBezTo>
                  <a:cubicBezTo>
                    <a:pt x="111" y="344"/>
                    <a:pt x="110" y="341"/>
                    <a:pt x="109" y="338"/>
                  </a:cubicBezTo>
                  <a:cubicBezTo>
                    <a:pt x="106" y="331"/>
                    <a:pt x="104" y="324"/>
                    <a:pt x="102" y="317"/>
                  </a:cubicBezTo>
                  <a:cubicBezTo>
                    <a:pt x="97" y="303"/>
                    <a:pt x="94" y="290"/>
                    <a:pt x="91" y="276"/>
                  </a:cubicBezTo>
                  <a:cubicBezTo>
                    <a:pt x="84" y="249"/>
                    <a:pt x="80" y="222"/>
                    <a:pt x="78" y="195"/>
                  </a:cubicBezTo>
                  <a:cubicBezTo>
                    <a:pt x="77" y="188"/>
                    <a:pt x="76" y="182"/>
                    <a:pt x="76" y="176"/>
                  </a:cubicBezTo>
                  <a:cubicBezTo>
                    <a:pt x="76" y="173"/>
                    <a:pt x="76" y="169"/>
                    <a:pt x="75" y="166"/>
                  </a:cubicBezTo>
                  <a:cubicBezTo>
                    <a:pt x="76" y="175"/>
                    <a:pt x="75" y="163"/>
                    <a:pt x="75" y="161"/>
                  </a:cubicBezTo>
                  <a:cubicBezTo>
                    <a:pt x="75" y="149"/>
                    <a:pt x="74" y="137"/>
                    <a:pt x="74" y="124"/>
                  </a:cubicBezTo>
                  <a:cubicBezTo>
                    <a:pt x="74" y="103"/>
                    <a:pt x="75" y="81"/>
                    <a:pt x="77" y="60"/>
                  </a:cubicBezTo>
                  <a:cubicBezTo>
                    <a:pt x="78" y="44"/>
                    <a:pt x="80" y="28"/>
                    <a:pt x="82" y="12"/>
                  </a:cubicBezTo>
                  <a:cubicBezTo>
                    <a:pt x="71" y="13"/>
                    <a:pt x="59" y="12"/>
                    <a:pt x="49" y="10"/>
                  </a:cubicBezTo>
                  <a:cubicBezTo>
                    <a:pt x="36" y="8"/>
                    <a:pt x="22" y="5"/>
                    <a:pt x="9" y="0"/>
                  </a:cubicBezTo>
                  <a:moveTo>
                    <a:pt x="335" y="540"/>
                  </a:moveTo>
                  <a:cubicBezTo>
                    <a:pt x="334" y="540"/>
                    <a:pt x="330" y="539"/>
                    <a:pt x="335" y="540"/>
                  </a:cubicBezTo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i$ľîḍè">
              <a:extLst>
                <a:ext uri="{FF2B5EF4-FFF2-40B4-BE49-F238E27FC236}">
                  <a16:creationId xmlns:a16="http://schemas.microsoft.com/office/drawing/2014/main" id="{01F67F03-2C13-4535-9551-B93954DDE284}"/>
                </a:ext>
              </a:extLst>
            </p:cNvPr>
            <p:cNvSpPr/>
            <p:nvPr/>
          </p:nvSpPr>
          <p:spPr bwMode="auto">
            <a:xfrm>
              <a:off x="6335713" y="3033713"/>
              <a:ext cx="250825" cy="425450"/>
            </a:xfrm>
            <a:custGeom>
              <a:avLst/>
              <a:gdLst>
                <a:gd name="T0" fmla="*/ 188 w 208"/>
                <a:gd name="T1" fmla="*/ 19 h 354"/>
                <a:gd name="T2" fmla="*/ 67 w 208"/>
                <a:gd name="T3" fmla="*/ 1 h 354"/>
                <a:gd name="T4" fmla="*/ 49 w 208"/>
                <a:gd name="T5" fmla="*/ 15 h 354"/>
                <a:gd name="T6" fmla="*/ 9 w 208"/>
                <a:gd name="T7" fmla="*/ 290 h 354"/>
                <a:gd name="T8" fmla="*/ 3 w 208"/>
                <a:gd name="T9" fmla="*/ 329 h 354"/>
                <a:gd name="T10" fmla="*/ 35 w 208"/>
                <a:gd name="T11" fmla="*/ 334 h 354"/>
                <a:gd name="T12" fmla="*/ 75 w 208"/>
                <a:gd name="T13" fmla="*/ 58 h 354"/>
                <a:gd name="T14" fmla="*/ 78 w 208"/>
                <a:gd name="T15" fmla="*/ 35 h 354"/>
                <a:gd name="T16" fmla="*/ 183 w 208"/>
                <a:gd name="T17" fmla="*/ 51 h 354"/>
                <a:gd name="T18" fmla="*/ 188 w 208"/>
                <a:gd name="T19" fmla="*/ 1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354">
                  <a:moveTo>
                    <a:pt x="188" y="19"/>
                  </a:moveTo>
                  <a:cubicBezTo>
                    <a:pt x="147" y="13"/>
                    <a:pt x="107" y="7"/>
                    <a:pt x="67" y="1"/>
                  </a:cubicBezTo>
                  <a:cubicBezTo>
                    <a:pt x="58" y="0"/>
                    <a:pt x="50" y="6"/>
                    <a:pt x="49" y="15"/>
                  </a:cubicBezTo>
                  <a:cubicBezTo>
                    <a:pt x="35" y="107"/>
                    <a:pt x="22" y="199"/>
                    <a:pt x="9" y="290"/>
                  </a:cubicBezTo>
                  <a:cubicBezTo>
                    <a:pt x="7" y="303"/>
                    <a:pt x="5" y="316"/>
                    <a:pt x="3" y="329"/>
                  </a:cubicBezTo>
                  <a:cubicBezTo>
                    <a:pt x="0" y="350"/>
                    <a:pt x="32" y="354"/>
                    <a:pt x="35" y="334"/>
                  </a:cubicBezTo>
                  <a:cubicBezTo>
                    <a:pt x="48" y="242"/>
                    <a:pt x="62" y="150"/>
                    <a:pt x="75" y="58"/>
                  </a:cubicBezTo>
                  <a:cubicBezTo>
                    <a:pt x="76" y="51"/>
                    <a:pt x="77" y="43"/>
                    <a:pt x="78" y="35"/>
                  </a:cubicBezTo>
                  <a:cubicBezTo>
                    <a:pt x="113" y="40"/>
                    <a:pt x="148" y="46"/>
                    <a:pt x="183" y="51"/>
                  </a:cubicBezTo>
                  <a:cubicBezTo>
                    <a:pt x="204" y="54"/>
                    <a:pt x="208" y="22"/>
                    <a:pt x="188" y="19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šḷîḍe">
              <a:extLst>
                <a:ext uri="{FF2B5EF4-FFF2-40B4-BE49-F238E27FC236}">
                  <a16:creationId xmlns:a16="http://schemas.microsoft.com/office/drawing/2014/main" id="{6DE03E50-2B45-4D4C-A3F9-FB96AA331FF1}"/>
                </a:ext>
              </a:extLst>
            </p:cNvPr>
            <p:cNvSpPr/>
            <p:nvPr/>
          </p:nvSpPr>
          <p:spPr bwMode="auto">
            <a:xfrm>
              <a:off x="6565900" y="3036888"/>
              <a:ext cx="85725" cy="85725"/>
            </a:xfrm>
            <a:custGeom>
              <a:avLst/>
              <a:gdLst>
                <a:gd name="T0" fmla="*/ 41 w 71"/>
                <a:gd name="T1" fmla="*/ 70 h 71"/>
                <a:gd name="T2" fmla="*/ 0 w 71"/>
                <a:gd name="T3" fmla="*/ 64 h 71"/>
                <a:gd name="T4" fmla="*/ 9 w 71"/>
                <a:gd name="T5" fmla="*/ 0 h 71"/>
                <a:gd name="T6" fmla="*/ 50 w 71"/>
                <a:gd name="T7" fmla="*/ 6 h 71"/>
                <a:gd name="T8" fmla="*/ 70 w 71"/>
                <a:gd name="T9" fmla="*/ 32 h 71"/>
                <a:gd name="T10" fmla="*/ 67 w 71"/>
                <a:gd name="T11" fmla="*/ 50 h 71"/>
                <a:gd name="T12" fmla="*/ 41 w 71"/>
                <a:gd name="T13" fmla="*/ 7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1">
                  <a:moveTo>
                    <a:pt x="41" y="7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63" y="8"/>
                    <a:pt x="71" y="20"/>
                    <a:pt x="70" y="32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5" y="63"/>
                    <a:pt x="53" y="71"/>
                    <a:pt x="41" y="70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ṩļîďè">
              <a:extLst>
                <a:ext uri="{FF2B5EF4-FFF2-40B4-BE49-F238E27FC236}">
                  <a16:creationId xmlns:a16="http://schemas.microsoft.com/office/drawing/2014/main" id="{868053DC-AD71-450D-AF92-88EE7AB1359D}"/>
                </a:ext>
              </a:extLst>
            </p:cNvPr>
            <p:cNvSpPr/>
            <p:nvPr/>
          </p:nvSpPr>
          <p:spPr bwMode="auto">
            <a:xfrm>
              <a:off x="6497638" y="3024188"/>
              <a:ext cx="85725" cy="95250"/>
            </a:xfrm>
            <a:custGeom>
              <a:avLst/>
              <a:gdLst>
                <a:gd name="T0" fmla="*/ 60 w 71"/>
                <a:gd name="T1" fmla="*/ 80 h 80"/>
                <a:gd name="T2" fmla="*/ 25 w 71"/>
                <a:gd name="T3" fmla="*/ 75 h 80"/>
                <a:gd name="T4" fmla="*/ 2 w 71"/>
                <a:gd name="T5" fmla="*/ 45 h 80"/>
                <a:gd name="T6" fmla="*/ 5 w 71"/>
                <a:gd name="T7" fmla="*/ 25 h 80"/>
                <a:gd name="T8" fmla="*/ 35 w 71"/>
                <a:gd name="T9" fmla="*/ 2 h 80"/>
                <a:gd name="T10" fmla="*/ 71 w 71"/>
                <a:gd name="T11" fmla="*/ 7 h 80"/>
                <a:gd name="T12" fmla="*/ 60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60" y="80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10" y="73"/>
                    <a:pt x="0" y="60"/>
                    <a:pt x="2" y="4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10"/>
                    <a:pt x="21" y="0"/>
                    <a:pt x="35" y="2"/>
                  </a:cubicBezTo>
                  <a:cubicBezTo>
                    <a:pt x="71" y="7"/>
                    <a:pt x="71" y="7"/>
                    <a:pt x="71" y="7"/>
                  </a:cubicBezTo>
                  <a:lnTo>
                    <a:pt x="60" y="80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ṥḷiḍe">
              <a:extLst>
                <a:ext uri="{FF2B5EF4-FFF2-40B4-BE49-F238E27FC236}">
                  <a16:creationId xmlns:a16="http://schemas.microsoft.com/office/drawing/2014/main" id="{83D10149-5889-4710-B4E1-57029378B081}"/>
                </a:ext>
              </a:extLst>
            </p:cNvPr>
            <p:cNvSpPr/>
            <p:nvPr/>
          </p:nvSpPr>
          <p:spPr bwMode="auto">
            <a:xfrm>
              <a:off x="6913563" y="3103563"/>
              <a:ext cx="193675" cy="450850"/>
            </a:xfrm>
            <a:custGeom>
              <a:avLst/>
              <a:gdLst>
                <a:gd name="T0" fmla="*/ 25 w 160"/>
                <a:gd name="T1" fmla="*/ 3 h 374"/>
                <a:gd name="T2" fmla="*/ 146 w 160"/>
                <a:gd name="T3" fmla="*/ 21 h 374"/>
                <a:gd name="T4" fmla="*/ 159 w 160"/>
                <a:gd name="T5" fmla="*/ 39 h 374"/>
                <a:gd name="T6" fmla="*/ 119 w 160"/>
                <a:gd name="T7" fmla="*/ 314 h 374"/>
                <a:gd name="T8" fmla="*/ 114 w 160"/>
                <a:gd name="T9" fmla="*/ 353 h 374"/>
                <a:gd name="T10" fmla="*/ 82 w 160"/>
                <a:gd name="T11" fmla="*/ 349 h 374"/>
                <a:gd name="T12" fmla="*/ 122 w 160"/>
                <a:gd name="T13" fmla="*/ 73 h 374"/>
                <a:gd name="T14" fmla="*/ 125 w 160"/>
                <a:gd name="T15" fmla="*/ 50 h 374"/>
                <a:gd name="T16" fmla="*/ 20 w 160"/>
                <a:gd name="T17" fmla="*/ 35 h 374"/>
                <a:gd name="T18" fmla="*/ 25 w 160"/>
                <a:gd name="T19" fmla="*/ 3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74">
                  <a:moveTo>
                    <a:pt x="25" y="3"/>
                  </a:moveTo>
                  <a:cubicBezTo>
                    <a:pt x="65" y="9"/>
                    <a:pt x="105" y="15"/>
                    <a:pt x="146" y="21"/>
                  </a:cubicBezTo>
                  <a:cubicBezTo>
                    <a:pt x="154" y="22"/>
                    <a:pt x="160" y="30"/>
                    <a:pt x="159" y="39"/>
                  </a:cubicBezTo>
                  <a:cubicBezTo>
                    <a:pt x="146" y="131"/>
                    <a:pt x="133" y="222"/>
                    <a:pt x="119" y="314"/>
                  </a:cubicBezTo>
                  <a:cubicBezTo>
                    <a:pt x="118" y="327"/>
                    <a:pt x="116" y="340"/>
                    <a:pt x="114" y="353"/>
                  </a:cubicBezTo>
                  <a:cubicBezTo>
                    <a:pt x="111" y="374"/>
                    <a:pt x="79" y="369"/>
                    <a:pt x="82" y="349"/>
                  </a:cubicBezTo>
                  <a:cubicBezTo>
                    <a:pt x="95" y="257"/>
                    <a:pt x="108" y="165"/>
                    <a:pt x="122" y="73"/>
                  </a:cubicBezTo>
                  <a:cubicBezTo>
                    <a:pt x="123" y="65"/>
                    <a:pt x="124" y="58"/>
                    <a:pt x="125" y="50"/>
                  </a:cubicBezTo>
                  <a:cubicBezTo>
                    <a:pt x="90" y="45"/>
                    <a:pt x="55" y="40"/>
                    <a:pt x="20" y="35"/>
                  </a:cubicBezTo>
                  <a:cubicBezTo>
                    <a:pt x="0" y="32"/>
                    <a:pt x="4" y="0"/>
                    <a:pt x="25" y="3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ṩḻídê">
              <a:extLst>
                <a:ext uri="{FF2B5EF4-FFF2-40B4-BE49-F238E27FC236}">
                  <a16:creationId xmlns:a16="http://schemas.microsoft.com/office/drawing/2014/main" id="{CD0272A2-E612-463D-AA43-AD3A5EF97F9D}"/>
                </a:ext>
              </a:extLst>
            </p:cNvPr>
            <p:cNvSpPr/>
            <p:nvPr/>
          </p:nvSpPr>
          <p:spPr bwMode="auto">
            <a:xfrm>
              <a:off x="6850063" y="3076575"/>
              <a:ext cx="85725" cy="87313"/>
            </a:xfrm>
            <a:custGeom>
              <a:avLst/>
              <a:gdLst>
                <a:gd name="T0" fmla="*/ 21 w 71"/>
                <a:gd name="T1" fmla="*/ 66 h 72"/>
                <a:gd name="T2" fmla="*/ 62 w 71"/>
                <a:gd name="T3" fmla="*/ 72 h 72"/>
                <a:gd name="T4" fmla="*/ 71 w 71"/>
                <a:gd name="T5" fmla="*/ 8 h 72"/>
                <a:gd name="T6" fmla="*/ 30 w 71"/>
                <a:gd name="T7" fmla="*/ 2 h 72"/>
                <a:gd name="T8" fmla="*/ 4 w 71"/>
                <a:gd name="T9" fmla="*/ 22 h 72"/>
                <a:gd name="T10" fmla="*/ 2 w 71"/>
                <a:gd name="T11" fmla="*/ 39 h 72"/>
                <a:gd name="T12" fmla="*/ 21 w 71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2">
                  <a:moveTo>
                    <a:pt x="21" y="66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18" y="0"/>
                    <a:pt x="6" y="9"/>
                    <a:pt x="4" y="22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0" y="52"/>
                    <a:pt x="9" y="64"/>
                    <a:pt x="21" y="66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îšľiďè">
              <a:extLst>
                <a:ext uri="{FF2B5EF4-FFF2-40B4-BE49-F238E27FC236}">
                  <a16:creationId xmlns:a16="http://schemas.microsoft.com/office/drawing/2014/main" id="{9CE41E03-FFD1-4AD4-B0FF-AFA70E502542}"/>
                </a:ext>
              </a:extLst>
            </p:cNvPr>
            <p:cNvSpPr/>
            <p:nvPr/>
          </p:nvSpPr>
          <p:spPr bwMode="auto">
            <a:xfrm>
              <a:off x="6916738" y="3078163"/>
              <a:ext cx="85725" cy="98425"/>
            </a:xfrm>
            <a:custGeom>
              <a:avLst/>
              <a:gdLst>
                <a:gd name="T0" fmla="*/ 0 w 71"/>
                <a:gd name="T1" fmla="*/ 74 h 81"/>
                <a:gd name="T2" fmla="*/ 36 w 71"/>
                <a:gd name="T3" fmla="*/ 79 h 81"/>
                <a:gd name="T4" fmla="*/ 66 w 71"/>
                <a:gd name="T5" fmla="*/ 56 h 81"/>
                <a:gd name="T6" fmla="*/ 69 w 71"/>
                <a:gd name="T7" fmla="*/ 36 h 81"/>
                <a:gd name="T8" fmla="*/ 46 w 71"/>
                <a:gd name="T9" fmla="*/ 5 h 81"/>
                <a:gd name="T10" fmla="*/ 11 w 71"/>
                <a:gd name="T11" fmla="*/ 0 h 81"/>
                <a:gd name="T12" fmla="*/ 0 w 71"/>
                <a:gd name="T13" fmla="*/ 7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1">
                  <a:moveTo>
                    <a:pt x="0" y="74"/>
                  </a:moveTo>
                  <a:cubicBezTo>
                    <a:pt x="36" y="79"/>
                    <a:pt x="36" y="79"/>
                    <a:pt x="36" y="79"/>
                  </a:cubicBezTo>
                  <a:cubicBezTo>
                    <a:pt x="50" y="81"/>
                    <a:pt x="64" y="71"/>
                    <a:pt x="66" y="5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1" y="21"/>
                    <a:pt x="61" y="8"/>
                    <a:pt x="46" y="5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ṧlîdê">
              <a:extLst>
                <a:ext uri="{FF2B5EF4-FFF2-40B4-BE49-F238E27FC236}">
                  <a16:creationId xmlns:a16="http://schemas.microsoft.com/office/drawing/2014/main" id="{1632A807-5108-44BE-989A-170EB8AD83C4}"/>
                </a:ext>
              </a:extLst>
            </p:cNvPr>
            <p:cNvSpPr/>
            <p:nvPr/>
          </p:nvSpPr>
          <p:spPr bwMode="auto">
            <a:xfrm>
              <a:off x="6630988" y="4132263"/>
              <a:ext cx="1588" cy="47625"/>
            </a:xfrm>
            <a:custGeom>
              <a:avLst/>
              <a:gdLst>
                <a:gd name="T0" fmla="*/ 2 w 2"/>
                <a:gd name="T1" fmla="*/ 0 h 39"/>
                <a:gd name="T2" fmla="*/ 2 w 2"/>
                <a:gd name="T3" fmla="*/ 3 h 39"/>
                <a:gd name="T4" fmla="*/ 0 w 2"/>
                <a:gd name="T5" fmla="*/ 39 h 39"/>
                <a:gd name="T6" fmla="*/ 0 w 2"/>
                <a:gd name="T7" fmla="*/ 39 h 39"/>
                <a:gd name="T8" fmla="*/ 2 w 2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9">
                  <a:moveTo>
                    <a:pt x="2" y="0"/>
                  </a:moveTo>
                  <a:cubicBezTo>
                    <a:pt x="2" y="1"/>
                    <a:pt x="2" y="2"/>
                    <a:pt x="2" y="3"/>
                  </a:cubicBezTo>
                  <a:cubicBezTo>
                    <a:pt x="1" y="15"/>
                    <a:pt x="0" y="27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4"/>
                    <a:pt x="1" y="9"/>
                    <a:pt x="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ṧ1îḋe">
              <a:extLst>
                <a:ext uri="{FF2B5EF4-FFF2-40B4-BE49-F238E27FC236}">
                  <a16:creationId xmlns:a16="http://schemas.microsoft.com/office/drawing/2014/main" id="{9C89203D-5DA5-4235-A2DA-B7760D0C433C}"/>
                </a:ext>
              </a:extLst>
            </p:cNvPr>
            <p:cNvSpPr/>
            <p:nvPr/>
          </p:nvSpPr>
          <p:spPr bwMode="auto">
            <a:xfrm>
              <a:off x="6545263" y="4095750"/>
              <a:ext cx="88900" cy="84138"/>
            </a:xfrm>
            <a:custGeom>
              <a:avLst/>
              <a:gdLst>
                <a:gd name="T0" fmla="*/ 4 w 74"/>
                <a:gd name="T1" fmla="*/ 0 h 69"/>
                <a:gd name="T2" fmla="*/ 0 w 74"/>
                <a:gd name="T3" fmla="*/ 28 h 69"/>
                <a:gd name="T4" fmla="*/ 71 w 74"/>
                <a:gd name="T5" fmla="*/ 69 h 69"/>
                <a:gd name="T6" fmla="*/ 73 w 74"/>
                <a:gd name="T7" fmla="*/ 33 h 69"/>
                <a:gd name="T8" fmla="*/ 73 w 74"/>
                <a:gd name="T9" fmla="*/ 30 h 69"/>
                <a:gd name="T10" fmla="*/ 74 w 74"/>
                <a:gd name="T11" fmla="*/ 18 h 69"/>
                <a:gd name="T12" fmla="*/ 4 w 74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9">
                  <a:moveTo>
                    <a:pt x="4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57"/>
                    <a:pt x="72" y="45"/>
                    <a:pt x="73" y="33"/>
                  </a:cubicBezTo>
                  <a:cubicBezTo>
                    <a:pt x="73" y="32"/>
                    <a:pt x="73" y="31"/>
                    <a:pt x="73" y="30"/>
                  </a:cubicBezTo>
                  <a:cubicBezTo>
                    <a:pt x="74" y="22"/>
                    <a:pt x="74" y="18"/>
                    <a:pt x="74" y="18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386F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ṥḷíḓê">
              <a:extLst>
                <a:ext uri="{FF2B5EF4-FFF2-40B4-BE49-F238E27FC236}">
                  <a16:creationId xmlns:a16="http://schemas.microsoft.com/office/drawing/2014/main" id="{444299CA-296A-42E1-BE4F-31573B6BA2DE}"/>
                </a:ext>
              </a:extLst>
            </p:cNvPr>
            <p:cNvSpPr/>
            <p:nvPr/>
          </p:nvSpPr>
          <p:spPr bwMode="auto">
            <a:xfrm>
              <a:off x="6303963" y="3402013"/>
              <a:ext cx="763588" cy="760413"/>
            </a:xfrm>
            <a:custGeom>
              <a:avLst/>
              <a:gdLst>
                <a:gd name="T0" fmla="*/ 1 w 633"/>
                <a:gd name="T1" fmla="*/ 199 h 631"/>
                <a:gd name="T2" fmla="*/ 377 w 633"/>
                <a:gd name="T3" fmla="*/ 580 h 631"/>
                <a:gd name="T4" fmla="*/ 613 w 633"/>
                <a:gd name="T5" fmla="*/ 190 h 631"/>
                <a:gd name="T6" fmla="*/ 628 w 633"/>
                <a:gd name="T7" fmla="*/ 112 h 631"/>
                <a:gd name="T8" fmla="*/ 568 w 633"/>
                <a:gd name="T9" fmla="*/ 154 h 631"/>
                <a:gd name="T10" fmla="*/ 551 w 633"/>
                <a:gd name="T11" fmla="*/ 223 h 631"/>
                <a:gd name="T12" fmla="*/ 548 w 633"/>
                <a:gd name="T13" fmla="*/ 234 h 631"/>
                <a:gd name="T14" fmla="*/ 476 w 633"/>
                <a:gd name="T15" fmla="*/ 408 h 631"/>
                <a:gd name="T16" fmla="*/ 469 w 633"/>
                <a:gd name="T17" fmla="*/ 419 h 631"/>
                <a:gd name="T18" fmla="*/ 435 w 633"/>
                <a:gd name="T19" fmla="*/ 467 h 631"/>
                <a:gd name="T20" fmla="*/ 418 w 633"/>
                <a:gd name="T21" fmla="*/ 487 h 631"/>
                <a:gd name="T22" fmla="*/ 413 w 633"/>
                <a:gd name="T23" fmla="*/ 491 h 631"/>
                <a:gd name="T24" fmla="*/ 371 w 633"/>
                <a:gd name="T25" fmla="*/ 524 h 631"/>
                <a:gd name="T26" fmla="*/ 359 w 633"/>
                <a:gd name="T27" fmla="*/ 531 h 631"/>
                <a:gd name="T28" fmla="*/ 322 w 633"/>
                <a:gd name="T29" fmla="*/ 546 h 631"/>
                <a:gd name="T30" fmla="*/ 314 w 633"/>
                <a:gd name="T31" fmla="*/ 548 h 631"/>
                <a:gd name="T32" fmla="*/ 276 w 633"/>
                <a:gd name="T33" fmla="*/ 552 h 631"/>
                <a:gd name="T34" fmla="*/ 272 w 633"/>
                <a:gd name="T35" fmla="*/ 551 h 631"/>
                <a:gd name="T36" fmla="*/ 218 w 633"/>
                <a:gd name="T37" fmla="*/ 543 h 631"/>
                <a:gd name="T38" fmla="*/ 214 w 633"/>
                <a:gd name="T39" fmla="*/ 542 h 631"/>
                <a:gd name="T40" fmla="*/ 186 w 633"/>
                <a:gd name="T41" fmla="*/ 531 h 631"/>
                <a:gd name="T42" fmla="*/ 171 w 633"/>
                <a:gd name="T43" fmla="*/ 523 h 631"/>
                <a:gd name="T44" fmla="*/ 159 w 633"/>
                <a:gd name="T45" fmla="*/ 515 h 631"/>
                <a:gd name="T46" fmla="*/ 139 w 633"/>
                <a:gd name="T47" fmla="*/ 499 h 631"/>
                <a:gd name="T48" fmla="*/ 113 w 633"/>
                <a:gd name="T49" fmla="*/ 467 h 631"/>
                <a:gd name="T50" fmla="*/ 102 w 633"/>
                <a:gd name="T51" fmla="*/ 450 h 631"/>
                <a:gd name="T52" fmla="*/ 70 w 633"/>
                <a:gd name="T53" fmla="*/ 371 h 631"/>
                <a:gd name="T54" fmla="*/ 69 w 633"/>
                <a:gd name="T55" fmla="*/ 367 h 631"/>
                <a:gd name="T56" fmla="*/ 63 w 633"/>
                <a:gd name="T57" fmla="*/ 340 h 631"/>
                <a:gd name="T58" fmla="*/ 52 w 633"/>
                <a:gd name="T59" fmla="*/ 228 h 631"/>
                <a:gd name="T60" fmla="*/ 52 w 633"/>
                <a:gd name="T61" fmla="*/ 202 h 631"/>
                <a:gd name="T62" fmla="*/ 53 w 633"/>
                <a:gd name="T63" fmla="*/ 163 h 631"/>
                <a:gd name="T64" fmla="*/ 68 w 633"/>
                <a:gd name="T65" fmla="*/ 35 h 631"/>
                <a:gd name="T66" fmla="*/ 47 w 633"/>
                <a:gd name="T67" fmla="*/ 2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3" h="631">
                  <a:moveTo>
                    <a:pt x="18" y="24"/>
                  </a:moveTo>
                  <a:cubicBezTo>
                    <a:pt x="6" y="81"/>
                    <a:pt x="2" y="141"/>
                    <a:pt x="1" y="199"/>
                  </a:cubicBezTo>
                  <a:cubicBezTo>
                    <a:pt x="0" y="303"/>
                    <a:pt x="12" y="418"/>
                    <a:pt x="75" y="503"/>
                  </a:cubicBezTo>
                  <a:cubicBezTo>
                    <a:pt x="143" y="594"/>
                    <a:pt x="274" y="631"/>
                    <a:pt x="377" y="580"/>
                  </a:cubicBezTo>
                  <a:cubicBezTo>
                    <a:pt x="475" y="531"/>
                    <a:pt x="532" y="426"/>
                    <a:pt x="570" y="328"/>
                  </a:cubicBezTo>
                  <a:cubicBezTo>
                    <a:pt x="587" y="283"/>
                    <a:pt x="601" y="237"/>
                    <a:pt x="613" y="190"/>
                  </a:cubicBezTo>
                  <a:cubicBezTo>
                    <a:pt x="618" y="165"/>
                    <a:pt x="624" y="140"/>
                    <a:pt x="628" y="115"/>
                  </a:cubicBezTo>
                  <a:cubicBezTo>
                    <a:pt x="628" y="114"/>
                    <a:pt x="628" y="113"/>
                    <a:pt x="628" y="112"/>
                  </a:cubicBezTo>
                  <a:cubicBezTo>
                    <a:pt x="633" y="79"/>
                    <a:pt x="582" y="72"/>
                    <a:pt x="577" y="104"/>
                  </a:cubicBezTo>
                  <a:cubicBezTo>
                    <a:pt x="575" y="121"/>
                    <a:pt x="572" y="138"/>
                    <a:pt x="568" y="154"/>
                  </a:cubicBezTo>
                  <a:cubicBezTo>
                    <a:pt x="564" y="172"/>
                    <a:pt x="560" y="190"/>
                    <a:pt x="555" y="208"/>
                  </a:cubicBezTo>
                  <a:cubicBezTo>
                    <a:pt x="554" y="213"/>
                    <a:pt x="552" y="218"/>
                    <a:pt x="551" y="223"/>
                  </a:cubicBezTo>
                  <a:cubicBezTo>
                    <a:pt x="549" y="230"/>
                    <a:pt x="552" y="219"/>
                    <a:pt x="550" y="225"/>
                  </a:cubicBezTo>
                  <a:cubicBezTo>
                    <a:pt x="550" y="228"/>
                    <a:pt x="549" y="231"/>
                    <a:pt x="548" y="234"/>
                  </a:cubicBezTo>
                  <a:cubicBezTo>
                    <a:pt x="545" y="245"/>
                    <a:pt x="541" y="256"/>
                    <a:pt x="537" y="267"/>
                  </a:cubicBezTo>
                  <a:cubicBezTo>
                    <a:pt x="521" y="316"/>
                    <a:pt x="502" y="363"/>
                    <a:pt x="476" y="408"/>
                  </a:cubicBezTo>
                  <a:cubicBezTo>
                    <a:pt x="475" y="410"/>
                    <a:pt x="473" y="413"/>
                    <a:pt x="471" y="416"/>
                  </a:cubicBezTo>
                  <a:cubicBezTo>
                    <a:pt x="474" y="411"/>
                    <a:pt x="470" y="418"/>
                    <a:pt x="469" y="419"/>
                  </a:cubicBezTo>
                  <a:cubicBezTo>
                    <a:pt x="466" y="425"/>
                    <a:pt x="462" y="431"/>
                    <a:pt x="458" y="436"/>
                  </a:cubicBezTo>
                  <a:cubicBezTo>
                    <a:pt x="451" y="447"/>
                    <a:pt x="443" y="457"/>
                    <a:pt x="435" y="467"/>
                  </a:cubicBezTo>
                  <a:cubicBezTo>
                    <a:pt x="431" y="472"/>
                    <a:pt x="427" y="476"/>
                    <a:pt x="423" y="480"/>
                  </a:cubicBezTo>
                  <a:cubicBezTo>
                    <a:pt x="421" y="483"/>
                    <a:pt x="420" y="485"/>
                    <a:pt x="418" y="487"/>
                  </a:cubicBezTo>
                  <a:cubicBezTo>
                    <a:pt x="416" y="488"/>
                    <a:pt x="415" y="489"/>
                    <a:pt x="414" y="491"/>
                  </a:cubicBezTo>
                  <a:cubicBezTo>
                    <a:pt x="413" y="492"/>
                    <a:pt x="408" y="496"/>
                    <a:pt x="413" y="491"/>
                  </a:cubicBezTo>
                  <a:cubicBezTo>
                    <a:pt x="404" y="500"/>
                    <a:pt x="395" y="507"/>
                    <a:pt x="385" y="515"/>
                  </a:cubicBezTo>
                  <a:cubicBezTo>
                    <a:pt x="381" y="518"/>
                    <a:pt x="376" y="521"/>
                    <a:pt x="371" y="524"/>
                  </a:cubicBezTo>
                  <a:cubicBezTo>
                    <a:pt x="369" y="526"/>
                    <a:pt x="367" y="527"/>
                    <a:pt x="364" y="528"/>
                  </a:cubicBezTo>
                  <a:cubicBezTo>
                    <a:pt x="370" y="525"/>
                    <a:pt x="361" y="530"/>
                    <a:pt x="359" y="531"/>
                  </a:cubicBezTo>
                  <a:cubicBezTo>
                    <a:pt x="348" y="537"/>
                    <a:pt x="337" y="541"/>
                    <a:pt x="326" y="545"/>
                  </a:cubicBezTo>
                  <a:cubicBezTo>
                    <a:pt x="324" y="545"/>
                    <a:pt x="323" y="545"/>
                    <a:pt x="322" y="546"/>
                  </a:cubicBezTo>
                  <a:cubicBezTo>
                    <a:pt x="316" y="548"/>
                    <a:pt x="328" y="544"/>
                    <a:pt x="322" y="546"/>
                  </a:cubicBezTo>
                  <a:cubicBezTo>
                    <a:pt x="319" y="546"/>
                    <a:pt x="316" y="547"/>
                    <a:pt x="314" y="548"/>
                  </a:cubicBezTo>
                  <a:cubicBezTo>
                    <a:pt x="307" y="549"/>
                    <a:pt x="301" y="550"/>
                    <a:pt x="294" y="551"/>
                  </a:cubicBezTo>
                  <a:cubicBezTo>
                    <a:pt x="288" y="551"/>
                    <a:pt x="282" y="551"/>
                    <a:pt x="276" y="552"/>
                  </a:cubicBezTo>
                  <a:cubicBezTo>
                    <a:pt x="274" y="552"/>
                    <a:pt x="270" y="551"/>
                    <a:pt x="276" y="552"/>
                  </a:cubicBezTo>
                  <a:cubicBezTo>
                    <a:pt x="275" y="552"/>
                    <a:pt x="273" y="552"/>
                    <a:pt x="272" y="551"/>
                  </a:cubicBezTo>
                  <a:cubicBezTo>
                    <a:pt x="268" y="551"/>
                    <a:pt x="264" y="551"/>
                    <a:pt x="260" y="551"/>
                  </a:cubicBezTo>
                  <a:cubicBezTo>
                    <a:pt x="246" y="549"/>
                    <a:pt x="232" y="547"/>
                    <a:pt x="218" y="543"/>
                  </a:cubicBezTo>
                  <a:cubicBezTo>
                    <a:pt x="217" y="543"/>
                    <a:pt x="214" y="542"/>
                    <a:pt x="219" y="544"/>
                  </a:cubicBezTo>
                  <a:cubicBezTo>
                    <a:pt x="218" y="543"/>
                    <a:pt x="216" y="543"/>
                    <a:pt x="214" y="542"/>
                  </a:cubicBezTo>
                  <a:cubicBezTo>
                    <a:pt x="212" y="541"/>
                    <a:pt x="209" y="540"/>
                    <a:pt x="206" y="539"/>
                  </a:cubicBezTo>
                  <a:cubicBezTo>
                    <a:pt x="199" y="537"/>
                    <a:pt x="193" y="534"/>
                    <a:pt x="186" y="531"/>
                  </a:cubicBezTo>
                  <a:cubicBezTo>
                    <a:pt x="181" y="529"/>
                    <a:pt x="176" y="526"/>
                    <a:pt x="171" y="523"/>
                  </a:cubicBezTo>
                  <a:cubicBezTo>
                    <a:pt x="166" y="520"/>
                    <a:pt x="176" y="526"/>
                    <a:pt x="171" y="523"/>
                  </a:cubicBezTo>
                  <a:cubicBezTo>
                    <a:pt x="170" y="522"/>
                    <a:pt x="169" y="522"/>
                    <a:pt x="168" y="521"/>
                  </a:cubicBezTo>
                  <a:cubicBezTo>
                    <a:pt x="165" y="519"/>
                    <a:pt x="162" y="517"/>
                    <a:pt x="159" y="515"/>
                  </a:cubicBezTo>
                  <a:cubicBezTo>
                    <a:pt x="154" y="511"/>
                    <a:pt x="150" y="508"/>
                    <a:pt x="146" y="505"/>
                  </a:cubicBezTo>
                  <a:cubicBezTo>
                    <a:pt x="144" y="503"/>
                    <a:pt x="141" y="501"/>
                    <a:pt x="139" y="499"/>
                  </a:cubicBezTo>
                  <a:cubicBezTo>
                    <a:pt x="138" y="497"/>
                    <a:pt x="130" y="489"/>
                    <a:pt x="135" y="494"/>
                  </a:cubicBezTo>
                  <a:cubicBezTo>
                    <a:pt x="127" y="486"/>
                    <a:pt x="119" y="477"/>
                    <a:pt x="113" y="467"/>
                  </a:cubicBezTo>
                  <a:cubicBezTo>
                    <a:pt x="109" y="462"/>
                    <a:pt x="107" y="458"/>
                    <a:pt x="104" y="453"/>
                  </a:cubicBezTo>
                  <a:cubicBezTo>
                    <a:pt x="103" y="452"/>
                    <a:pt x="98" y="443"/>
                    <a:pt x="102" y="450"/>
                  </a:cubicBezTo>
                  <a:cubicBezTo>
                    <a:pt x="100" y="447"/>
                    <a:pt x="98" y="443"/>
                    <a:pt x="96" y="440"/>
                  </a:cubicBezTo>
                  <a:cubicBezTo>
                    <a:pt x="85" y="418"/>
                    <a:pt x="77" y="395"/>
                    <a:pt x="70" y="371"/>
                  </a:cubicBezTo>
                  <a:cubicBezTo>
                    <a:pt x="70" y="370"/>
                    <a:pt x="70" y="369"/>
                    <a:pt x="69" y="367"/>
                  </a:cubicBezTo>
                  <a:cubicBezTo>
                    <a:pt x="71" y="373"/>
                    <a:pt x="70" y="369"/>
                    <a:pt x="69" y="367"/>
                  </a:cubicBezTo>
                  <a:cubicBezTo>
                    <a:pt x="69" y="365"/>
                    <a:pt x="68" y="362"/>
                    <a:pt x="67" y="359"/>
                  </a:cubicBezTo>
                  <a:cubicBezTo>
                    <a:pt x="66" y="353"/>
                    <a:pt x="64" y="346"/>
                    <a:pt x="63" y="340"/>
                  </a:cubicBezTo>
                  <a:cubicBezTo>
                    <a:pt x="61" y="327"/>
                    <a:pt x="59" y="315"/>
                    <a:pt x="57" y="302"/>
                  </a:cubicBezTo>
                  <a:cubicBezTo>
                    <a:pt x="54" y="277"/>
                    <a:pt x="53" y="253"/>
                    <a:pt x="52" y="228"/>
                  </a:cubicBezTo>
                  <a:cubicBezTo>
                    <a:pt x="52" y="222"/>
                    <a:pt x="52" y="216"/>
                    <a:pt x="52" y="210"/>
                  </a:cubicBezTo>
                  <a:cubicBezTo>
                    <a:pt x="52" y="207"/>
                    <a:pt x="52" y="204"/>
                    <a:pt x="52" y="202"/>
                  </a:cubicBezTo>
                  <a:cubicBezTo>
                    <a:pt x="52" y="210"/>
                    <a:pt x="52" y="199"/>
                    <a:pt x="52" y="197"/>
                  </a:cubicBezTo>
                  <a:cubicBezTo>
                    <a:pt x="52" y="186"/>
                    <a:pt x="53" y="174"/>
                    <a:pt x="53" y="163"/>
                  </a:cubicBezTo>
                  <a:cubicBezTo>
                    <a:pt x="54" y="143"/>
                    <a:pt x="56" y="123"/>
                    <a:pt x="58" y="104"/>
                  </a:cubicBezTo>
                  <a:cubicBezTo>
                    <a:pt x="61" y="81"/>
                    <a:pt x="64" y="58"/>
                    <a:pt x="68" y="35"/>
                  </a:cubicBezTo>
                  <a:cubicBezTo>
                    <a:pt x="68" y="34"/>
                    <a:pt x="68" y="33"/>
                    <a:pt x="69" y="31"/>
                  </a:cubicBezTo>
                  <a:cubicBezTo>
                    <a:pt x="72" y="18"/>
                    <a:pt x="60" y="4"/>
                    <a:pt x="47" y="2"/>
                  </a:cubicBezTo>
                  <a:cubicBezTo>
                    <a:pt x="32" y="0"/>
                    <a:pt x="21" y="10"/>
                    <a:pt x="18" y="24"/>
                  </a:cubicBezTo>
                  <a:close/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šḷíḓê">
              <a:extLst>
                <a:ext uri="{FF2B5EF4-FFF2-40B4-BE49-F238E27FC236}">
                  <a16:creationId xmlns:a16="http://schemas.microsoft.com/office/drawing/2014/main" id="{5020C854-C563-4947-AFE5-D403A63A72AA}"/>
                </a:ext>
              </a:extLst>
            </p:cNvPr>
            <p:cNvSpPr/>
            <p:nvPr/>
          </p:nvSpPr>
          <p:spPr bwMode="auto">
            <a:xfrm>
              <a:off x="7037388" y="3629025"/>
              <a:ext cx="430213" cy="360363"/>
            </a:xfrm>
            <a:custGeom>
              <a:avLst/>
              <a:gdLst>
                <a:gd name="T0" fmla="*/ 356 w 356"/>
                <a:gd name="T1" fmla="*/ 201 h 300"/>
                <a:gd name="T2" fmla="*/ 239 w 356"/>
                <a:gd name="T3" fmla="*/ 118 h 300"/>
                <a:gd name="T4" fmla="*/ 30 w 356"/>
                <a:gd name="T5" fmla="*/ 0 h 300"/>
                <a:gd name="T6" fmla="*/ 0 w 356"/>
                <a:gd name="T7" fmla="*/ 48 h 300"/>
                <a:gd name="T8" fmla="*/ 198 w 356"/>
                <a:gd name="T9" fmla="*/ 273 h 300"/>
                <a:gd name="T10" fmla="*/ 314 w 356"/>
                <a:gd name="T11" fmla="*/ 288 h 300"/>
                <a:gd name="T12" fmla="*/ 356 w 356"/>
                <a:gd name="T13" fmla="*/ 201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300">
                  <a:moveTo>
                    <a:pt x="356" y="201"/>
                  </a:moveTo>
                  <a:cubicBezTo>
                    <a:pt x="239" y="118"/>
                    <a:pt x="239" y="118"/>
                    <a:pt x="239" y="1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73"/>
                    <a:pt x="310" y="300"/>
                    <a:pt x="314" y="288"/>
                  </a:cubicBezTo>
                  <a:cubicBezTo>
                    <a:pt x="318" y="276"/>
                    <a:pt x="356" y="201"/>
                    <a:pt x="356" y="201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ŝḷïďé">
              <a:extLst>
                <a:ext uri="{FF2B5EF4-FFF2-40B4-BE49-F238E27FC236}">
                  <a16:creationId xmlns:a16="http://schemas.microsoft.com/office/drawing/2014/main" id="{0DB03730-D1F2-44EC-AEB0-8D16058AC3DD}"/>
                </a:ext>
              </a:extLst>
            </p:cNvPr>
            <p:cNvSpPr/>
            <p:nvPr/>
          </p:nvSpPr>
          <p:spPr bwMode="auto">
            <a:xfrm>
              <a:off x="6935788" y="3544888"/>
              <a:ext cx="166688" cy="163513"/>
            </a:xfrm>
            <a:custGeom>
              <a:avLst/>
              <a:gdLst>
                <a:gd name="T0" fmla="*/ 94 w 105"/>
                <a:gd name="T1" fmla="*/ 61 h 103"/>
                <a:gd name="T2" fmla="*/ 61 w 105"/>
                <a:gd name="T3" fmla="*/ 0 h 103"/>
                <a:gd name="T4" fmla="*/ 0 w 105"/>
                <a:gd name="T5" fmla="*/ 8 h 103"/>
                <a:gd name="T6" fmla="*/ 1 w 105"/>
                <a:gd name="T7" fmla="*/ 96 h 103"/>
                <a:gd name="T8" fmla="*/ 12 w 105"/>
                <a:gd name="T9" fmla="*/ 103 h 103"/>
                <a:gd name="T10" fmla="*/ 18 w 105"/>
                <a:gd name="T11" fmla="*/ 86 h 103"/>
                <a:gd name="T12" fmla="*/ 58 w 105"/>
                <a:gd name="T13" fmla="*/ 103 h 103"/>
                <a:gd name="T14" fmla="*/ 105 w 105"/>
                <a:gd name="T15" fmla="*/ 81 h 103"/>
                <a:gd name="T16" fmla="*/ 94 w 105"/>
                <a:gd name="T17" fmla="*/ 6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3">
                  <a:moveTo>
                    <a:pt x="94" y="61"/>
                  </a:moveTo>
                  <a:lnTo>
                    <a:pt x="61" y="0"/>
                  </a:lnTo>
                  <a:lnTo>
                    <a:pt x="0" y="8"/>
                  </a:lnTo>
                  <a:lnTo>
                    <a:pt x="1" y="96"/>
                  </a:lnTo>
                  <a:lnTo>
                    <a:pt x="12" y="103"/>
                  </a:lnTo>
                  <a:lnTo>
                    <a:pt x="18" y="86"/>
                  </a:lnTo>
                  <a:lnTo>
                    <a:pt x="58" y="103"/>
                  </a:lnTo>
                  <a:lnTo>
                    <a:pt x="105" y="81"/>
                  </a:lnTo>
                  <a:lnTo>
                    <a:pt x="94" y="61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Sľiḍe">
              <a:extLst>
                <a:ext uri="{FF2B5EF4-FFF2-40B4-BE49-F238E27FC236}">
                  <a16:creationId xmlns:a16="http://schemas.microsoft.com/office/drawing/2014/main" id="{3B491D4A-C463-4E43-BCDE-59BE1ECBDB1B}"/>
                </a:ext>
              </a:extLst>
            </p:cNvPr>
            <p:cNvSpPr/>
            <p:nvPr/>
          </p:nvSpPr>
          <p:spPr bwMode="auto">
            <a:xfrm>
              <a:off x="6091238" y="3381375"/>
              <a:ext cx="342900" cy="511175"/>
            </a:xfrm>
            <a:custGeom>
              <a:avLst/>
              <a:gdLst>
                <a:gd name="T0" fmla="*/ 0 w 284"/>
                <a:gd name="T1" fmla="*/ 320 h 424"/>
                <a:gd name="T2" fmla="*/ 20 w 284"/>
                <a:gd name="T3" fmla="*/ 232 h 424"/>
                <a:gd name="T4" fmla="*/ 192 w 284"/>
                <a:gd name="T5" fmla="*/ 20 h 424"/>
                <a:gd name="T6" fmla="*/ 268 w 284"/>
                <a:gd name="T7" fmla="*/ 0 h 424"/>
                <a:gd name="T8" fmla="*/ 284 w 284"/>
                <a:gd name="T9" fmla="*/ 60 h 424"/>
                <a:gd name="T10" fmla="*/ 232 w 284"/>
                <a:gd name="T11" fmla="*/ 150 h 424"/>
                <a:gd name="T12" fmla="*/ 224 w 284"/>
                <a:gd name="T13" fmla="*/ 136 h 424"/>
                <a:gd name="T14" fmla="*/ 182 w 284"/>
                <a:gd name="T15" fmla="*/ 134 h 424"/>
                <a:gd name="T16" fmla="*/ 176 w 284"/>
                <a:gd name="T17" fmla="*/ 160 h 424"/>
                <a:gd name="T18" fmla="*/ 142 w 284"/>
                <a:gd name="T19" fmla="*/ 162 h 424"/>
                <a:gd name="T20" fmla="*/ 120 w 284"/>
                <a:gd name="T21" fmla="*/ 372 h 424"/>
                <a:gd name="T22" fmla="*/ 36 w 284"/>
                <a:gd name="T23" fmla="*/ 424 h 424"/>
                <a:gd name="T24" fmla="*/ 0 w 284"/>
                <a:gd name="T25" fmla="*/ 32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424">
                  <a:moveTo>
                    <a:pt x="0" y="320"/>
                  </a:moveTo>
                  <a:cubicBezTo>
                    <a:pt x="0" y="316"/>
                    <a:pt x="20" y="232"/>
                    <a:pt x="20" y="232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2" y="20"/>
                    <a:pt x="260" y="0"/>
                    <a:pt x="268" y="0"/>
                  </a:cubicBezTo>
                  <a:cubicBezTo>
                    <a:pt x="276" y="0"/>
                    <a:pt x="284" y="60"/>
                    <a:pt x="284" y="6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182" y="134"/>
                    <a:pt x="182" y="134"/>
                    <a:pt x="182" y="134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42" y="162"/>
                    <a:pt x="142" y="162"/>
                    <a:pt x="142" y="162"/>
                  </a:cubicBezTo>
                  <a:cubicBezTo>
                    <a:pt x="120" y="372"/>
                    <a:pt x="120" y="372"/>
                    <a:pt x="120" y="372"/>
                  </a:cubicBezTo>
                  <a:cubicBezTo>
                    <a:pt x="36" y="424"/>
                    <a:pt x="36" y="424"/>
                    <a:pt x="36" y="424"/>
                  </a:cubicBezTo>
                  <a:lnTo>
                    <a:pt x="0" y="320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s1îḍé">
              <a:extLst>
                <a:ext uri="{FF2B5EF4-FFF2-40B4-BE49-F238E27FC236}">
                  <a16:creationId xmlns:a16="http://schemas.microsoft.com/office/drawing/2014/main" id="{027D61A7-C229-4A00-88C5-5C1E91570DF7}"/>
                </a:ext>
              </a:extLst>
            </p:cNvPr>
            <p:cNvSpPr/>
            <p:nvPr/>
          </p:nvSpPr>
          <p:spPr bwMode="auto">
            <a:xfrm>
              <a:off x="5029200" y="4210050"/>
              <a:ext cx="565150" cy="1128713"/>
            </a:xfrm>
            <a:custGeom>
              <a:avLst/>
              <a:gdLst>
                <a:gd name="T0" fmla="*/ 237 w 356"/>
                <a:gd name="T1" fmla="*/ 0 h 711"/>
                <a:gd name="T2" fmla="*/ 356 w 356"/>
                <a:gd name="T3" fmla="*/ 183 h 711"/>
                <a:gd name="T4" fmla="*/ 171 w 356"/>
                <a:gd name="T5" fmla="*/ 711 h 711"/>
                <a:gd name="T6" fmla="*/ 95 w 356"/>
                <a:gd name="T7" fmla="*/ 711 h 711"/>
                <a:gd name="T8" fmla="*/ 168 w 356"/>
                <a:gd name="T9" fmla="*/ 224 h 711"/>
                <a:gd name="T10" fmla="*/ 0 w 356"/>
                <a:gd name="T11" fmla="*/ 25 h 711"/>
                <a:gd name="T12" fmla="*/ 237 w 356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711">
                  <a:moveTo>
                    <a:pt x="237" y="0"/>
                  </a:moveTo>
                  <a:lnTo>
                    <a:pt x="356" y="183"/>
                  </a:lnTo>
                  <a:lnTo>
                    <a:pt x="171" y="711"/>
                  </a:lnTo>
                  <a:lnTo>
                    <a:pt x="95" y="711"/>
                  </a:lnTo>
                  <a:lnTo>
                    <a:pt x="168" y="224"/>
                  </a:lnTo>
                  <a:lnTo>
                    <a:pt x="0" y="25"/>
                  </a:lnTo>
                  <a:lnTo>
                    <a:pt x="23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S1îḍe">
              <a:extLst>
                <a:ext uri="{FF2B5EF4-FFF2-40B4-BE49-F238E27FC236}">
                  <a16:creationId xmlns:a16="http://schemas.microsoft.com/office/drawing/2014/main" id="{4EF8DE95-2A0E-47C0-8911-F252AC6EB5D9}"/>
                </a:ext>
              </a:extLst>
            </p:cNvPr>
            <p:cNvSpPr/>
            <p:nvPr/>
          </p:nvSpPr>
          <p:spPr bwMode="auto">
            <a:xfrm>
              <a:off x="4637088" y="4160838"/>
              <a:ext cx="587375" cy="1177925"/>
            </a:xfrm>
            <a:custGeom>
              <a:avLst/>
              <a:gdLst>
                <a:gd name="T0" fmla="*/ 320 w 370"/>
                <a:gd name="T1" fmla="*/ 50 h 742"/>
                <a:gd name="T2" fmla="*/ 370 w 370"/>
                <a:gd name="T3" fmla="*/ 251 h 742"/>
                <a:gd name="T4" fmla="*/ 251 w 370"/>
                <a:gd name="T5" fmla="*/ 742 h 742"/>
                <a:gd name="T6" fmla="*/ 173 w 370"/>
                <a:gd name="T7" fmla="*/ 729 h 742"/>
                <a:gd name="T8" fmla="*/ 185 w 370"/>
                <a:gd name="T9" fmla="*/ 264 h 742"/>
                <a:gd name="T10" fmla="*/ 0 w 370"/>
                <a:gd name="T11" fmla="*/ 138 h 742"/>
                <a:gd name="T12" fmla="*/ 132 w 370"/>
                <a:gd name="T13" fmla="*/ 0 h 742"/>
                <a:gd name="T14" fmla="*/ 320 w 370"/>
                <a:gd name="T15" fmla="*/ 5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0" h="742">
                  <a:moveTo>
                    <a:pt x="320" y="50"/>
                  </a:moveTo>
                  <a:lnTo>
                    <a:pt x="370" y="251"/>
                  </a:lnTo>
                  <a:lnTo>
                    <a:pt x="251" y="742"/>
                  </a:lnTo>
                  <a:lnTo>
                    <a:pt x="173" y="729"/>
                  </a:lnTo>
                  <a:lnTo>
                    <a:pt x="185" y="264"/>
                  </a:lnTo>
                  <a:lnTo>
                    <a:pt x="0" y="138"/>
                  </a:lnTo>
                  <a:lnTo>
                    <a:pt x="132" y="0"/>
                  </a:lnTo>
                  <a:lnTo>
                    <a:pt x="320" y="50"/>
                  </a:lnTo>
                  <a:close/>
                </a:path>
              </a:pathLst>
            </a:custGeom>
            <a:solidFill>
              <a:srgbClr val="59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ṧḻíḋè">
              <a:extLst>
                <a:ext uri="{FF2B5EF4-FFF2-40B4-BE49-F238E27FC236}">
                  <a16:creationId xmlns:a16="http://schemas.microsoft.com/office/drawing/2014/main" id="{2241AFFD-A4D8-44C7-AEE6-41C1BABE0F72}"/>
                </a:ext>
              </a:extLst>
            </p:cNvPr>
            <p:cNvSpPr/>
            <p:nvPr/>
          </p:nvSpPr>
          <p:spPr bwMode="auto">
            <a:xfrm>
              <a:off x="4595813" y="2919413"/>
              <a:ext cx="977900" cy="1535113"/>
            </a:xfrm>
            <a:custGeom>
              <a:avLst/>
              <a:gdLst>
                <a:gd name="T0" fmla="*/ 384 w 811"/>
                <a:gd name="T1" fmla="*/ 88 h 1274"/>
                <a:gd name="T2" fmla="*/ 544 w 811"/>
                <a:gd name="T3" fmla="*/ 274 h 1274"/>
                <a:gd name="T4" fmla="*/ 680 w 811"/>
                <a:gd name="T5" fmla="*/ 885 h 1274"/>
                <a:gd name="T6" fmla="*/ 692 w 811"/>
                <a:gd name="T7" fmla="*/ 1164 h 1274"/>
                <a:gd name="T8" fmla="*/ 76 w 811"/>
                <a:gd name="T9" fmla="*/ 1233 h 1274"/>
                <a:gd name="T10" fmla="*/ 16 w 811"/>
                <a:gd name="T11" fmla="*/ 1055 h 1274"/>
                <a:gd name="T12" fmla="*/ 384 w 811"/>
                <a:gd name="T13" fmla="*/ 88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1" h="1274">
                  <a:moveTo>
                    <a:pt x="384" y="88"/>
                  </a:moveTo>
                  <a:cubicBezTo>
                    <a:pt x="384" y="88"/>
                    <a:pt x="508" y="104"/>
                    <a:pt x="544" y="274"/>
                  </a:cubicBezTo>
                  <a:cubicBezTo>
                    <a:pt x="580" y="444"/>
                    <a:pt x="592" y="744"/>
                    <a:pt x="680" y="885"/>
                  </a:cubicBezTo>
                  <a:cubicBezTo>
                    <a:pt x="768" y="1027"/>
                    <a:pt x="811" y="1234"/>
                    <a:pt x="692" y="1164"/>
                  </a:cubicBezTo>
                  <a:cubicBezTo>
                    <a:pt x="556" y="1084"/>
                    <a:pt x="328" y="1108"/>
                    <a:pt x="76" y="1233"/>
                  </a:cubicBezTo>
                  <a:cubicBezTo>
                    <a:pt x="0" y="1274"/>
                    <a:pt x="8" y="1185"/>
                    <a:pt x="16" y="1055"/>
                  </a:cubicBezTo>
                  <a:cubicBezTo>
                    <a:pt x="24" y="926"/>
                    <a:pt x="36" y="0"/>
                    <a:pt x="384" y="88"/>
                  </a:cubicBezTo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ṡḷîdè">
              <a:extLst>
                <a:ext uri="{FF2B5EF4-FFF2-40B4-BE49-F238E27FC236}">
                  <a16:creationId xmlns:a16="http://schemas.microsoft.com/office/drawing/2014/main" id="{60BE6B41-A906-4D44-B6F8-3825D26FC60C}"/>
                </a:ext>
              </a:extLst>
            </p:cNvPr>
            <p:cNvSpPr/>
            <p:nvPr/>
          </p:nvSpPr>
          <p:spPr bwMode="auto">
            <a:xfrm>
              <a:off x="5189538" y="5338763"/>
              <a:ext cx="166688" cy="114300"/>
            </a:xfrm>
            <a:custGeom>
              <a:avLst/>
              <a:gdLst>
                <a:gd name="T0" fmla="*/ 57 w 105"/>
                <a:gd name="T1" fmla="*/ 0 h 72"/>
                <a:gd name="T2" fmla="*/ 105 w 105"/>
                <a:gd name="T3" fmla="*/ 50 h 72"/>
                <a:gd name="T4" fmla="*/ 82 w 105"/>
                <a:gd name="T5" fmla="*/ 72 h 72"/>
                <a:gd name="T6" fmla="*/ 0 w 105"/>
                <a:gd name="T7" fmla="*/ 44 h 72"/>
                <a:gd name="T8" fmla="*/ 7 w 105"/>
                <a:gd name="T9" fmla="*/ 0 h 72"/>
                <a:gd name="T10" fmla="*/ 57 w 105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72">
                  <a:moveTo>
                    <a:pt x="57" y="0"/>
                  </a:moveTo>
                  <a:lnTo>
                    <a:pt x="105" y="50"/>
                  </a:lnTo>
                  <a:lnTo>
                    <a:pt x="82" y="72"/>
                  </a:lnTo>
                  <a:lnTo>
                    <a:pt x="0" y="44"/>
                  </a:lnTo>
                  <a:lnTo>
                    <a:pt x="7" y="0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ṧ1îḋê">
              <a:extLst>
                <a:ext uri="{FF2B5EF4-FFF2-40B4-BE49-F238E27FC236}">
                  <a16:creationId xmlns:a16="http://schemas.microsoft.com/office/drawing/2014/main" id="{F8C47EC4-A6AE-4365-AFE8-2DC814833C11}"/>
                </a:ext>
              </a:extLst>
            </p:cNvPr>
            <p:cNvSpPr/>
            <p:nvPr/>
          </p:nvSpPr>
          <p:spPr bwMode="auto">
            <a:xfrm>
              <a:off x="4911725" y="5321300"/>
              <a:ext cx="184150" cy="131763"/>
            </a:xfrm>
            <a:custGeom>
              <a:avLst/>
              <a:gdLst>
                <a:gd name="T0" fmla="*/ 68 w 116"/>
                <a:gd name="T1" fmla="*/ 9 h 83"/>
                <a:gd name="T2" fmla="*/ 116 w 116"/>
                <a:gd name="T3" fmla="*/ 55 h 83"/>
                <a:gd name="T4" fmla="*/ 91 w 116"/>
                <a:gd name="T5" fmla="*/ 83 h 83"/>
                <a:gd name="T6" fmla="*/ 0 w 116"/>
                <a:gd name="T7" fmla="*/ 45 h 83"/>
                <a:gd name="T8" fmla="*/ 9 w 116"/>
                <a:gd name="T9" fmla="*/ 0 h 83"/>
                <a:gd name="T10" fmla="*/ 68 w 116"/>
                <a:gd name="T11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83">
                  <a:moveTo>
                    <a:pt x="68" y="9"/>
                  </a:moveTo>
                  <a:lnTo>
                    <a:pt x="116" y="55"/>
                  </a:lnTo>
                  <a:lnTo>
                    <a:pt x="91" y="83"/>
                  </a:lnTo>
                  <a:lnTo>
                    <a:pt x="0" y="45"/>
                  </a:lnTo>
                  <a:lnTo>
                    <a:pt x="9" y="0"/>
                  </a:lnTo>
                  <a:lnTo>
                    <a:pt x="68" y="9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ṥḻïḍé">
              <a:extLst>
                <a:ext uri="{FF2B5EF4-FFF2-40B4-BE49-F238E27FC236}">
                  <a16:creationId xmlns:a16="http://schemas.microsoft.com/office/drawing/2014/main" id="{48B50056-C32F-48BC-B60D-55694483800C}"/>
                </a:ext>
              </a:extLst>
            </p:cNvPr>
            <p:cNvSpPr/>
            <p:nvPr/>
          </p:nvSpPr>
          <p:spPr bwMode="auto">
            <a:xfrm>
              <a:off x="5099050" y="2622550"/>
              <a:ext cx="149225" cy="212725"/>
            </a:xfrm>
            <a:custGeom>
              <a:avLst/>
              <a:gdLst>
                <a:gd name="T0" fmla="*/ 0 w 124"/>
                <a:gd name="T1" fmla="*/ 70 h 177"/>
                <a:gd name="T2" fmla="*/ 83 w 124"/>
                <a:gd name="T3" fmla="*/ 177 h 177"/>
                <a:gd name="T4" fmla="*/ 121 w 124"/>
                <a:gd name="T5" fmla="*/ 85 h 177"/>
                <a:gd name="T6" fmla="*/ 68 w 124"/>
                <a:gd name="T7" fmla="*/ 0 h 177"/>
                <a:gd name="T8" fmla="*/ 4 w 124"/>
                <a:gd name="T9" fmla="*/ 71 h 177"/>
                <a:gd name="T10" fmla="*/ 0 w 124"/>
                <a:gd name="T11" fmla="*/ 7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77">
                  <a:moveTo>
                    <a:pt x="0" y="70"/>
                  </a:moveTo>
                  <a:cubicBezTo>
                    <a:pt x="46" y="85"/>
                    <a:pt x="80" y="129"/>
                    <a:pt x="83" y="177"/>
                  </a:cubicBezTo>
                  <a:cubicBezTo>
                    <a:pt x="109" y="155"/>
                    <a:pt x="124" y="119"/>
                    <a:pt x="121" y="85"/>
                  </a:cubicBezTo>
                  <a:cubicBezTo>
                    <a:pt x="118" y="50"/>
                    <a:pt x="98" y="18"/>
                    <a:pt x="68" y="0"/>
                  </a:cubicBezTo>
                  <a:cubicBezTo>
                    <a:pt x="38" y="14"/>
                    <a:pt x="15" y="40"/>
                    <a:pt x="4" y="71"/>
                  </a:cubicBezTo>
                  <a:lnTo>
                    <a:pt x="0" y="70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ŝľiḑê">
              <a:extLst>
                <a:ext uri="{FF2B5EF4-FFF2-40B4-BE49-F238E27FC236}">
                  <a16:creationId xmlns:a16="http://schemas.microsoft.com/office/drawing/2014/main" id="{A692A3FF-00A5-4C12-9EB3-B78731A88E7B}"/>
                </a:ext>
              </a:extLst>
            </p:cNvPr>
            <p:cNvSpPr/>
            <p:nvPr/>
          </p:nvSpPr>
          <p:spPr bwMode="auto">
            <a:xfrm>
              <a:off x="5081588" y="2657475"/>
              <a:ext cx="188913" cy="455613"/>
            </a:xfrm>
            <a:custGeom>
              <a:avLst/>
              <a:gdLst>
                <a:gd name="T0" fmla="*/ 117 w 156"/>
                <a:gd name="T1" fmla="*/ 4 h 379"/>
                <a:gd name="T2" fmla="*/ 131 w 156"/>
                <a:gd name="T3" fmla="*/ 160 h 379"/>
                <a:gd name="T4" fmla="*/ 113 w 156"/>
                <a:gd name="T5" fmla="*/ 362 h 379"/>
                <a:gd name="T6" fmla="*/ 41 w 156"/>
                <a:gd name="T7" fmla="*/ 359 h 379"/>
                <a:gd name="T8" fmla="*/ 14 w 156"/>
                <a:gd name="T9" fmla="*/ 285 h 379"/>
                <a:gd name="T10" fmla="*/ 62 w 156"/>
                <a:gd name="T11" fmla="*/ 0 h 379"/>
                <a:gd name="T12" fmla="*/ 117 w 156"/>
                <a:gd name="T13" fmla="*/ 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79">
                  <a:moveTo>
                    <a:pt x="117" y="4"/>
                  </a:moveTo>
                  <a:cubicBezTo>
                    <a:pt x="117" y="4"/>
                    <a:pt x="156" y="39"/>
                    <a:pt x="131" y="160"/>
                  </a:cubicBezTo>
                  <a:cubicBezTo>
                    <a:pt x="106" y="282"/>
                    <a:pt x="113" y="362"/>
                    <a:pt x="113" y="362"/>
                  </a:cubicBezTo>
                  <a:cubicBezTo>
                    <a:pt x="113" y="362"/>
                    <a:pt x="70" y="379"/>
                    <a:pt x="41" y="359"/>
                  </a:cubicBezTo>
                  <a:cubicBezTo>
                    <a:pt x="11" y="338"/>
                    <a:pt x="0" y="334"/>
                    <a:pt x="14" y="285"/>
                  </a:cubicBezTo>
                  <a:cubicBezTo>
                    <a:pt x="28" y="236"/>
                    <a:pt x="62" y="0"/>
                    <a:pt x="62" y="0"/>
                  </a:cubicBezTo>
                  <a:lnTo>
                    <a:pt x="117" y="4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şļíḑé">
              <a:extLst>
                <a:ext uri="{FF2B5EF4-FFF2-40B4-BE49-F238E27FC236}">
                  <a16:creationId xmlns:a16="http://schemas.microsoft.com/office/drawing/2014/main" id="{687C77CC-501F-4E57-B96B-E655894DC026}"/>
                </a:ext>
              </a:extLst>
            </p:cNvPr>
            <p:cNvSpPr/>
            <p:nvPr/>
          </p:nvSpPr>
          <p:spPr bwMode="auto">
            <a:xfrm>
              <a:off x="4900613" y="2633663"/>
              <a:ext cx="314325" cy="449263"/>
            </a:xfrm>
            <a:custGeom>
              <a:avLst/>
              <a:gdLst>
                <a:gd name="T0" fmla="*/ 255 w 261"/>
                <a:gd name="T1" fmla="*/ 127 h 373"/>
                <a:gd name="T2" fmla="*/ 28 w 261"/>
                <a:gd name="T3" fmla="*/ 114 h 373"/>
                <a:gd name="T4" fmla="*/ 72 w 261"/>
                <a:gd name="T5" fmla="*/ 308 h 373"/>
                <a:gd name="T6" fmla="*/ 80 w 261"/>
                <a:gd name="T7" fmla="*/ 364 h 373"/>
                <a:gd name="T8" fmla="*/ 130 w 261"/>
                <a:gd name="T9" fmla="*/ 364 h 373"/>
                <a:gd name="T10" fmla="*/ 139 w 261"/>
                <a:gd name="T11" fmla="*/ 361 h 373"/>
                <a:gd name="T12" fmla="*/ 144 w 261"/>
                <a:gd name="T13" fmla="*/ 326 h 373"/>
                <a:gd name="T14" fmla="*/ 170 w 261"/>
                <a:gd name="T15" fmla="*/ 322 h 373"/>
                <a:gd name="T16" fmla="*/ 249 w 261"/>
                <a:gd name="T17" fmla="*/ 242 h 373"/>
                <a:gd name="T18" fmla="*/ 255 w 261"/>
                <a:gd name="T19" fmla="*/ 127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1" h="373">
                  <a:moveTo>
                    <a:pt x="255" y="127"/>
                  </a:moveTo>
                  <a:cubicBezTo>
                    <a:pt x="238" y="0"/>
                    <a:pt x="79" y="14"/>
                    <a:pt x="28" y="114"/>
                  </a:cubicBezTo>
                  <a:cubicBezTo>
                    <a:pt x="0" y="171"/>
                    <a:pt x="0" y="285"/>
                    <a:pt x="72" y="308"/>
                  </a:cubicBezTo>
                  <a:cubicBezTo>
                    <a:pt x="72" y="319"/>
                    <a:pt x="72" y="356"/>
                    <a:pt x="80" y="364"/>
                  </a:cubicBezTo>
                  <a:cubicBezTo>
                    <a:pt x="89" y="373"/>
                    <a:pt x="119" y="366"/>
                    <a:pt x="130" y="364"/>
                  </a:cubicBezTo>
                  <a:cubicBezTo>
                    <a:pt x="133" y="364"/>
                    <a:pt x="137" y="363"/>
                    <a:pt x="139" y="361"/>
                  </a:cubicBezTo>
                  <a:cubicBezTo>
                    <a:pt x="142" y="358"/>
                    <a:pt x="144" y="334"/>
                    <a:pt x="144" y="326"/>
                  </a:cubicBezTo>
                  <a:cubicBezTo>
                    <a:pt x="153" y="326"/>
                    <a:pt x="161" y="324"/>
                    <a:pt x="170" y="322"/>
                  </a:cubicBezTo>
                  <a:cubicBezTo>
                    <a:pt x="208" y="312"/>
                    <a:pt x="236" y="279"/>
                    <a:pt x="249" y="242"/>
                  </a:cubicBezTo>
                  <a:cubicBezTo>
                    <a:pt x="261" y="206"/>
                    <a:pt x="261" y="166"/>
                    <a:pt x="255" y="127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šļidé">
              <a:extLst>
                <a:ext uri="{FF2B5EF4-FFF2-40B4-BE49-F238E27FC236}">
                  <a16:creationId xmlns:a16="http://schemas.microsoft.com/office/drawing/2014/main" id="{8B61DA7C-384E-47B6-8569-E6C4D4F212EB}"/>
                </a:ext>
              </a:extLst>
            </p:cNvPr>
            <p:cNvSpPr/>
            <p:nvPr/>
          </p:nvSpPr>
          <p:spPr bwMode="auto">
            <a:xfrm>
              <a:off x="4694238" y="2509838"/>
              <a:ext cx="496888" cy="596900"/>
            </a:xfrm>
            <a:custGeom>
              <a:avLst/>
              <a:gdLst>
                <a:gd name="T0" fmla="*/ 400 w 412"/>
                <a:gd name="T1" fmla="*/ 93 h 495"/>
                <a:gd name="T2" fmla="*/ 323 w 412"/>
                <a:gd name="T3" fmla="*/ 177 h 495"/>
                <a:gd name="T4" fmla="*/ 186 w 412"/>
                <a:gd name="T5" fmla="*/ 331 h 495"/>
                <a:gd name="T6" fmla="*/ 224 w 412"/>
                <a:gd name="T7" fmla="*/ 478 h 495"/>
                <a:gd name="T8" fmla="*/ 64 w 412"/>
                <a:gd name="T9" fmla="*/ 470 h 495"/>
                <a:gd name="T10" fmla="*/ 109 w 412"/>
                <a:gd name="T11" fmla="*/ 105 h 495"/>
                <a:gd name="T12" fmla="*/ 400 w 412"/>
                <a:gd name="T13" fmla="*/ 93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95">
                  <a:moveTo>
                    <a:pt x="400" y="93"/>
                  </a:moveTo>
                  <a:cubicBezTo>
                    <a:pt x="400" y="93"/>
                    <a:pt x="412" y="162"/>
                    <a:pt x="323" y="177"/>
                  </a:cubicBezTo>
                  <a:cubicBezTo>
                    <a:pt x="234" y="192"/>
                    <a:pt x="174" y="257"/>
                    <a:pt x="186" y="331"/>
                  </a:cubicBezTo>
                  <a:cubicBezTo>
                    <a:pt x="197" y="404"/>
                    <a:pt x="260" y="460"/>
                    <a:pt x="224" y="478"/>
                  </a:cubicBezTo>
                  <a:cubicBezTo>
                    <a:pt x="189" y="495"/>
                    <a:pt x="64" y="470"/>
                    <a:pt x="64" y="470"/>
                  </a:cubicBezTo>
                  <a:cubicBezTo>
                    <a:pt x="64" y="470"/>
                    <a:pt x="0" y="211"/>
                    <a:pt x="109" y="105"/>
                  </a:cubicBezTo>
                  <a:cubicBezTo>
                    <a:pt x="217" y="0"/>
                    <a:pt x="366" y="3"/>
                    <a:pt x="400" y="93"/>
                  </a:cubicBez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ṩ1ïdé">
              <a:extLst>
                <a:ext uri="{FF2B5EF4-FFF2-40B4-BE49-F238E27FC236}">
                  <a16:creationId xmlns:a16="http://schemas.microsoft.com/office/drawing/2014/main" id="{3065CB37-2633-4E55-A9C8-A00BB26534CC}"/>
                </a:ext>
              </a:extLst>
            </p:cNvPr>
            <p:cNvSpPr/>
            <p:nvPr/>
          </p:nvSpPr>
          <p:spPr bwMode="auto">
            <a:xfrm>
              <a:off x="4943475" y="2828925"/>
              <a:ext cx="273050" cy="220663"/>
            </a:xfrm>
            <a:custGeom>
              <a:avLst/>
              <a:gdLst>
                <a:gd name="T0" fmla="*/ 0 w 227"/>
                <a:gd name="T1" fmla="*/ 49 h 184"/>
                <a:gd name="T2" fmla="*/ 9 w 227"/>
                <a:gd name="T3" fmla="*/ 145 h 184"/>
                <a:gd name="T4" fmla="*/ 185 w 227"/>
                <a:gd name="T5" fmla="*/ 146 h 184"/>
                <a:gd name="T6" fmla="*/ 227 w 227"/>
                <a:gd name="T7" fmla="*/ 35 h 184"/>
                <a:gd name="T8" fmla="*/ 0 w 227"/>
                <a:gd name="T9" fmla="*/ 4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84">
                  <a:moveTo>
                    <a:pt x="0" y="49"/>
                  </a:moveTo>
                  <a:cubicBezTo>
                    <a:pt x="9" y="145"/>
                    <a:pt x="9" y="145"/>
                    <a:pt x="9" y="145"/>
                  </a:cubicBezTo>
                  <a:cubicBezTo>
                    <a:pt x="9" y="145"/>
                    <a:pt x="100" y="184"/>
                    <a:pt x="185" y="146"/>
                  </a:cubicBezTo>
                  <a:cubicBezTo>
                    <a:pt x="206" y="118"/>
                    <a:pt x="222" y="103"/>
                    <a:pt x="227" y="35"/>
                  </a:cubicBezTo>
                  <a:cubicBezTo>
                    <a:pt x="205" y="26"/>
                    <a:pt x="100" y="0"/>
                    <a:pt x="0" y="49"/>
                  </a:cubicBez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îṥḷiḍê">
              <a:extLst>
                <a:ext uri="{FF2B5EF4-FFF2-40B4-BE49-F238E27FC236}">
                  <a16:creationId xmlns:a16="http://schemas.microsoft.com/office/drawing/2014/main" id="{6CB1EF62-EF93-44BA-80C4-346A089BE1EE}"/>
                </a:ext>
              </a:extLst>
            </p:cNvPr>
            <p:cNvSpPr/>
            <p:nvPr/>
          </p:nvSpPr>
          <p:spPr bwMode="auto">
            <a:xfrm>
              <a:off x="4960938" y="2851150"/>
              <a:ext cx="254000" cy="179388"/>
            </a:xfrm>
            <a:custGeom>
              <a:avLst/>
              <a:gdLst>
                <a:gd name="T0" fmla="*/ 0 w 211"/>
                <a:gd name="T1" fmla="*/ 37 h 149"/>
                <a:gd name="T2" fmla="*/ 4 w 211"/>
                <a:gd name="T3" fmla="*/ 115 h 149"/>
                <a:gd name="T4" fmla="*/ 177 w 211"/>
                <a:gd name="T5" fmla="*/ 117 h 149"/>
                <a:gd name="T6" fmla="*/ 211 w 211"/>
                <a:gd name="T7" fmla="*/ 27 h 149"/>
                <a:gd name="T8" fmla="*/ 0 w 211"/>
                <a:gd name="T9" fmla="*/ 3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149">
                  <a:moveTo>
                    <a:pt x="0" y="37"/>
                  </a:move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103" y="149"/>
                    <a:pt x="177" y="117"/>
                  </a:cubicBezTo>
                  <a:cubicBezTo>
                    <a:pt x="185" y="108"/>
                    <a:pt x="210" y="79"/>
                    <a:pt x="211" y="27"/>
                  </a:cubicBezTo>
                  <a:cubicBezTo>
                    <a:pt x="171" y="12"/>
                    <a:pt x="77" y="0"/>
                    <a:pt x="0" y="37"/>
                  </a:cubicBez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ŝľíḑé">
              <a:extLst>
                <a:ext uri="{FF2B5EF4-FFF2-40B4-BE49-F238E27FC236}">
                  <a16:creationId xmlns:a16="http://schemas.microsoft.com/office/drawing/2014/main" id="{6D973AF1-F21D-4AD8-83F9-44BCAB611FC5}"/>
                </a:ext>
              </a:extLst>
            </p:cNvPr>
            <p:cNvSpPr/>
            <p:nvPr/>
          </p:nvSpPr>
          <p:spPr bwMode="auto">
            <a:xfrm>
              <a:off x="4916488" y="2881313"/>
              <a:ext cx="26988" cy="9525"/>
            </a:xfrm>
            <a:custGeom>
              <a:avLst/>
              <a:gdLst>
                <a:gd name="T0" fmla="*/ 17 w 17"/>
                <a:gd name="T1" fmla="*/ 4 h 6"/>
                <a:gd name="T2" fmla="*/ 0 w 17"/>
                <a:gd name="T3" fmla="*/ 0 h 6"/>
                <a:gd name="T4" fmla="*/ 0 w 17"/>
                <a:gd name="T5" fmla="*/ 3 h 6"/>
                <a:gd name="T6" fmla="*/ 17 w 17"/>
                <a:gd name="T7" fmla="*/ 6 h 6"/>
                <a:gd name="T8" fmla="*/ 17 w 17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17" y="4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6"/>
                  </a:lnTo>
                  <a:lnTo>
                    <a:pt x="17" y="4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şḻïde">
              <a:extLst>
                <a:ext uri="{FF2B5EF4-FFF2-40B4-BE49-F238E27FC236}">
                  <a16:creationId xmlns:a16="http://schemas.microsoft.com/office/drawing/2014/main" id="{E4E587E2-EDDE-45DB-B9ED-FEB5C898C722}"/>
                </a:ext>
              </a:extLst>
            </p:cNvPr>
            <p:cNvSpPr/>
            <p:nvPr/>
          </p:nvSpPr>
          <p:spPr bwMode="auto">
            <a:xfrm>
              <a:off x="4926013" y="2941638"/>
              <a:ext cx="23813" cy="23813"/>
            </a:xfrm>
            <a:custGeom>
              <a:avLst/>
              <a:gdLst>
                <a:gd name="T0" fmla="*/ 14 w 15"/>
                <a:gd name="T1" fmla="*/ 11 h 15"/>
                <a:gd name="T2" fmla="*/ 0 w 15"/>
                <a:gd name="T3" fmla="*/ 0 h 15"/>
                <a:gd name="T4" fmla="*/ 2 w 15"/>
                <a:gd name="T5" fmla="*/ 5 h 15"/>
                <a:gd name="T6" fmla="*/ 15 w 15"/>
                <a:gd name="T7" fmla="*/ 15 h 15"/>
                <a:gd name="T8" fmla="*/ 14 w 15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4" y="11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15" y="15"/>
                  </a:lnTo>
                  <a:lnTo>
                    <a:pt x="14" y="11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ślíḑè">
              <a:extLst>
                <a:ext uri="{FF2B5EF4-FFF2-40B4-BE49-F238E27FC236}">
                  <a16:creationId xmlns:a16="http://schemas.microsoft.com/office/drawing/2014/main" id="{9D2A6956-134B-44AA-BCB3-3889F431C59E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í$ļíďê">
              <a:extLst>
                <a:ext uri="{FF2B5EF4-FFF2-40B4-BE49-F238E27FC236}">
                  <a16:creationId xmlns:a16="http://schemas.microsoft.com/office/drawing/2014/main" id="{3DAA13F9-7469-4813-A904-D9C67C8B2F85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šļïḑê">
              <a:extLst>
                <a:ext uri="{FF2B5EF4-FFF2-40B4-BE49-F238E27FC236}">
                  <a16:creationId xmlns:a16="http://schemas.microsoft.com/office/drawing/2014/main" id="{F761E4D2-15AE-4FAA-A6E7-EA27540F227C}"/>
                </a:ext>
              </a:extLst>
            </p:cNvPr>
            <p:cNvSpPr/>
            <p:nvPr/>
          </p:nvSpPr>
          <p:spPr bwMode="auto">
            <a:xfrm>
              <a:off x="4437063" y="3014663"/>
              <a:ext cx="1339850" cy="1393825"/>
            </a:xfrm>
            <a:custGeom>
              <a:avLst/>
              <a:gdLst>
                <a:gd name="T0" fmla="*/ 881 w 1111"/>
                <a:gd name="T1" fmla="*/ 0 h 1156"/>
                <a:gd name="T2" fmla="*/ 408 w 1111"/>
                <a:gd name="T3" fmla="*/ 77 h 1156"/>
                <a:gd name="T4" fmla="*/ 407 w 1111"/>
                <a:gd name="T5" fmla="*/ 76 h 1156"/>
                <a:gd name="T6" fmla="*/ 406 w 1111"/>
                <a:gd name="T7" fmla="*/ 78 h 1156"/>
                <a:gd name="T8" fmla="*/ 0 w 1111"/>
                <a:gd name="T9" fmla="*/ 331 h 1156"/>
                <a:gd name="T10" fmla="*/ 386 w 1111"/>
                <a:gd name="T11" fmla="*/ 992 h 1156"/>
                <a:gd name="T12" fmla="*/ 813 w 1111"/>
                <a:gd name="T13" fmla="*/ 1155 h 1156"/>
                <a:gd name="T14" fmla="*/ 1027 w 1111"/>
                <a:gd name="T15" fmla="*/ 750 h 1156"/>
                <a:gd name="T16" fmla="*/ 881 w 1111"/>
                <a:gd name="T17" fmla="*/ 0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1" h="1156">
                  <a:moveTo>
                    <a:pt x="881" y="0"/>
                  </a:moveTo>
                  <a:cubicBezTo>
                    <a:pt x="625" y="165"/>
                    <a:pt x="435" y="89"/>
                    <a:pt x="408" y="77"/>
                  </a:cubicBezTo>
                  <a:cubicBezTo>
                    <a:pt x="408" y="77"/>
                    <a:pt x="407" y="75"/>
                    <a:pt x="407" y="76"/>
                  </a:cubicBezTo>
                  <a:cubicBezTo>
                    <a:pt x="406" y="76"/>
                    <a:pt x="406" y="78"/>
                    <a:pt x="406" y="78"/>
                  </a:cubicBezTo>
                  <a:cubicBezTo>
                    <a:pt x="394" y="104"/>
                    <a:pt x="302" y="287"/>
                    <a:pt x="0" y="331"/>
                  </a:cubicBezTo>
                  <a:cubicBezTo>
                    <a:pt x="0" y="331"/>
                    <a:pt x="146" y="849"/>
                    <a:pt x="386" y="992"/>
                  </a:cubicBezTo>
                  <a:cubicBezTo>
                    <a:pt x="642" y="1145"/>
                    <a:pt x="813" y="1156"/>
                    <a:pt x="813" y="1155"/>
                  </a:cubicBezTo>
                  <a:cubicBezTo>
                    <a:pt x="814" y="1155"/>
                    <a:pt x="937" y="1035"/>
                    <a:pt x="1027" y="750"/>
                  </a:cubicBezTo>
                  <a:cubicBezTo>
                    <a:pt x="1111" y="484"/>
                    <a:pt x="881" y="0"/>
                    <a:pt x="881" y="0"/>
                  </a:cubicBezTo>
                </a:path>
              </a:pathLst>
            </a:custGeom>
            <a:solidFill>
              <a:srgbClr val="066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śļïḋê">
              <a:extLst>
                <a:ext uri="{FF2B5EF4-FFF2-40B4-BE49-F238E27FC236}">
                  <a16:creationId xmlns:a16="http://schemas.microsoft.com/office/drawing/2014/main" id="{B232EF47-AD4E-4258-97BA-B8C9BD503F1A}"/>
                </a:ext>
              </a:extLst>
            </p:cNvPr>
            <p:cNvSpPr/>
            <p:nvPr/>
          </p:nvSpPr>
          <p:spPr bwMode="auto">
            <a:xfrm>
              <a:off x="4510088" y="3095625"/>
              <a:ext cx="1211263" cy="1258888"/>
            </a:xfrm>
            <a:custGeom>
              <a:avLst/>
              <a:gdLst>
                <a:gd name="T0" fmla="*/ 799 w 1005"/>
                <a:gd name="T1" fmla="*/ 0 h 1044"/>
                <a:gd name="T2" fmla="*/ 371 w 1005"/>
                <a:gd name="T3" fmla="*/ 71 h 1044"/>
                <a:gd name="T4" fmla="*/ 370 w 1005"/>
                <a:gd name="T5" fmla="*/ 70 h 1044"/>
                <a:gd name="T6" fmla="*/ 369 w 1005"/>
                <a:gd name="T7" fmla="*/ 72 h 1044"/>
                <a:gd name="T8" fmla="*/ 0 w 1005"/>
                <a:gd name="T9" fmla="*/ 300 h 1044"/>
                <a:gd name="T10" fmla="*/ 346 w 1005"/>
                <a:gd name="T11" fmla="*/ 888 h 1044"/>
                <a:gd name="T12" fmla="*/ 736 w 1005"/>
                <a:gd name="T13" fmla="*/ 1043 h 1044"/>
                <a:gd name="T14" fmla="*/ 927 w 1005"/>
                <a:gd name="T15" fmla="*/ 669 h 1044"/>
                <a:gd name="T16" fmla="*/ 799 w 1005"/>
                <a:gd name="T17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5" h="1044">
                  <a:moveTo>
                    <a:pt x="799" y="0"/>
                  </a:moveTo>
                  <a:cubicBezTo>
                    <a:pt x="567" y="148"/>
                    <a:pt x="395" y="82"/>
                    <a:pt x="371" y="71"/>
                  </a:cubicBezTo>
                  <a:cubicBezTo>
                    <a:pt x="371" y="71"/>
                    <a:pt x="370" y="69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130" y="761"/>
                    <a:pt x="346" y="888"/>
                  </a:cubicBezTo>
                  <a:cubicBezTo>
                    <a:pt x="576" y="1023"/>
                    <a:pt x="736" y="1044"/>
                    <a:pt x="736" y="1043"/>
                  </a:cubicBezTo>
                  <a:cubicBezTo>
                    <a:pt x="737" y="1043"/>
                    <a:pt x="845" y="923"/>
                    <a:pt x="927" y="669"/>
                  </a:cubicBezTo>
                  <a:cubicBezTo>
                    <a:pt x="1005" y="431"/>
                    <a:pt x="799" y="0"/>
                    <a:pt x="799" y="0"/>
                  </a:cubicBezTo>
                </a:path>
              </a:pathLst>
            </a:custGeom>
            <a:solidFill>
              <a:srgbClr val="4498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sľïḋé">
              <a:extLst>
                <a:ext uri="{FF2B5EF4-FFF2-40B4-BE49-F238E27FC236}">
                  <a16:creationId xmlns:a16="http://schemas.microsoft.com/office/drawing/2014/main" id="{10E308AF-5D6C-4B4B-84B3-367F32D5CACA}"/>
                </a:ext>
              </a:extLst>
            </p:cNvPr>
            <p:cNvSpPr/>
            <p:nvPr/>
          </p:nvSpPr>
          <p:spPr bwMode="auto">
            <a:xfrm>
              <a:off x="4510088" y="3095625"/>
              <a:ext cx="990600" cy="425450"/>
            </a:xfrm>
            <a:custGeom>
              <a:avLst/>
              <a:gdLst>
                <a:gd name="T0" fmla="*/ 799 w 821"/>
                <a:gd name="T1" fmla="*/ 0 h 353"/>
                <a:gd name="T2" fmla="*/ 504 w 821"/>
                <a:gd name="T3" fmla="*/ 95 h 353"/>
                <a:gd name="T4" fmla="*/ 371 w 821"/>
                <a:gd name="T5" fmla="*/ 71 h 353"/>
                <a:gd name="T6" fmla="*/ 370 w 821"/>
                <a:gd name="T7" fmla="*/ 70 h 353"/>
                <a:gd name="T8" fmla="*/ 370 w 821"/>
                <a:gd name="T9" fmla="*/ 70 h 353"/>
                <a:gd name="T10" fmla="*/ 370 w 821"/>
                <a:gd name="T11" fmla="*/ 70 h 353"/>
                <a:gd name="T12" fmla="*/ 369 w 821"/>
                <a:gd name="T13" fmla="*/ 72 h 353"/>
                <a:gd name="T14" fmla="*/ 0 w 821"/>
                <a:gd name="T15" fmla="*/ 300 h 353"/>
                <a:gd name="T16" fmla="*/ 17 w 821"/>
                <a:gd name="T17" fmla="*/ 353 h 353"/>
                <a:gd name="T18" fmla="*/ 386 w 821"/>
                <a:gd name="T19" fmla="*/ 116 h 353"/>
                <a:gd name="T20" fmla="*/ 386 w 821"/>
                <a:gd name="T21" fmla="*/ 114 h 353"/>
                <a:gd name="T22" fmla="*/ 386 w 821"/>
                <a:gd name="T23" fmla="*/ 114 h 353"/>
                <a:gd name="T24" fmla="*/ 387 w 821"/>
                <a:gd name="T25" fmla="*/ 114 h 353"/>
                <a:gd name="T26" fmla="*/ 388 w 821"/>
                <a:gd name="T27" fmla="*/ 115 h 353"/>
                <a:gd name="T28" fmla="*/ 527 w 821"/>
                <a:gd name="T29" fmla="*/ 140 h 353"/>
                <a:gd name="T30" fmla="*/ 821 w 821"/>
                <a:gd name="T31" fmla="*/ 49 h 353"/>
                <a:gd name="T32" fmla="*/ 799 w 821"/>
                <a:gd name="T33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1" h="353">
                  <a:moveTo>
                    <a:pt x="799" y="0"/>
                  </a:moveTo>
                  <a:cubicBezTo>
                    <a:pt x="681" y="75"/>
                    <a:pt x="579" y="95"/>
                    <a:pt x="504" y="95"/>
                  </a:cubicBezTo>
                  <a:cubicBezTo>
                    <a:pt x="431" y="95"/>
                    <a:pt x="383" y="76"/>
                    <a:pt x="371" y="71"/>
                  </a:cubicBezTo>
                  <a:cubicBezTo>
                    <a:pt x="371" y="71"/>
                    <a:pt x="371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6" y="320"/>
                    <a:pt x="17" y="353"/>
                  </a:cubicBezTo>
                  <a:cubicBezTo>
                    <a:pt x="289" y="305"/>
                    <a:pt x="375" y="140"/>
                    <a:pt x="386" y="116"/>
                  </a:cubicBezTo>
                  <a:cubicBezTo>
                    <a:pt x="386" y="116"/>
                    <a:pt x="386" y="114"/>
                    <a:pt x="386" y="114"/>
                  </a:cubicBezTo>
                  <a:cubicBezTo>
                    <a:pt x="386" y="114"/>
                    <a:pt x="386" y="114"/>
                    <a:pt x="386" y="114"/>
                  </a:cubicBezTo>
                  <a:cubicBezTo>
                    <a:pt x="387" y="114"/>
                    <a:pt x="387" y="114"/>
                    <a:pt x="387" y="114"/>
                  </a:cubicBezTo>
                  <a:cubicBezTo>
                    <a:pt x="387" y="114"/>
                    <a:pt x="388" y="115"/>
                    <a:pt x="388" y="115"/>
                  </a:cubicBezTo>
                  <a:cubicBezTo>
                    <a:pt x="400" y="120"/>
                    <a:pt x="450" y="140"/>
                    <a:pt x="527" y="140"/>
                  </a:cubicBezTo>
                  <a:cubicBezTo>
                    <a:pt x="602" y="140"/>
                    <a:pt x="704" y="121"/>
                    <a:pt x="821" y="49"/>
                  </a:cubicBezTo>
                  <a:cubicBezTo>
                    <a:pt x="808" y="18"/>
                    <a:pt x="799" y="0"/>
                    <a:pt x="799" y="0"/>
                  </a:cubicBezTo>
                </a:path>
              </a:pathLst>
            </a:custGeom>
            <a:solidFill>
              <a:srgbClr val="408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ṧḷíḓé">
              <a:extLst>
                <a:ext uri="{FF2B5EF4-FFF2-40B4-BE49-F238E27FC236}">
                  <a16:creationId xmlns:a16="http://schemas.microsoft.com/office/drawing/2014/main" id="{A8100813-79EE-4135-9494-4A3CD7302A17}"/>
                </a:ext>
              </a:extLst>
            </p:cNvPr>
            <p:cNvSpPr/>
            <p:nvPr/>
          </p:nvSpPr>
          <p:spPr bwMode="auto">
            <a:xfrm>
              <a:off x="4451350" y="3563938"/>
              <a:ext cx="650875" cy="366713"/>
            </a:xfrm>
            <a:custGeom>
              <a:avLst/>
              <a:gdLst>
                <a:gd name="T0" fmla="*/ 0 w 410"/>
                <a:gd name="T1" fmla="*/ 161 h 231"/>
                <a:gd name="T2" fmla="*/ 89 w 410"/>
                <a:gd name="T3" fmla="*/ 79 h 231"/>
                <a:gd name="T4" fmla="*/ 389 w 410"/>
                <a:gd name="T5" fmla="*/ 0 h 231"/>
                <a:gd name="T6" fmla="*/ 410 w 410"/>
                <a:gd name="T7" fmla="*/ 55 h 231"/>
                <a:gd name="T8" fmla="*/ 143 w 410"/>
                <a:gd name="T9" fmla="*/ 231 h 231"/>
                <a:gd name="T10" fmla="*/ 54 w 410"/>
                <a:gd name="T11" fmla="*/ 231 h 231"/>
                <a:gd name="T12" fmla="*/ 0 w 410"/>
                <a:gd name="T13" fmla="*/ 16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" h="231">
                  <a:moveTo>
                    <a:pt x="0" y="161"/>
                  </a:moveTo>
                  <a:lnTo>
                    <a:pt x="89" y="79"/>
                  </a:lnTo>
                  <a:lnTo>
                    <a:pt x="389" y="0"/>
                  </a:lnTo>
                  <a:lnTo>
                    <a:pt x="410" y="55"/>
                  </a:lnTo>
                  <a:lnTo>
                    <a:pt x="143" y="231"/>
                  </a:lnTo>
                  <a:lnTo>
                    <a:pt x="54" y="231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8" name="i$1íḑê">
            <a:extLst>
              <a:ext uri="{FF2B5EF4-FFF2-40B4-BE49-F238E27FC236}">
                <a16:creationId xmlns:a16="http://schemas.microsoft.com/office/drawing/2014/main" id="{96479E3F-D591-4344-BD82-468C95BC5B72}"/>
              </a:ext>
            </a:extLst>
          </p:cNvPr>
          <p:cNvSpPr/>
          <p:nvPr/>
        </p:nvSpPr>
        <p:spPr>
          <a:xfrm rot="5400000">
            <a:off x="462604" y="1492378"/>
            <a:ext cx="4724646" cy="4356099"/>
          </a:xfrm>
          <a:prstGeom prst="blockArc">
            <a:avLst>
              <a:gd name="adj1" fmla="val 11276733"/>
              <a:gd name="adj2" fmla="val 20956921"/>
              <a:gd name="adj3" fmla="val 8266"/>
            </a:avLst>
          </a:prstGeom>
          <a:gradFill>
            <a:gsLst>
              <a:gs pos="0">
                <a:schemeClr val="bg1">
                  <a:lumMod val="85000"/>
                  <a:alpha val="51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503" name="8b3f14cc-9f84-41e8-8138-7054b945ee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9A955C2-EA32-4A68-8A1E-218E6C22101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0787" y="2381790"/>
            <a:ext cx="2574972" cy="2556606"/>
            <a:chOff x="3870325" y="1222375"/>
            <a:chExt cx="4451350" cy="4419601"/>
          </a:xfrm>
        </p:grpSpPr>
        <p:sp>
          <p:nvSpPr>
            <p:cNvPr id="504" name="iś1îḋé">
              <a:extLst>
                <a:ext uri="{FF2B5EF4-FFF2-40B4-BE49-F238E27FC236}">
                  <a16:creationId xmlns:a16="http://schemas.microsoft.com/office/drawing/2014/main" id="{2140A1A5-D1F9-469E-B43C-3432C43CBE1D}"/>
                </a:ext>
              </a:extLst>
            </p:cNvPr>
            <p:cNvSpPr/>
            <p:nvPr/>
          </p:nvSpPr>
          <p:spPr bwMode="auto">
            <a:xfrm>
              <a:off x="5173663" y="5332413"/>
              <a:ext cx="733425" cy="111125"/>
            </a:xfrm>
            <a:custGeom>
              <a:avLst/>
              <a:gdLst>
                <a:gd name="T0" fmla="*/ 36 w 277"/>
                <a:gd name="T1" fmla="*/ 0 h 42"/>
                <a:gd name="T2" fmla="*/ 241 w 277"/>
                <a:gd name="T3" fmla="*/ 0 h 42"/>
                <a:gd name="T4" fmla="*/ 277 w 277"/>
                <a:gd name="T5" fmla="*/ 36 h 42"/>
                <a:gd name="T6" fmla="*/ 277 w 277"/>
                <a:gd name="T7" fmla="*/ 42 h 42"/>
                <a:gd name="T8" fmla="*/ 0 w 277"/>
                <a:gd name="T9" fmla="*/ 42 h 42"/>
                <a:gd name="T10" fmla="*/ 0 w 277"/>
                <a:gd name="T11" fmla="*/ 36 h 42"/>
                <a:gd name="T12" fmla="*/ 36 w 277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42">
                  <a:moveTo>
                    <a:pt x="36" y="0"/>
                  </a:moveTo>
                  <a:cubicBezTo>
                    <a:pt x="241" y="0"/>
                    <a:pt x="241" y="0"/>
                    <a:pt x="241" y="0"/>
                  </a:cubicBezTo>
                  <a:cubicBezTo>
                    <a:pt x="261" y="0"/>
                    <a:pt x="277" y="16"/>
                    <a:pt x="277" y="36"/>
                  </a:cubicBezTo>
                  <a:cubicBezTo>
                    <a:pt x="277" y="42"/>
                    <a:pt x="277" y="42"/>
                    <a:pt x="277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lose/>
                </a:path>
              </a:pathLst>
            </a:cu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išlïḑé">
              <a:extLst>
                <a:ext uri="{FF2B5EF4-FFF2-40B4-BE49-F238E27FC236}">
                  <a16:creationId xmlns:a16="http://schemas.microsoft.com/office/drawing/2014/main" id="{18DFA911-C41A-4BB0-998F-852C31966C54}"/>
                </a:ext>
              </a:extLst>
            </p:cNvPr>
            <p:cNvSpPr/>
            <p:nvPr/>
          </p:nvSpPr>
          <p:spPr bwMode="auto">
            <a:xfrm>
              <a:off x="5043488" y="1544638"/>
              <a:ext cx="1077913" cy="3843338"/>
            </a:xfrm>
            <a:custGeom>
              <a:avLst/>
              <a:gdLst>
                <a:gd name="T0" fmla="*/ 406 w 407"/>
                <a:gd name="T1" fmla="*/ 187 h 1453"/>
                <a:gd name="T2" fmla="*/ 238 w 407"/>
                <a:gd name="T3" fmla="*/ 284 h 1453"/>
                <a:gd name="T4" fmla="*/ 155 w 407"/>
                <a:gd name="T5" fmla="*/ 237 h 1453"/>
                <a:gd name="T6" fmla="*/ 155 w 407"/>
                <a:gd name="T7" fmla="*/ 140 h 1453"/>
                <a:gd name="T8" fmla="*/ 322 w 407"/>
                <a:gd name="T9" fmla="*/ 44 h 1453"/>
                <a:gd name="T10" fmla="*/ 167 w 407"/>
                <a:gd name="T11" fmla="*/ 12 h 1453"/>
                <a:gd name="T12" fmla="*/ 10 w 407"/>
                <a:gd name="T13" fmla="*/ 179 h 1453"/>
                <a:gd name="T14" fmla="*/ 75 w 407"/>
                <a:gd name="T15" fmla="*/ 356 h 1453"/>
                <a:gd name="T16" fmla="*/ 96 w 407"/>
                <a:gd name="T17" fmla="*/ 401 h 1453"/>
                <a:gd name="T18" fmla="*/ 96 w 407"/>
                <a:gd name="T19" fmla="*/ 555 h 1453"/>
                <a:gd name="T20" fmla="*/ 73 w 407"/>
                <a:gd name="T21" fmla="*/ 1337 h 1453"/>
                <a:gd name="T22" fmla="*/ 186 w 407"/>
                <a:gd name="T23" fmla="*/ 1453 h 1453"/>
                <a:gd name="T24" fmla="*/ 186 w 407"/>
                <a:gd name="T25" fmla="*/ 1453 h 1453"/>
                <a:gd name="T26" fmla="*/ 299 w 407"/>
                <a:gd name="T27" fmla="*/ 1337 h 1453"/>
                <a:gd name="T28" fmla="*/ 276 w 407"/>
                <a:gd name="T29" fmla="*/ 555 h 1453"/>
                <a:gd name="T30" fmla="*/ 276 w 407"/>
                <a:gd name="T31" fmla="*/ 431 h 1453"/>
                <a:gd name="T32" fmla="*/ 307 w 407"/>
                <a:gd name="T33" fmla="*/ 380 h 1453"/>
                <a:gd name="T34" fmla="*/ 407 w 407"/>
                <a:gd name="T35" fmla="*/ 207 h 1453"/>
                <a:gd name="T36" fmla="*/ 406 w 407"/>
                <a:gd name="T37" fmla="*/ 187 h 1453"/>
                <a:gd name="T38" fmla="*/ 188 w 407"/>
                <a:gd name="T39" fmla="*/ 1386 h 1453"/>
                <a:gd name="T40" fmla="*/ 129 w 407"/>
                <a:gd name="T41" fmla="*/ 1327 h 1453"/>
                <a:gd name="T42" fmla="*/ 188 w 407"/>
                <a:gd name="T43" fmla="*/ 1268 h 1453"/>
                <a:gd name="T44" fmla="*/ 247 w 407"/>
                <a:gd name="T45" fmla="*/ 1327 h 1453"/>
                <a:gd name="T46" fmla="*/ 188 w 407"/>
                <a:gd name="T47" fmla="*/ 1386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7" h="1453">
                  <a:moveTo>
                    <a:pt x="406" y="187"/>
                  </a:moveTo>
                  <a:cubicBezTo>
                    <a:pt x="238" y="284"/>
                    <a:pt x="238" y="284"/>
                    <a:pt x="238" y="284"/>
                  </a:cubicBezTo>
                  <a:cubicBezTo>
                    <a:pt x="155" y="237"/>
                    <a:pt x="155" y="237"/>
                    <a:pt x="155" y="237"/>
                  </a:cubicBezTo>
                  <a:cubicBezTo>
                    <a:pt x="155" y="140"/>
                    <a:pt x="155" y="140"/>
                    <a:pt x="155" y="140"/>
                  </a:cubicBezTo>
                  <a:cubicBezTo>
                    <a:pt x="322" y="44"/>
                    <a:pt x="322" y="44"/>
                    <a:pt x="322" y="44"/>
                  </a:cubicBezTo>
                  <a:cubicBezTo>
                    <a:pt x="280" y="14"/>
                    <a:pt x="225" y="0"/>
                    <a:pt x="167" y="12"/>
                  </a:cubicBezTo>
                  <a:cubicBezTo>
                    <a:pt x="84" y="28"/>
                    <a:pt x="22" y="94"/>
                    <a:pt x="10" y="179"/>
                  </a:cubicBezTo>
                  <a:cubicBezTo>
                    <a:pt x="0" y="249"/>
                    <a:pt x="28" y="314"/>
                    <a:pt x="75" y="356"/>
                  </a:cubicBezTo>
                  <a:cubicBezTo>
                    <a:pt x="88" y="368"/>
                    <a:pt x="96" y="384"/>
                    <a:pt x="96" y="401"/>
                  </a:cubicBezTo>
                  <a:cubicBezTo>
                    <a:pt x="96" y="555"/>
                    <a:pt x="96" y="555"/>
                    <a:pt x="96" y="555"/>
                  </a:cubicBezTo>
                  <a:cubicBezTo>
                    <a:pt x="73" y="1337"/>
                    <a:pt x="73" y="1337"/>
                    <a:pt x="73" y="1337"/>
                  </a:cubicBezTo>
                  <a:cubicBezTo>
                    <a:pt x="72" y="1400"/>
                    <a:pt x="123" y="1453"/>
                    <a:pt x="186" y="1453"/>
                  </a:cubicBezTo>
                  <a:cubicBezTo>
                    <a:pt x="186" y="1453"/>
                    <a:pt x="186" y="1453"/>
                    <a:pt x="186" y="1453"/>
                  </a:cubicBezTo>
                  <a:cubicBezTo>
                    <a:pt x="250" y="1453"/>
                    <a:pt x="301" y="1400"/>
                    <a:pt x="299" y="1337"/>
                  </a:cubicBezTo>
                  <a:cubicBezTo>
                    <a:pt x="276" y="555"/>
                    <a:pt x="276" y="555"/>
                    <a:pt x="276" y="555"/>
                  </a:cubicBezTo>
                  <a:cubicBezTo>
                    <a:pt x="276" y="431"/>
                    <a:pt x="276" y="431"/>
                    <a:pt x="276" y="431"/>
                  </a:cubicBezTo>
                  <a:cubicBezTo>
                    <a:pt x="276" y="410"/>
                    <a:pt x="288" y="390"/>
                    <a:pt x="307" y="380"/>
                  </a:cubicBezTo>
                  <a:cubicBezTo>
                    <a:pt x="367" y="345"/>
                    <a:pt x="407" y="281"/>
                    <a:pt x="407" y="207"/>
                  </a:cubicBezTo>
                  <a:cubicBezTo>
                    <a:pt x="407" y="200"/>
                    <a:pt x="407" y="194"/>
                    <a:pt x="406" y="187"/>
                  </a:cubicBezTo>
                  <a:close/>
                  <a:moveTo>
                    <a:pt x="188" y="1386"/>
                  </a:moveTo>
                  <a:cubicBezTo>
                    <a:pt x="156" y="1386"/>
                    <a:pt x="129" y="1360"/>
                    <a:pt x="129" y="1327"/>
                  </a:cubicBezTo>
                  <a:cubicBezTo>
                    <a:pt x="129" y="1295"/>
                    <a:pt x="156" y="1268"/>
                    <a:pt x="188" y="1268"/>
                  </a:cubicBezTo>
                  <a:cubicBezTo>
                    <a:pt x="221" y="1268"/>
                    <a:pt x="247" y="1295"/>
                    <a:pt x="247" y="1327"/>
                  </a:cubicBezTo>
                  <a:cubicBezTo>
                    <a:pt x="247" y="1360"/>
                    <a:pt x="221" y="1386"/>
                    <a:pt x="188" y="1386"/>
                  </a:cubicBez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íŝḻïḍé">
              <a:extLst>
                <a:ext uri="{FF2B5EF4-FFF2-40B4-BE49-F238E27FC236}">
                  <a16:creationId xmlns:a16="http://schemas.microsoft.com/office/drawing/2014/main" id="{5B009DC3-5D13-45AC-9B0A-27F638DC0230}"/>
                </a:ext>
              </a:extLst>
            </p:cNvPr>
            <p:cNvSpPr/>
            <p:nvPr/>
          </p:nvSpPr>
          <p:spPr bwMode="auto">
            <a:xfrm>
              <a:off x="5453063" y="2038350"/>
              <a:ext cx="665163" cy="328613"/>
            </a:xfrm>
            <a:custGeom>
              <a:avLst/>
              <a:gdLst>
                <a:gd name="T0" fmla="*/ 0 w 419"/>
                <a:gd name="T1" fmla="*/ 84 h 207"/>
                <a:gd name="T2" fmla="*/ 0 w 419"/>
                <a:gd name="T3" fmla="*/ 125 h 207"/>
                <a:gd name="T4" fmla="*/ 149 w 419"/>
                <a:gd name="T5" fmla="*/ 207 h 207"/>
                <a:gd name="T6" fmla="*/ 419 w 419"/>
                <a:gd name="T7" fmla="*/ 0 h 207"/>
                <a:gd name="T8" fmla="*/ 139 w 419"/>
                <a:gd name="T9" fmla="*/ 162 h 207"/>
                <a:gd name="T10" fmla="*/ 0 w 419"/>
                <a:gd name="T11" fmla="*/ 8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207">
                  <a:moveTo>
                    <a:pt x="0" y="84"/>
                  </a:moveTo>
                  <a:lnTo>
                    <a:pt x="0" y="125"/>
                  </a:lnTo>
                  <a:lnTo>
                    <a:pt x="149" y="207"/>
                  </a:lnTo>
                  <a:lnTo>
                    <a:pt x="419" y="0"/>
                  </a:lnTo>
                  <a:lnTo>
                    <a:pt x="139" y="16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7" name="î$lîḋê">
              <a:extLst>
                <a:ext uri="{FF2B5EF4-FFF2-40B4-BE49-F238E27FC236}">
                  <a16:creationId xmlns:a16="http://schemas.microsoft.com/office/drawing/2014/main" id="{103ACE64-A4A2-4446-8AFB-037D6DA1FA89}"/>
                </a:ext>
              </a:extLst>
            </p:cNvPr>
            <p:cNvSpPr/>
            <p:nvPr/>
          </p:nvSpPr>
          <p:spPr bwMode="auto">
            <a:xfrm>
              <a:off x="5419725" y="1636713"/>
              <a:ext cx="476250" cy="600075"/>
            </a:xfrm>
            <a:custGeom>
              <a:avLst/>
              <a:gdLst>
                <a:gd name="T0" fmla="*/ 21 w 300"/>
                <a:gd name="T1" fmla="*/ 378 h 378"/>
                <a:gd name="T2" fmla="*/ 0 w 300"/>
                <a:gd name="T3" fmla="*/ 367 h 378"/>
                <a:gd name="T4" fmla="*/ 0 w 300"/>
                <a:gd name="T5" fmla="*/ 163 h 378"/>
                <a:gd name="T6" fmla="*/ 277 w 300"/>
                <a:gd name="T7" fmla="*/ 0 h 378"/>
                <a:gd name="T8" fmla="*/ 300 w 300"/>
                <a:gd name="T9" fmla="*/ 15 h 378"/>
                <a:gd name="T10" fmla="*/ 21 w 300"/>
                <a:gd name="T11" fmla="*/ 175 h 378"/>
                <a:gd name="T12" fmla="*/ 21 w 300"/>
                <a:gd name="T13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0" h="378">
                  <a:moveTo>
                    <a:pt x="21" y="378"/>
                  </a:moveTo>
                  <a:lnTo>
                    <a:pt x="0" y="367"/>
                  </a:lnTo>
                  <a:lnTo>
                    <a:pt x="0" y="163"/>
                  </a:lnTo>
                  <a:lnTo>
                    <a:pt x="277" y="0"/>
                  </a:lnTo>
                  <a:lnTo>
                    <a:pt x="300" y="15"/>
                  </a:lnTo>
                  <a:lnTo>
                    <a:pt x="21" y="175"/>
                  </a:lnTo>
                  <a:lnTo>
                    <a:pt x="21" y="378"/>
                  </a:ln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8" name="íṥlïḓè">
              <a:extLst>
                <a:ext uri="{FF2B5EF4-FFF2-40B4-BE49-F238E27FC236}">
                  <a16:creationId xmlns:a16="http://schemas.microsoft.com/office/drawing/2014/main" id="{39894FE3-7072-4308-BF5F-6CD646EF35CE}"/>
                </a:ext>
              </a:extLst>
            </p:cNvPr>
            <p:cNvSpPr/>
            <p:nvPr/>
          </p:nvSpPr>
          <p:spPr bwMode="auto">
            <a:xfrm>
              <a:off x="5043488" y="1560513"/>
              <a:ext cx="693738" cy="3827463"/>
            </a:xfrm>
            <a:custGeom>
              <a:avLst/>
              <a:gdLst>
                <a:gd name="T0" fmla="*/ 160 w 262"/>
                <a:gd name="T1" fmla="*/ 1423 h 1447"/>
                <a:gd name="T2" fmla="*/ 94 w 262"/>
                <a:gd name="T3" fmla="*/ 1307 h 1447"/>
                <a:gd name="T4" fmla="*/ 120 w 262"/>
                <a:gd name="T5" fmla="*/ 394 h 1447"/>
                <a:gd name="T6" fmla="*/ 39 w 262"/>
                <a:gd name="T7" fmla="*/ 177 h 1447"/>
                <a:gd name="T8" fmla="*/ 262 w 262"/>
                <a:gd name="T9" fmla="*/ 10 h 1447"/>
                <a:gd name="T10" fmla="*/ 179 w 262"/>
                <a:gd name="T11" fmla="*/ 4 h 1447"/>
                <a:gd name="T12" fmla="*/ 10 w 262"/>
                <a:gd name="T13" fmla="*/ 172 h 1447"/>
                <a:gd name="T14" fmla="*/ 77 w 262"/>
                <a:gd name="T15" fmla="*/ 352 h 1447"/>
                <a:gd name="T16" fmla="*/ 96 w 262"/>
                <a:gd name="T17" fmla="*/ 395 h 1447"/>
                <a:gd name="T18" fmla="*/ 96 w 262"/>
                <a:gd name="T19" fmla="*/ 519 h 1447"/>
                <a:gd name="T20" fmla="*/ 96 w 262"/>
                <a:gd name="T21" fmla="*/ 519 h 1447"/>
                <a:gd name="T22" fmla="*/ 96 w 262"/>
                <a:gd name="T23" fmla="*/ 549 h 1447"/>
                <a:gd name="T24" fmla="*/ 73 w 262"/>
                <a:gd name="T25" fmla="*/ 1331 h 1447"/>
                <a:gd name="T26" fmla="*/ 186 w 262"/>
                <a:gd name="T27" fmla="*/ 1447 h 1447"/>
                <a:gd name="T28" fmla="*/ 254 w 262"/>
                <a:gd name="T29" fmla="*/ 1424 h 1447"/>
                <a:gd name="T30" fmla="*/ 160 w 262"/>
                <a:gd name="T31" fmla="*/ 1423 h 1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2" h="1447">
                  <a:moveTo>
                    <a:pt x="160" y="1423"/>
                  </a:moveTo>
                  <a:cubicBezTo>
                    <a:pt x="115" y="1407"/>
                    <a:pt x="94" y="1368"/>
                    <a:pt x="94" y="1307"/>
                  </a:cubicBezTo>
                  <a:cubicBezTo>
                    <a:pt x="94" y="1207"/>
                    <a:pt x="120" y="441"/>
                    <a:pt x="120" y="394"/>
                  </a:cubicBezTo>
                  <a:cubicBezTo>
                    <a:pt x="120" y="318"/>
                    <a:pt x="21" y="318"/>
                    <a:pt x="39" y="177"/>
                  </a:cubicBezTo>
                  <a:cubicBezTo>
                    <a:pt x="58" y="30"/>
                    <a:pt x="207" y="2"/>
                    <a:pt x="262" y="10"/>
                  </a:cubicBezTo>
                  <a:cubicBezTo>
                    <a:pt x="236" y="2"/>
                    <a:pt x="208" y="0"/>
                    <a:pt x="179" y="4"/>
                  </a:cubicBezTo>
                  <a:cubicBezTo>
                    <a:pt x="92" y="16"/>
                    <a:pt x="22" y="86"/>
                    <a:pt x="10" y="172"/>
                  </a:cubicBezTo>
                  <a:cubicBezTo>
                    <a:pt x="0" y="244"/>
                    <a:pt x="28" y="309"/>
                    <a:pt x="77" y="352"/>
                  </a:cubicBezTo>
                  <a:cubicBezTo>
                    <a:pt x="90" y="363"/>
                    <a:pt x="96" y="379"/>
                    <a:pt x="96" y="395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49"/>
                    <a:pt x="96" y="549"/>
                    <a:pt x="96" y="549"/>
                  </a:cubicBezTo>
                  <a:cubicBezTo>
                    <a:pt x="73" y="1331"/>
                    <a:pt x="73" y="1331"/>
                    <a:pt x="73" y="1331"/>
                  </a:cubicBezTo>
                  <a:cubicBezTo>
                    <a:pt x="72" y="1394"/>
                    <a:pt x="123" y="1447"/>
                    <a:pt x="186" y="1447"/>
                  </a:cubicBezTo>
                  <a:cubicBezTo>
                    <a:pt x="212" y="1447"/>
                    <a:pt x="235" y="1438"/>
                    <a:pt x="254" y="1424"/>
                  </a:cubicBezTo>
                  <a:cubicBezTo>
                    <a:pt x="255" y="1423"/>
                    <a:pt x="208" y="1441"/>
                    <a:pt x="160" y="1423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9" name="îṥľîḑè">
              <a:extLst>
                <a:ext uri="{FF2B5EF4-FFF2-40B4-BE49-F238E27FC236}">
                  <a16:creationId xmlns:a16="http://schemas.microsoft.com/office/drawing/2014/main" id="{BD1F1B36-7355-4FFD-8AA0-00D392E20FA6}"/>
                </a:ext>
              </a:extLst>
            </p:cNvPr>
            <p:cNvSpPr/>
            <p:nvPr/>
          </p:nvSpPr>
          <p:spPr bwMode="auto">
            <a:xfrm>
              <a:off x="5740400" y="2038350"/>
              <a:ext cx="381000" cy="3167063"/>
            </a:xfrm>
            <a:custGeom>
              <a:avLst/>
              <a:gdLst>
                <a:gd name="T0" fmla="*/ 143 w 144"/>
                <a:gd name="T1" fmla="*/ 0 h 1197"/>
                <a:gd name="T2" fmla="*/ 132 w 144"/>
                <a:gd name="T3" fmla="*/ 6 h 1197"/>
                <a:gd name="T4" fmla="*/ 108 w 144"/>
                <a:gd name="T5" fmla="*/ 114 h 1197"/>
                <a:gd name="T6" fmla="*/ 12 w 144"/>
                <a:gd name="T7" fmla="*/ 205 h 1197"/>
                <a:gd name="T8" fmla="*/ 2 w 144"/>
                <a:gd name="T9" fmla="*/ 284 h 1197"/>
                <a:gd name="T10" fmla="*/ 27 w 144"/>
                <a:gd name="T11" fmla="*/ 1035 h 1197"/>
                <a:gd name="T12" fmla="*/ 27 w 144"/>
                <a:gd name="T13" fmla="*/ 1197 h 1197"/>
                <a:gd name="T14" fmla="*/ 36 w 144"/>
                <a:gd name="T15" fmla="*/ 1150 h 1197"/>
                <a:gd name="T16" fmla="*/ 13 w 144"/>
                <a:gd name="T17" fmla="*/ 368 h 1197"/>
                <a:gd name="T18" fmla="*/ 13 w 144"/>
                <a:gd name="T19" fmla="*/ 355 h 1197"/>
                <a:gd name="T20" fmla="*/ 13 w 144"/>
                <a:gd name="T21" fmla="*/ 355 h 1197"/>
                <a:gd name="T22" fmla="*/ 13 w 144"/>
                <a:gd name="T23" fmla="*/ 244 h 1197"/>
                <a:gd name="T24" fmla="*/ 44 w 144"/>
                <a:gd name="T25" fmla="*/ 193 h 1197"/>
                <a:gd name="T26" fmla="*/ 144 w 144"/>
                <a:gd name="T27" fmla="*/ 20 h 1197"/>
                <a:gd name="T28" fmla="*/ 143 w 144"/>
                <a:gd name="T29" fmla="*/ 0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1197">
                  <a:moveTo>
                    <a:pt x="143" y="0"/>
                  </a:moveTo>
                  <a:cubicBezTo>
                    <a:pt x="132" y="6"/>
                    <a:pt x="132" y="6"/>
                    <a:pt x="132" y="6"/>
                  </a:cubicBezTo>
                  <a:cubicBezTo>
                    <a:pt x="132" y="6"/>
                    <a:pt x="138" y="60"/>
                    <a:pt x="108" y="114"/>
                  </a:cubicBezTo>
                  <a:cubicBezTo>
                    <a:pt x="78" y="168"/>
                    <a:pt x="38" y="169"/>
                    <a:pt x="12" y="205"/>
                  </a:cubicBezTo>
                  <a:cubicBezTo>
                    <a:pt x="0" y="220"/>
                    <a:pt x="1" y="246"/>
                    <a:pt x="2" y="284"/>
                  </a:cubicBezTo>
                  <a:cubicBezTo>
                    <a:pt x="2" y="308"/>
                    <a:pt x="15" y="789"/>
                    <a:pt x="27" y="1035"/>
                  </a:cubicBezTo>
                  <a:cubicBezTo>
                    <a:pt x="30" y="1101"/>
                    <a:pt x="36" y="1163"/>
                    <a:pt x="27" y="1197"/>
                  </a:cubicBezTo>
                  <a:cubicBezTo>
                    <a:pt x="33" y="1183"/>
                    <a:pt x="37" y="1167"/>
                    <a:pt x="36" y="1150"/>
                  </a:cubicBezTo>
                  <a:cubicBezTo>
                    <a:pt x="13" y="368"/>
                    <a:pt x="13" y="368"/>
                    <a:pt x="13" y="368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244"/>
                    <a:pt x="13" y="244"/>
                    <a:pt x="13" y="244"/>
                  </a:cubicBezTo>
                  <a:cubicBezTo>
                    <a:pt x="13" y="223"/>
                    <a:pt x="25" y="203"/>
                    <a:pt x="44" y="193"/>
                  </a:cubicBezTo>
                  <a:cubicBezTo>
                    <a:pt x="104" y="158"/>
                    <a:pt x="144" y="94"/>
                    <a:pt x="144" y="20"/>
                  </a:cubicBezTo>
                  <a:cubicBezTo>
                    <a:pt x="144" y="13"/>
                    <a:pt x="144" y="7"/>
                    <a:pt x="143" y="0"/>
                  </a:cubicBez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0" name="íšľîḋé">
              <a:extLst>
                <a:ext uri="{FF2B5EF4-FFF2-40B4-BE49-F238E27FC236}">
                  <a16:creationId xmlns:a16="http://schemas.microsoft.com/office/drawing/2014/main" id="{77706F0F-1BF6-4B79-9B2F-4366DC575D85}"/>
                </a:ext>
              </a:extLst>
            </p:cNvPr>
            <p:cNvSpPr/>
            <p:nvPr/>
          </p:nvSpPr>
          <p:spPr bwMode="auto">
            <a:xfrm>
              <a:off x="5372100" y="2608263"/>
              <a:ext cx="333375" cy="2208213"/>
            </a:xfrm>
            <a:custGeom>
              <a:avLst/>
              <a:gdLst>
                <a:gd name="T0" fmla="*/ 126 w 126"/>
                <a:gd name="T1" fmla="*/ 833 h 835"/>
                <a:gd name="T2" fmla="*/ 109 w 126"/>
                <a:gd name="T3" fmla="*/ 824 h 835"/>
                <a:gd name="T4" fmla="*/ 64 w 126"/>
                <a:gd name="T5" fmla="*/ 814 h 835"/>
                <a:gd name="T6" fmla="*/ 56 w 126"/>
                <a:gd name="T7" fmla="*/ 815 h 835"/>
                <a:gd name="T8" fmla="*/ 0 w 126"/>
                <a:gd name="T9" fmla="*/ 835 h 835"/>
                <a:gd name="T10" fmla="*/ 1 w 126"/>
                <a:gd name="T11" fmla="*/ 824 h 835"/>
                <a:gd name="T12" fmla="*/ 25 w 126"/>
                <a:gd name="T13" fmla="*/ 39 h 835"/>
                <a:gd name="T14" fmla="*/ 37 w 126"/>
                <a:gd name="T15" fmla="*/ 11 h 835"/>
                <a:gd name="T16" fmla="*/ 57 w 126"/>
                <a:gd name="T17" fmla="*/ 1 h 835"/>
                <a:gd name="T18" fmla="*/ 65 w 126"/>
                <a:gd name="T19" fmla="*/ 0 h 835"/>
                <a:gd name="T20" fmla="*/ 105 w 126"/>
                <a:gd name="T21" fmla="*/ 39 h 835"/>
                <a:gd name="T22" fmla="*/ 126 w 126"/>
                <a:gd name="T23" fmla="*/ 833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6" h="835">
                  <a:moveTo>
                    <a:pt x="126" y="833"/>
                  </a:moveTo>
                  <a:cubicBezTo>
                    <a:pt x="121" y="829"/>
                    <a:pt x="115" y="826"/>
                    <a:pt x="109" y="824"/>
                  </a:cubicBezTo>
                  <a:cubicBezTo>
                    <a:pt x="95" y="818"/>
                    <a:pt x="80" y="814"/>
                    <a:pt x="64" y="814"/>
                  </a:cubicBezTo>
                  <a:cubicBezTo>
                    <a:pt x="61" y="814"/>
                    <a:pt x="59" y="814"/>
                    <a:pt x="56" y="815"/>
                  </a:cubicBezTo>
                  <a:cubicBezTo>
                    <a:pt x="35" y="816"/>
                    <a:pt x="16" y="823"/>
                    <a:pt x="0" y="835"/>
                  </a:cubicBezTo>
                  <a:cubicBezTo>
                    <a:pt x="1" y="824"/>
                    <a:pt x="1" y="824"/>
                    <a:pt x="1" y="82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6" y="28"/>
                    <a:pt x="30" y="18"/>
                    <a:pt x="37" y="11"/>
                  </a:cubicBezTo>
                  <a:cubicBezTo>
                    <a:pt x="43" y="6"/>
                    <a:pt x="49" y="2"/>
                    <a:pt x="57" y="1"/>
                  </a:cubicBezTo>
                  <a:cubicBezTo>
                    <a:pt x="59" y="0"/>
                    <a:pt x="62" y="0"/>
                    <a:pt x="65" y="0"/>
                  </a:cubicBezTo>
                  <a:cubicBezTo>
                    <a:pt x="87" y="0"/>
                    <a:pt x="105" y="17"/>
                    <a:pt x="105" y="39"/>
                  </a:cubicBezTo>
                  <a:lnTo>
                    <a:pt x="126" y="833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1" name="îṩlîḓè">
              <a:extLst>
                <a:ext uri="{FF2B5EF4-FFF2-40B4-BE49-F238E27FC236}">
                  <a16:creationId xmlns:a16="http://schemas.microsoft.com/office/drawing/2014/main" id="{EA9A78A7-637B-4D51-A22D-0C3F39A4D9C7}"/>
                </a:ext>
              </a:extLst>
            </p:cNvPr>
            <p:cNvSpPr/>
            <p:nvPr/>
          </p:nvSpPr>
          <p:spPr bwMode="auto">
            <a:xfrm>
              <a:off x="5372100" y="2609850"/>
              <a:ext cx="288925" cy="2206625"/>
            </a:xfrm>
            <a:custGeom>
              <a:avLst/>
              <a:gdLst>
                <a:gd name="T0" fmla="*/ 109 w 109"/>
                <a:gd name="T1" fmla="*/ 823 h 834"/>
                <a:gd name="T2" fmla="*/ 0 w 109"/>
                <a:gd name="T3" fmla="*/ 834 h 834"/>
                <a:gd name="T4" fmla="*/ 25 w 109"/>
                <a:gd name="T5" fmla="*/ 38 h 834"/>
                <a:gd name="T6" fmla="*/ 37 w 109"/>
                <a:gd name="T7" fmla="*/ 10 h 834"/>
                <a:gd name="T8" fmla="*/ 57 w 109"/>
                <a:gd name="T9" fmla="*/ 0 h 834"/>
                <a:gd name="T10" fmla="*/ 88 w 109"/>
                <a:gd name="T11" fmla="*/ 38 h 834"/>
                <a:gd name="T12" fmla="*/ 109 w 109"/>
                <a:gd name="T13" fmla="*/ 823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834">
                  <a:moveTo>
                    <a:pt x="109" y="823"/>
                  </a:moveTo>
                  <a:cubicBezTo>
                    <a:pt x="75" y="811"/>
                    <a:pt x="38" y="807"/>
                    <a:pt x="0" y="834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27"/>
                    <a:pt x="30" y="17"/>
                    <a:pt x="37" y="10"/>
                  </a:cubicBezTo>
                  <a:cubicBezTo>
                    <a:pt x="43" y="5"/>
                    <a:pt x="49" y="1"/>
                    <a:pt x="57" y="0"/>
                  </a:cubicBezTo>
                  <a:cubicBezTo>
                    <a:pt x="74" y="4"/>
                    <a:pt x="88" y="19"/>
                    <a:pt x="88" y="38"/>
                  </a:cubicBezTo>
                  <a:cubicBezTo>
                    <a:pt x="109" y="823"/>
                    <a:pt x="109" y="823"/>
                    <a:pt x="109" y="82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2" name="ïsľîḍe">
              <a:extLst>
                <a:ext uri="{FF2B5EF4-FFF2-40B4-BE49-F238E27FC236}">
                  <a16:creationId xmlns:a16="http://schemas.microsoft.com/office/drawing/2014/main" id="{DEF16381-D280-4F5E-A5CF-F78D44095A3D}"/>
                </a:ext>
              </a:extLst>
            </p:cNvPr>
            <p:cNvSpPr/>
            <p:nvPr/>
          </p:nvSpPr>
          <p:spPr bwMode="auto">
            <a:xfrm>
              <a:off x="5387975" y="5032375"/>
              <a:ext cx="309563" cy="177800"/>
            </a:xfrm>
            <a:custGeom>
              <a:avLst/>
              <a:gdLst>
                <a:gd name="T0" fmla="*/ 117 w 117"/>
                <a:gd name="T1" fmla="*/ 8 h 67"/>
                <a:gd name="T2" fmla="*/ 58 w 117"/>
                <a:gd name="T3" fmla="*/ 67 h 67"/>
                <a:gd name="T4" fmla="*/ 0 w 117"/>
                <a:gd name="T5" fmla="*/ 8 h 67"/>
                <a:gd name="T6" fmla="*/ 0 w 117"/>
                <a:gd name="T7" fmla="*/ 0 h 67"/>
                <a:gd name="T8" fmla="*/ 58 w 117"/>
                <a:gd name="T9" fmla="*/ 50 h 67"/>
                <a:gd name="T10" fmla="*/ 117 w 117"/>
                <a:gd name="T11" fmla="*/ 0 h 67"/>
                <a:gd name="T12" fmla="*/ 117 w 117"/>
                <a:gd name="T13" fmla="*/ 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67">
                  <a:moveTo>
                    <a:pt x="117" y="8"/>
                  </a:moveTo>
                  <a:cubicBezTo>
                    <a:pt x="117" y="41"/>
                    <a:pt x="91" y="67"/>
                    <a:pt x="58" y="67"/>
                  </a:cubicBezTo>
                  <a:cubicBezTo>
                    <a:pt x="26" y="67"/>
                    <a:pt x="0" y="41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  <a:cubicBezTo>
                    <a:pt x="4" y="28"/>
                    <a:pt x="29" y="50"/>
                    <a:pt x="58" y="50"/>
                  </a:cubicBezTo>
                  <a:cubicBezTo>
                    <a:pt x="88" y="50"/>
                    <a:pt x="113" y="28"/>
                    <a:pt x="117" y="0"/>
                  </a:cubicBezTo>
                  <a:cubicBezTo>
                    <a:pt x="117" y="3"/>
                    <a:pt x="117" y="5"/>
                    <a:pt x="117" y="8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3" name="ïṩ1íḋé">
              <a:extLst>
                <a:ext uri="{FF2B5EF4-FFF2-40B4-BE49-F238E27FC236}">
                  <a16:creationId xmlns:a16="http://schemas.microsoft.com/office/drawing/2014/main" id="{D2564FE4-A153-4F22-BA63-69F41240A476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4" name="í$lïde">
              <a:extLst>
                <a:ext uri="{FF2B5EF4-FFF2-40B4-BE49-F238E27FC236}">
                  <a16:creationId xmlns:a16="http://schemas.microsoft.com/office/drawing/2014/main" id="{72F2BD48-BC50-4310-B72A-EFE402D90DB8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custGeom>
              <a:avLst/>
              <a:gdLst>
                <a:gd name="T0" fmla="*/ 0 w 565"/>
                <a:gd name="T1" fmla="*/ 91 h 91"/>
                <a:gd name="T2" fmla="*/ 565 w 565"/>
                <a:gd name="T3" fmla="*/ 0 h 91"/>
                <a:gd name="T4" fmla="*/ 0 w 565"/>
                <a:gd name="T5" fmla="*/ 0 h 91"/>
                <a:gd name="T6" fmla="*/ 0 w 565"/>
                <a:gd name="T7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91">
                  <a:moveTo>
                    <a:pt x="0" y="91"/>
                  </a:moveTo>
                  <a:lnTo>
                    <a:pt x="565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5" name="íṧ1íḑé">
              <a:extLst>
                <a:ext uri="{FF2B5EF4-FFF2-40B4-BE49-F238E27FC236}">
                  <a16:creationId xmlns:a16="http://schemas.microsoft.com/office/drawing/2014/main" id="{CAF5F313-57A5-40E3-9E31-3203F11BEC4D}"/>
                </a:ext>
              </a:extLst>
            </p:cNvPr>
            <p:cNvSpPr/>
            <p:nvPr/>
          </p:nvSpPr>
          <p:spPr bwMode="auto">
            <a:xfrm>
              <a:off x="5035550" y="5588000"/>
              <a:ext cx="1006475" cy="53975"/>
            </a:xfrm>
            <a:prstGeom prst="rect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6" name="isḻîďé">
              <a:extLst>
                <a:ext uri="{FF2B5EF4-FFF2-40B4-BE49-F238E27FC236}">
                  <a16:creationId xmlns:a16="http://schemas.microsoft.com/office/drawing/2014/main" id="{5A49CA1A-67FB-492C-BD21-621B4DCFD536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249238"/>
            </a:xfrm>
            <a:custGeom>
              <a:avLst/>
              <a:gdLst>
                <a:gd name="T0" fmla="*/ 142 w 147"/>
                <a:gd name="T1" fmla="*/ 157 h 157"/>
                <a:gd name="T2" fmla="*/ 7 w 147"/>
                <a:gd name="T3" fmla="*/ 157 h 157"/>
                <a:gd name="T4" fmla="*/ 0 w 147"/>
                <a:gd name="T5" fmla="*/ 0 h 157"/>
                <a:gd name="T6" fmla="*/ 147 w 147"/>
                <a:gd name="T7" fmla="*/ 0 h 157"/>
                <a:gd name="T8" fmla="*/ 142 w 147"/>
                <a:gd name="T9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7">
                  <a:moveTo>
                    <a:pt x="142" y="157"/>
                  </a:moveTo>
                  <a:lnTo>
                    <a:pt x="7" y="157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7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7" name="îṣḷîḋé">
              <a:extLst>
                <a:ext uri="{FF2B5EF4-FFF2-40B4-BE49-F238E27FC236}">
                  <a16:creationId xmlns:a16="http://schemas.microsoft.com/office/drawing/2014/main" id="{E25F0C7E-D155-4626-98E8-6BD1BCAD3637}"/>
                </a:ext>
              </a:extLst>
            </p:cNvPr>
            <p:cNvSpPr/>
            <p:nvPr/>
          </p:nvSpPr>
          <p:spPr bwMode="auto">
            <a:xfrm>
              <a:off x="3875088" y="5392738"/>
              <a:ext cx="225425" cy="249238"/>
            </a:xfrm>
            <a:custGeom>
              <a:avLst/>
              <a:gdLst>
                <a:gd name="T0" fmla="*/ 0 w 85"/>
                <a:gd name="T1" fmla="*/ 0 h 94"/>
                <a:gd name="T2" fmla="*/ 32 w 85"/>
                <a:gd name="T3" fmla="*/ 74 h 94"/>
                <a:gd name="T4" fmla="*/ 85 w 85"/>
                <a:gd name="T5" fmla="*/ 74 h 94"/>
                <a:gd name="T6" fmla="*/ 85 w 85"/>
                <a:gd name="T7" fmla="*/ 94 h 94"/>
                <a:gd name="T8" fmla="*/ 4 w 85"/>
                <a:gd name="T9" fmla="*/ 94 h 94"/>
                <a:gd name="T10" fmla="*/ 0 w 85"/>
                <a:gd name="T11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4">
                  <a:moveTo>
                    <a:pt x="0" y="0"/>
                  </a:moveTo>
                  <a:cubicBezTo>
                    <a:pt x="0" y="0"/>
                    <a:pt x="3" y="55"/>
                    <a:pt x="32" y="74"/>
                  </a:cubicBezTo>
                  <a:cubicBezTo>
                    <a:pt x="61" y="94"/>
                    <a:pt x="85" y="74"/>
                    <a:pt x="85" y="74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4" y="94"/>
                    <a:pt x="4" y="94"/>
                    <a:pt x="4" y="9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8" name="ïslíḓe">
              <a:extLst>
                <a:ext uri="{FF2B5EF4-FFF2-40B4-BE49-F238E27FC236}">
                  <a16:creationId xmlns:a16="http://schemas.microsoft.com/office/drawing/2014/main" id="{29C868C1-3009-422B-AF69-AFB2C25B27C8}"/>
                </a:ext>
              </a:extLst>
            </p:cNvPr>
            <p:cNvSpPr/>
            <p:nvPr/>
          </p:nvSpPr>
          <p:spPr bwMode="auto">
            <a:xfrm>
              <a:off x="3943350" y="5411788"/>
              <a:ext cx="26988" cy="25400"/>
            </a:xfrm>
            <a:custGeom>
              <a:avLst/>
              <a:gdLst>
                <a:gd name="T0" fmla="*/ 0 w 10"/>
                <a:gd name="T1" fmla="*/ 5 h 10"/>
                <a:gd name="T2" fmla="*/ 5 w 10"/>
                <a:gd name="T3" fmla="*/ 1 h 10"/>
                <a:gd name="T4" fmla="*/ 9 w 10"/>
                <a:gd name="T5" fmla="*/ 6 h 10"/>
                <a:gd name="T6" fmla="*/ 4 w 10"/>
                <a:gd name="T7" fmla="*/ 10 h 10"/>
                <a:gd name="T8" fmla="*/ 0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5"/>
                  </a:moveTo>
                  <a:cubicBezTo>
                    <a:pt x="0" y="2"/>
                    <a:pt x="3" y="0"/>
                    <a:pt x="5" y="1"/>
                  </a:cubicBezTo>
                  <a:cubicBezTo>
                    <a:pt x="8" y="1"/>
                    <a:pt x="10" y="3"/>
                    <a:pt x="9" y="6"/>
                  </a:cubicBezTo>
                  <a:cubicBezTo>
                    <a:pt x="9" y="8"/>
                    <a:pt x="7" y="10"/>
                    <a:pt x="4" y="10"/>
                  </a:cubicBezTo>
                  <a:cubicBezTo>
                    <a:pt x="2" y="10"/>
                    <a:pt x="0" y="7"/>
                    <a:pt x="0" y="5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9" name="íSļîḋe">
              <a:extLst>
                <a:ext uri="{FF2B5EF4-FFF2-40B4-BE49-F238E27FC236}">
                  <a16:creationId xmlns:a16="http://schemas.microsoft.com/office/drawing/2014/main" id="{33D22A43-2DC0-43BD-9981-3A364F73FEE0}"/>
                </a:ext>
              </a:extLst>
            </p:cNvPr>
            <p:cNvSpPr/>
            <p:nvPr/>
          </p:nvSpPr>
          <p:spPr bwMode="auto">
            <a:xfrm>
              <a:off x="3957638" y="5424488"/>
              <a:ext cx="171450" cy="123825"/>
            </a:xfrm>
            <a:custGeom>
              <a:avLst/>
              <a:gdLst>
                <a:gd name="T0" fmla="*/ 0 w 65"/>
                <a:gd name="T1" fmla="*/ 0 h 47"/>
                <a:gd name="T2" fmla="*/ 65 w 65"/>
                <a:gd name="T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7">
                  <a:moveTo>
                    <a:pt x="0" y="0"/>
                  </a:moveTo>
                  <a:cubicBezTo>
                    <a:pt x="12" y="17"/>
                    <a:pt x="34" y="41"/>
                    <a:pt x="65" y="47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0" name="íŝľiḍe">
              <a:extLst>
                <a:ext uri="{FF2B5EF4-FFF2-40B4-BE49-F238E27FC236}">
                  <a16:creationId xmlns:a16="http://schemas.microsoft.com/office/drawing/2014/main" id="{11713F6C-B7FF-4E2F-A4A2-5AF6DDF7AF75}"/>
                </a:ext>
              </a:extLst>
            </p:cNvPr>
            <p:cNvSpPr/>
            <p:nvPr/>
          </p:nvSpPr>
          <p:spPr bwMode="auto">
            <a:xfrm>
              <a:off x="4105275" y="5535613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6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2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3"/>
                    <a:pt x="14" y="4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1" name="íṡļïḍe">
              <a:extLst>
                <a:ext uri="{FF2B5EF4-FFF2-40B4-BE49-F238E27FC236}">
                  <a16:creationId xmlns:a16="http://schemas.microsoft.com/office/drawing/2014/main" id="{CA55C231-15FC-4A1D-8C19-5ED00883D96F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6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6"/>
                  </a:cubicBezTo>
                  <a:cubicBezTo>
                    <a:pt x="87" y="26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2" name="iṡļíḑé">
              <a:extLst>
                <a:ext uri="{FF2B5EF4-FFF2-40B4-BE49-F238E27FC236}">
                  <a16:creationId xmlns:a16="http://schemas.microsoft.com/office/drawing/2014/main" id="{ABEDC04F-4C5F-4B64-8EBA-CFA160A1B68E}"/>
                </a:ext>
              </a:extLst>
            </p:cNvPr>
            <p:cNvSpPr/>
            <p:nvPr/>
          </p:nvSpPr>
          <p:spPr bwMode="auto">
            <a:xfrm>
              <a:off x="4049713" y="5392738"/>
              <a:ext cx="19050" cy="68263"/>
            </a:xfrm>
            <a:custGeom>
              <a:avLst/>
              <a:gdLst>
                <a:gd name="T0" fmla="*/ 3 w 7"/>
                <a:gd name="T1" fmla="*/ 26 h 26"/>
                <a:gd name="T2" fmla="*/ 3 w 7"/>
                <a:gd name="T3" fmla="*/ 26 h 26"/>
                <a:gd name="T4" fmla="*/ 0 w 7"/>
                <a:gd name="T5" fmla="*/ 22 h 26"/>
                <a:gd name="T6" fmla="*/ 0 w 7"/>
                <a:gd name="T7" fmla="*/ 0 h 26"/>
                <a:gd name="T8" fmla="*/ 7 w 7"/>
                <a:gd name="T9" fmla="*/ 0 h 26"/>
                <a:gd name="T10" fmla="*/ 7 w 7"/>
                <a:gd name="T11" fmla="*/ 22 h 26"/>
                <a:gd name="T12" fmla="*/ 3 w 7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6"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5" y="26"/>
                    <a:pt x="3" y="26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3" name="iṣ1îde">
              <a:extLst>
                <a:ext uri="{FF2B5EF4-FFF2-40B4-BE49-F238E27FC236}">
                  <a16:creationId xmlns:a16="http://schemas.microsoft.com/office/drawing/2014/main" id="{ACD087E8-9F3C-4B56-B1DE-5590F1F46004}"/>
                </a:ext>
              </a:extLst>
            </p:cNvPr>
            <p:cNvSpPr/>
            <p:nvPr/>
          </p:nvSpPr>
          <p:spPr bwMode="auto">
            <a:xfrm>
              <a:off x="3870325" y="5384800"/>
              <a:ext cx="242888" cy="7938"/>
            </a:xfrm>
            <a:custGeom>
              <a:avLst/>
              <a:gdLst>
                <a:gd name="T0" fmla="*/ 90 w 92"/>
                <a:gd name="T1" fmla="*/ 0 h 3"/>
                <a:gd name="T2" fmla="*/ 2 w 92"/>
                <a:gd name="T3" fmla="*/ 0 h 3"/>
                <a:gd name="T4" fmla="*/ 0 w 92"/>
                <a:gd name="T5" fmla="*/ 2 h 3"/>
                <a:gd name="T6" fmla="*/ 0 w 92"/>
                <a:gd name="T7" fmla="*/ 2 h 3"/>
                <a:gd name="T8" fmla="*/ 2 w 92"/>
                <a:gd name="T9" fmla="*/ 3 h 3"/>
                <a:gd name="T10" fmla="*/ 90 w 92"/>
                <a:gd name="T11" fmla="*/ 3 h 3"/>
                <a:gd name="T12" fmla="*/ 92 w 92"/>
                <a:gd name="T13" fmla="*/ 2 h 3"/>
                <a:gd name="T14" fmla="*/ 92 w 92"/>
                <a:gd name="T15" fmla="*/ 2 h 3"/>
                <a:gd name="T16" fmla="*/ 90 w 9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">
                  <a:moveTo>
                    <a:pt x="9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2" y="2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4" name="ïş1ïďé">
              <a:extLst>
                <a:ext uri="{FF2B5EF4-FFF2-40B4-BE49-F238E27FC236}">
                  <a16:creationId xmlns:a16="http://schemas.microsoft.com/office/drawing/2014/main" id="{DDCBEEDB-923A-4C2C-9F33-ED767AEF73CF}"/>
                </a:ext>
              </a:extLst>
            </p:cNvPr>
            <p:cNvSpPr/>
            <p:nvPr/>
          </p:nvSpPr>
          <p:spPr bwMode="auto">
            <a:xfrm>
              <a:off x="4049713" y="5468938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5" name="ïṥḻïḋe">
              <a:extLst>
                <a:ext uri="{FF2B5EF4-FFF2-40B4-BE49-F238E27FC236}">
                  <a16:creationId xmlns:a16="http://schemas.microsoft.com/office/drawing/2014/main" id="{98ABC332-584B-4BB9-A4F9-7DADD3FA38D9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244475"/>
            </a:xfrm>
            <a:custGeom>
              <a:avLst/>
              <a:gdLst>
                <a:gd name="T0" fmla="*/ 142 w 147"/>
                <a:gd name="T1" fmla="*/ 154 h 154"/>
                <a:gd name="T2" fmla="*/ 7 w 147"/>
                <a:gd name="T3" fmla="*/ 154 h 154"/>
                <a:gd name="T4" fmla="*/ 0 w 147"/>
                <a:gd name="T5" fmla="*/ 0 h 154"/>
                <a:gd name="T6" fmla="*/ 147 w 147"/>
                <a:gd name="T7" fmla="*/ 0 h 154"/>
                <a:gd name="T8" fmla="*/ 142 w 147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4">
                  <a:moveTo>
                    <a:pt x="142" y="154"/>
                  </a:moveTo>
                  <a:lnTo>
                    <a:pt x="7" y="154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6" name="íṥlîḋê">
              <a:extLst>
                <a:ext uri="{FF2B5EF4-FFF2-40B4-BE49-F238E27FC236}">
                  <a16:creationId xmlns:a16="http://schemas.microsoft.com/office/drawing/2014/main" id="{2D2F06CF-DE40-4924-8D4E-3ABACDA7C064}"/>
                </a:ext>
              </a:extLst>
            </p:cNvPr>
            <p:cNvSpPr/>
            <p:nvPr/>
          </p:nvSpPr>
          <p:spPr bwMode="auto">
            <a:xfrm>
              <a:off x="4759325" y="4724400"/>
              <a:ext cx="225425" cy="244475"/>
            </a:xfrm>
            <a:custGeom>
              <a:avLst/>
              <a:gdLst>
                <a:gd name="T0" fmla="*/ 0 w 85"/>
                <a:gd name="T1" fmla="*/ 0 h 93"/>
                <a:gd name="T2" fmla="*/ 32 w 85"/>
                <a:gd name="T3" fmla="*/ 74 h 93"/>
                <a:gd name="T4" fmla="*/ 85 w 85"/>
                <a:gd name="T5" fmla="*/ 74 h 93"/>
                <a:gd name="T6" fmla="*/ 85 w 85"/>
                <a:gd name="T7" fmla="*/ 93 h 93"/>
                <a:gd name="T8" fmla="*/ 4 w 85"/>
                <a:gd name="T9" fmla="*/ 93 h 93"/>
                <a:gd name="T10" fmla="*/ 0 w 85"/>
                <a:gd name="T1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3">
                  <a:moveTo>
                    <a:pt x="0" y="0"/>
                  </a:moveTo>
                  <a:cubicBezTo>
                    <a:pt x="0" y="0"/>
                    <a:pt x="3" y="54"/>
                    <a:pt x="32" y="74"/>
                  </a:cubicBezTo>
                  <a:cubicBezTo>
                    <a:pt x="61" y="93"/>
                    <a:pt x="85" y="74"/>
                    <a:pt x="85" y="74"/>
                  </a:cubicBezTo>
                  <a:cubicBezTo>
                    <a:pt x="85" y="93"/>
                    <a:pt x="85" y="93"/>
                    <a:pt x="85" y="93"/>
                  </a:cubicBezTo>
                  <a:cubicBezTo>
                    <a:pt x="4" y="93"/>
                    <a:pt x="4" y="93"/>
                    <a:pt x="4" y="9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7" name="işḷiḋè">
              <a:extLst>
                <a:ext uri="{FF2B5EF4-FFF2-40B4-BE49-F238E27FC236}">
                  <a16:creationId xmlns:a16="http://schemas.microsoft.com/office/drawing/2014/main" id="{1A65A147-B113-4C90-94FE-3E0B5B339D0D}"/>
                </a:ext>
              </a:extLst>
            </p:cNvPr>
            <p:cNvSpPr/>
            <p:nvPr/>
          </p:nvSpPr>
          <p:spPr bwMode="auto">
            <a:xfrm>
              <a:off x="4829175" y="4741863"/>
              <a:ext cx="25400" cy="23813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0 h 9"/>
                <a:gd name="T4" fmla="*/ 10 w 10"/>
                <a:gd name="T5" fmla="*/ 5 h 9"/>
                <a:gd name="T6" fmla="*/ 4 w 10"/>
                <a:gd name="T7" fmla="*/ 9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1" y="1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9" y="8"/>
                    <a:pt x="7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8" name="îSľïḑé">
              <a:extLst>
                <a:ext uri="{FF2B5EF4-FFF2-40B4-BE49-F238E27FC236}">
                  <a16:creationId xmlns:a16="http://schemas.microsoft.com/office/drawing/2014/main" id="{5227F7FF-1A7E-4F09-A456-C0374A4305F6}"/>
                </a:ext>
              </a:extLst>
            </p:cNvPr>
            <p:cNvSpPr/>
            <p:nvPr/>
          </p:nvSpPr>
          <p:spPr bwMode="auto">
            <a:xfrm>
              <a:off x="4841875" y="4756150"/>
              <a:ext cx="171450" cy="120650"/>
            </a:xfrm>
            <a:custGeom>
              <a:avLst/>
              <a:gdLst>
                <a:gd name="T0" fmla="*/ 0 w 65"/>
                <a:gd name="T1" fmla="*/ 0 h 46"/>
                <a:gd name="T2" fmla="*/ 65 w 65"/>
                <a:gd name="T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6">
                  <a:moveTo>
                    <a:pt x="0" y="0"/>
                  </a:moveTo>
                  <a:cubicBezTo>
                    <a:pt x="12" y="16"/>
                    <a:pt x="34" y="40"/>
                    <a:pt x="65" y="46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9" name="ïṧļíḍè">
              <a:extLst>
                <a:ext uri="{FF2B5EF4-FFF2-40B4-BE49-F238E27FC236}">
                  <a16:creationId xmlns:a16="http://schemas.microsoft.com/office/drawing/2014/main" id="{7A4564F7-2137-4E5F-9AAB-D2771A975695}"/>
                </a:ext>
              </a:extLst>
            </p:cNvPr>
            <p:cNvSpPr/>
            <p:nvPr/>
          </p:nvSpPr>
          <p:spPr bwMode="auto">
            <a:xfrm>
              <a:off x="4989513" y="4864100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7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3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5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3" y="0"/>
                    <a:pt x="4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0" name="ïṩľïďê">
              <a:extLst>
                <a:ext uri="{FF2B5EF4-FFF2-40B4-BE49-F238E27FC236}">
                  <a16:creationId xmlns:a16="http://schemas.microsoft.com/office/drawing/2014/main" id="{40028441-771B-4FD4-85F5-5694ECE1D47A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5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5"/>
                  </a:cubicBezTo>
                  <a:cubicBezTo>
                    <a:pt x="87" y="25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1" name="ís1íďe">
              <a:extLst>
                <a:ext uri="{FF2B5EF4-FFF2-40B4-BE49-F238E27FC236}">
                  <a16:creationId xmlns:a16="http://schemas.microsoft.com/office/drawing/2014/main" id="{B39118C1-4347-4283-90D4-9AD647C4C423}"/>
                </a:ext>
              </a:extLst>
            </p:cNvPr>
            <p:cNvSpPr/>
            <p:nvPr/>
          </p:nvSpPr>
          <p:spPr bwMode="auto">
            <a:xfrm>
              <a:off x="4933950" y="4724400"/>
              <a:ext cx="19050" cy="65088"/>
            </a:xfrm>
            <a:custGeom>
              <a:avLst/>
              <a:gdLst>
                <a:gd name="T0" fmla="*/ 3 w 7"/>
                <a:gd name="T1" fmla="*/ 25 h 25"/>
                <a:gd name="T2" fmla="*/ 3 w 7"/>
                <a:gd name="T3" fmla="*/ 25 h 25"/>
                <a:gd name="T4" fmla="*/ 0 w 7"/>
                <a:gd name="T5" fmla="*/ 22 h 25"/>
                <a:gd name="T6" fmla="*/ 0 w 7"/>
                <a:gd name="T7" fmla="*/ 0 h 25"/>
                <a:gd name="T8" fmla="*/ 7 w 7"/>
                <a:gd name="T9" fmla="*/ 0 h 25"/>
                <a:gd name="T10" fmla="*/ 7 w 7"/>
                <a:gd name="T11" fmla="*/ 22 h 25"/>
                <a:gd name="T12" fmla="*/ 3 w 7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5">
                  <a:moveTo>
                    <a:pt x="3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1" y="25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6" y="25"/>
                    <a:pt x="3" y="25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2" name="íślíḑe">
              <a:extLst>
                <a:ext uri="{FF2B5EF4-FFF2-40B4-BE49-F238E27FC236}">
                  <a16:creationId xmlns:a16="http://schemas.microsoft.com/office/drawing/2014/main" id="{408AAAFD-3C44-4979-8ADC-58A09DF036A7}"/>
                </a:ext>
              </a:extLst>
            </p:cNvPr>
            <p:cNvSpPr/>
            <p:nvPr/>
          </p:nvSpPr>
          <p:spPr bwMode="auto">
            <a:xfrm>
              <a:off x="4757738" y="4713288"/>
              <a:ext cx="239713" cy="11113"/>
            </a:xfrm>
            <a:custGeom>
              <a:avLst/>
              <a:gdLst>
                <a:gd name="T0" fmla="*/ 89 w 91"/>
                <a:gd name="T1" fmla="*/ 0 h 4"/>
                <a:gd name="T2" fmla="*/ 1 w 91"/>
                <a:gd name="T3" fmla="*/ 0 h 4"/>
                <a:gd name="T4" fmla="*/ 0 w 91"/>
                <a:gd name="T5" fmla="*/ 2 h 4"/>
                <a:gd name="T6" fmla="*/ 0 w 91"/>
                <a:gd name="T7" fmla="*/ 2 h 4"/>
                <a:gd name="T8" fmla="*/ 1 w 91"/>
                <a:gd name="T9" fmla="*/ 4 h 4"/>
                <a:gd name="T10" fmla="*/ 89 w 91"/>
                <a:gd name="T11" fmla="*/ 4 h 4"/>
                <a:gd name="T12" fmla="*/ 91 w 91"/>
                <a:gd name="T13" fmla="*/ 2 h 4"/>
                <a:gd name="T14" fmla="*/ 91 w 91"/>
                <a:gd name="T15" fmla="*/ 2 h 4"/>
                <a:gd name="T16" fmla="*/ 89 w 9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4">
                  <a:moveTo>
                    <a:pt x="8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0" y="4"/>
                    <a:pt x="91" y="3"/>
                    <a:pt x="91" y="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0" y="0"/>
                    <a:pt x="8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3" name="íṧļïḋê">
              <a:extLst>
                <a:ext uri="{FF2B5EF4-FFF2-40B4-BE49-F238E27FC236}">
                  <a16:creationId xmlns:a16="http://schemas.microsoft.com/office/drawing/2014/main" id="{1F48A8E5-8F49-42AE-9AC5-77371B0D7568}"/>
                </a:ext>
              </a:extLst>
            </p:cNvPr>
            <p:cNvSpPr/>
            <p:nvPr/>
          </p:nvSpPr>
          <p:spPr bwMode="auto">
            <a:xfrm>
              <a:off x="4933950" y="4797425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4" name="iSḻíďè">
              <a:extLst>
                <a:ext uri="{FF2B5EF4-FFF2-40B4-BE49-F238E27FC236}">
                  <a16:creationId xmlns:a16="http://schemas.microsoft.com/office/drawing/2014/main" id="{17AAC21D-5892-4E84-BEE1-DAB1DBAE444E}"/>
                </a:ext>
              </a:extLst>
            </p:cNvPr>
            <p:cNvSpPr/>
            <p:nvPr/>
          </p:nvSpPr>
          <p:spPr bwMode="auto">
            <a:xfrm>
              <a:off x="4240213" y="5610225"/>
              <a:ext cx="79375" cy="31750"/>
            </a:xfrm>
            <a:prstGeom prst="rect">
              <a:avLst/>
            </a:pr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5" name="îSlïḓê">
              <a:extLst>
                <a:ext uri="{FF2B5EF4-FFF2-40B4-BE49-F238E27FC236}">
                  <a16:creationId xmlns:a16="http://schemas.microsoft.com/office/drawing/2014/main" id="{9397DA82-6FC3-4571-913B-DB9BDD58BEEE}"/>
                </a:ext>
              </a:extLst>
            </p:cNvPr>
            <p:cNvSpPr/>
            <p:nvPr/>
          </p:nvSpPr>
          <p:spPr bwMode="auto">
            <a:xfrm>
              <a:off x="4319588" y="5610225"/>
              <a:ext cx="79375" cy="31750"/>
            </a:xfrm>
            <a:custGeom>
              <a:avLst/>
              <a:gdLst>
                <a:gd name="T0" fmla="*/ 26 w 30"/>
                <a:gd name="T1" fmla="*/ 0 h 12"/>
                <a:gd name="T2" fmla="*/ 0 w 30"/>
                <a:gd name="T3" fmla="*/ 0 h 12"/>
                <a:gd name="T4" fmla="*/ 0 w 30"/>
                <a:gd name="T5" fmla="*/ 12 h 12"/>
                <a:gd name="T6" fmla="*/ 26 w 30"/>
                <a:gd name="T7" fmla="*/ 12 h 12"/>
                <a:gd name="T8" fmla="*/ 30 w 30"/>
                <a:gd name="T9" fmla="*/ 8 h 12"/>
                <a:gd name="T10" fmla="*/ 30 w 30"/>
                <a:gd name="T11" fmla="*/ 4 h 12"/>
                <a:gd name="T12" fmla="*/ 26 w 3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9" y="12"/>
                    <a:pt x="30" y="10"/>
                    <a:pt x="30" y="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2"/>
                    <a:pt x="29" y="0"/>
                    <a:pt x="26" y="0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6" name="ís1ïḓe">
              <a:extLst>
                <a:ext uri="{FF2B5EF4-FFF2-40B4-BE49-F238E27FC236}">
                  <a16:creationId xmlns:a16="http://schemas.microsoft.com/office/drawing/2014/main" id="{6E93EE6E-596D-447E-AA05-50B34EBEE62F}"/>
                </a:ext>
              </a:extLst>
            </p:cNvPr>
            <p:cNvSpPr/>
            <p:nvPr/>
          </p:nvSpPr>
          <p:spPr bwMode="auto">
            <a:xfrm>
              <a:off x="4240213" y="5626100"/>
              <a:ext cx="79375" cy="15875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7" name="iś1íḍè">
              <a:extLst>
                <a:ext uri="{FF2B5EF4-FFF2-40B4-BE49-F238E27FC236}">
                  <a16:creationId xmlns:a16="http://schemas.microsoft.com/office/drawing/2014/main" id="{7CE93240-5FDB-43BA-B388-9C6917753D04}"/>
                </a:ext>
              </a:extLst>
            </p:cNvPr>
            <p:cNvSpPr/>
            <p:nvPr/>
          </p:nvSpPr>
          <p:spPr bwMode="auto">
            <a:xfrm>
              <a:off x="4319588" y="5626100"/>
              <a:ext cx="79375" cy="15875"/>
            </a:xfrm>
            <a:custGeom>
              <a:avLst/>
              <a:gdLst>
                <a:gd name="T0" fmla="*/ 30 w 30"/>
                <a:gd name="T1" fmla="*/ 0 h 6"/>
                <a:gd name="T2" fmla="*/ 0 w 30"/>
                <a:gd name="T3" fmla="*/ 0 h 6"/>
                <a:gd name="T4" fmla="*/ 0 w 30"/>
                <a:gd name="T5" fmla="*/ 6 h 6"/>
                <a:gd name="T6" fmla="*/ 26 w 30"/>
                <a:gd name="T7" fmla="*/ 6 h 6"/>
                <a:gd name="T8" fmla="*/ 30 w 30"/>
                <a:gd name="T9" fmla="*/ 2 h 6"/>
                <a:gd name="T10" fmla="*/ 30 w 3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9" y="6"/>
                    <a:pt x="30" y="4"/>
                    <a:pt x="30" y="2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8" name="íŝlíďé">
              <a:extLst>
                <a:ext uri="{FF2B5EF4-FFF2-40B4-BE49-F238E27FC236}">
                  <a16:creationId xmlns:a16="http://schemas.microsoft.com/office/drawing/2014/main" id="{6334D236-3372-4324-A78F-C7BBF2DB7A78}"/>
                </a:ext>
              </a:extLst>
            </p:cNvPr>
            <p:cNvSpPr/>
            <p:nvPr/>
          </p:nvSpPr>
          <p:spPr bwMode="auto">
            <a:xfrm>
              <a:off x="4398963" y="5619750"/>
              <a:ext cx="22225" cy="14288"/>
            </a:xfrm>
            <a:prstGeom prst="rect">
              <a:avLst/>
            </a:pr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9" name="ï$líďê">
              <a:extLst>
                <a:ext uri="{FF2B5EF4-FFF2-40B4-BE49-F238E27FC236}">
                  <a16:creationId xmlns:a16="http://schemas.microsoft.com/office/drawing/2014/main" id="{30DC902C-743B-4BA4-8578-342385CD71A9}"/>
                </a:ext>
              </a:extLst>
            </p:cNvPr>
            <p:cNvSpPr/>
            <p:nvPr/>
          </p:nvSpPr>
          <p:spPr bwMode="auto">
            <a:xfrm>
              <a:off x="4421188" y="5619750"/>
              <a:ext cx="80963" cy="14288"/>
            </a:xfrm>
            <a:custGeom>
              <a:avLst/>
              <a:gdLst>
                <a:gd name="T0" fmla="*/ 29 w 31"/>
                <a:gd name="T1" fmla="*/ 5 h 5"/>
                <a:gd name="T2" fmla="*/ 0 w 31"/>
                <a:gd name="T3" fmla="*/ 5 h 5"/>
                <a:gd name="T4" fmla="*/ 0 w 31"/>
                <a:gd name="T5" fmla="*/ 0 h 5"/>
                <a:gd name="T6" fmla="*/ 29 w 31"/>
                <a:gd name="T7" fmla="*/ 0 h 5"/>
                <a:gd name="T8" fmla="*/ 31 w 31"/>
                <a:gd name="T9" fmla="*/ 2 h 5"/>
                <a:gd name="T10" fmla="*/ 31 w 31"/>
                <a:gd name="T11" fmla="*/ 2 h 5"/>
                <a:gd name="T12" fmla="*/ 29 w 31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">
                  <a:moveTo>
                    <a:pt x="29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4"/>
                    <a:pt x="30" y="5"/>
                    <a:pt x="29" y="5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0" name="işlîḓê">
              <a:extLst>
                <a:ext uri="{FF2B5EF4-FFF2-40B4-BE49-F238E27FC236}">
                  <a16:creationId xmlns:a16="http://schemas.microsoft.com/office/drawing/2014/main" id="{75105E11-C002-48D2-81F7-6140D8E4A037}"/>
                </a:ext>
              </a:extLst>
            </p:cNvPr>
            <p:cNvSpPr/>
            <p:nvPr/>
          </p:nvSpPr>
          <p:spPr bwMode="auto">
            <a:xfrm>
              <a:off x="4398963" y="5626100"/>
              <a:ext cx="22225" cy="7938"/>
            </a:xfrm>
            <a:prstGeom prst="rect">
              <a:avLst/>
            </a:pr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1" name="ïŝļíďè">
              <a:extLst>
                <a:ext uri="{FF2B5EF4-FFF2-40B4-BE49-F238E27FC236}">
                  <a16:creationId xmlns:a16="http://schemas.microsoft.com/office/drawing/2014/main" id="{AF3E1E0B-6DD4-4107-B3B4-5A56A52F2812}"/>
                </a:ext>
              </a:extLst>
            </p:cNvPr>
            <p:cNvSpPr/>
            <p:nvPr/>
          </p:nvSpPr>
          <p:spPr bwMode="auto">
            <a:xfrm>
              <a:off x="4421188" y="5626100"/>
              <a:ext cx="80963" cy="7938"/>
            </a:xfrm>
            <a:custGeom>
              <a:avLst/>
              <a:gdLst>
                <a:gd name="T0" fmla="*/ 31 w 31"/>
                <a:gd name="T1" fmla="*/ 0 h 3"/>
                <a:gd name="T2" fmla="*/ 31 w 31"/>
                <a:gd name="T3" fmla="*/ 0 h 3"/>
                <a:gd name="T4" fmla="*/ 0 w 31"/>
                <a:gd name="T5" fmla="*/ 0 h 3"/>
                <a:gd name="T6" fmla="*/ 0 w 31"/>
                <a:gd name="T7" fmla="*/ 3 h 3"/>
                <a:gd name="T8" fmla="*/ 29 w 31"/>
                <a:gd name="T9" fmla="*/ 3 h 3"/>
                <a:gd name="T10" fmla="*/ 31 w 31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3"/>
                    <a:pt x="31" y="2"/>
                    <a:pt x="31" y="0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2" name="iṥ1îḑê">
              <a:extLst>
                <a:ext uri="{FF2B5EF4-FFF2-40B4-BE49-F238E27FC236}">
                  <a16:creationId xmlns:a16="http://schemas.microsoft.com/office/drawing/2014/main" id="{29997ACF-9D79-4D89-B58A-6535BBD63ACC}"/>
                </a:ext>
              </a:extLst>
            </p:cNvPr>
            <p:cNvSpPr/>
            <p:nvPr/>
          </p:nvSpPr>
          <p:spPr bwMode="auto">
            <a:xfrm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3" name="ïṧļîde">
              <a:extLst>
                <a:ext uri="{FF2B5EF4-FFF2-40B4-BE49-F238E27FC236}">
                  <a16:creationId xmlns:a16="http://schemas.microsoft.com/office/drawing/2014/main" id="{0B85B9D3-276B-4B02-916D-053624577935}"/>
                </a:ext>
              </a:extLst>
            </p:cNvPr>
            <p:cNvSpPr/>
            <p:nvPr/>
          </p:nvSpPr>
          <p:spPr bwMode="auto">
            <a:xfrm flipH="1"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4" name="is1îďé">
              <a:extLst>
                <a:ext uri="{FF2B5EF4-FFF2-40B4-BE49-F238E27FC236}">
                  <a16:creationId xmlns:a16="http://schemas.microsoft.com/office/drawing/2014/main" id="{F61D14AE-002A-4210-9C3B-3B70B425724A}"/>
                </a:ext>
              </a:extLst>
            </p:cNvPr>
            <p:cNvSpPr/>
            <p:nvPr/>
          </p:nvSpPr>
          <p:spPr bwMode="auto">
            <a:xfrm>
              <a:off x="6118225" y="3565525"/>
              <a:ext cx="1235075" cy="115888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5" name="îşliḓé">
              <a:extLst>
                <a:ext uri="{FF2B5EF4-FFF2-40B4-BE49-F238E27FC236}">
                  <a16:creationId xmlns:a16="http://schemas.microsoft.com/office/drawing/2014/main" id="{4063C4A3-CF02-409F-B06A-F76622E4CD8F}"/>
                </a:ext>
              </a:extLst>
            </p:cNvPr>
            <p:cNvSpPr/>
            <p:nvPr/>
          </p:nvSpPr>
          <p:spPr bwMode="auto">
            <a:xfrm>
              <a:off x="6121400" y="3622675"/>
              <a:ext cx="1231900" cy="58738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6" name="ïṩļiḍê">
              <a:extLst>
                <a:ext uri="{FF2B5EF4-FFF2-40B4-BE49-F238E27FC236}">
                  <a16:creationId xmlns:a16="http://schemas.microsoft.com/office/drawing/2014/main" id="{08AD2B9D-21FD-46C8-9FF6-B217648FCF2A}"/>
                </a:ext>
              </a:extLst>
            </p:cNvPr>
            <p:cNvSpPr/>
            <p:nvPr/>
          </p:nvSpPr>
          <p:spPr bwMode="auto">
            <a:xfrm>
              <a:off x="6189663" y="3681413"/>
              <a:ext cx="93663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7" name="îṧḻïḍè">
              <a:extLst>
                <a:ext uri="{FF2B5EF4-FFF2-40B4-BE49-F238E27FC236}">
                  <a16:creationId xmlns:a16="http://schemas.microsoft.com/office/drawing/2014/main" id="{FFBEF4F4-9301-4F5E-A8CF-85658D20D9D8}"/>
                </a:ext>
              </a:extLst>
            </p:cNvPr>
            <p:cNvSpPr/>
            <p:nvPr/>
          </p:nvSpPr>
          <p:spPr bwMode="auto">
            <a:xfrm>
              <a:off x="7191375" y="3681413"/>
              <a:ext cx="92075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8" name="îśļíḑe">
              <a:extLst>
                <a:ext uri="{FF2B5EF4-FFF2-40B4-BE49-F238E27FC236}">
                  <a16:creationId xmlns:a16="http://schemas.microsoft.com/office/drawing/2014/main" id="{14980F14-C338-4AF5-8C7B-4ADB70E570C0}"/>
                </a:ext>
              </a:extLst>
            </p:cNvPr>
            <p:cNvSpPr/>
            <p:nvPr/>
          </p:nvSpPr>
          <p:spPr bwMode="auto">
            <a:xfrm>
              <a:off x="6283325" y="4078288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9" name="iṥḻïḑé">
              <a:extLst>
                <a:ext uri="{FF2B5EF4-FFF2-40B4-BE49-F238E27FC236}">
                  <a16:creationId xmlns:a16="http://schemas.microsoft.com/office/drawing/2014/main" id="{78C71DB4-B8C7-4BF3-AC9B-99B86C27D29C}"/>
                </a:ext>
              </a:extLst>
            </p:cNvPr>
            <p:cNvSpPr/>
            <p:nvPr/>
          </p:nvSpPr>
          <p:spPr bwMode="auto">
            <a:xfrm>
              <a:off x="6356350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0" name="ïśḷiďê">
              <a:extLst>
                <a:ext uri="{FF2B5EF4-FFF2-40B4-BE49-F238E27FC236}">
                  <a16:creationId xmlns:a16="http://schemas.microsoft.com/office/drawing/2014/main" id="{B2CFEF42-A6E5-4334-8032-0D9A2C359E22}"/>
                </a:ext>
              </a:extLst>
            </p:cNvPr>
            <p:cNvSpPr/>
            <p:nvPr/>
          </p:nvSpPr>
          <p:spPr bwMode="auto">
            <a:xfrm>
              <a:off x="65373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1" name="işḻíḑe">
              <a:extLst>
                <a:ext uri="{FF2B5EF4-FFF2-40B4-BE49-F238E27FC236}">
                  <a16:creationId xmlns:a16="http://schemas.microsoft.com/office/drawing/2014/main" id="{0019FCCB-A555-4F78-A40E-2F517590D32A}"/>
                </a:ext>
              </a:extLst>
            </p:cNvPr>
            <p:cNvSpPr/>
            <p:nvPr/>
          </p:nvSpPr>
          <p:spPr bwMode="auto">
            <a:xfrm>
              <a:off x="6719888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2" name="íšľïḓe">
              <a:extLst>
                <a:ext uri="{FF2B5EF4-FFF2-40B4-BE49-F238E27FC236}">
                  <a16:creationId xmlns:a16="http://schemas.microsoft.com/office/drawing/2014/main" id="{18B4DE7B-7D1C-4F65-968C-62EFF0E92297}"/>
                </a:ext>
              </a:extLst>
            </p:cNvPr>
            <p:cNvSpPr/>
            <p:nvPr/>
          </p:nvSpPr>
          <p:spPr bwMode="auto">
            <a:xfrm>
              <a:off x="6899275" y="4106863"/>
              <a:ext cx="38100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3" name="íṡḷîdé">
              <a:extLst>
                <a:ext uri="{FF2B5EF4-FFF2-40B4-BE49-F238E27FC236}">
                  <a16:creationId xmlns:a16="http://schemas.microsoft.com/office/drawing/2014/main" id="{364EFD09-7E65-45A6-A519-D20FC6921C96}"/>
                </a:ext>
              </a:extLst>
            </p:cNvPr>
            <p:cNvSpPr/>
            <p:nvPr/>
          </p:nvSpPr>
          <p:spPr bwMode="auto">
            <a:xfrm>
              <a:off x="70834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4" name="ïṡľide">
              <a:extLst>
                <a:ext uri="{FF2B5EF4-FFF2-40B4-BE49-F238E27FC236}">
                  <a16:creationId xmlns:a16="http://schemas.microsoft.com/office/drawing/2014/main" id="{23731BA6-336F-411A-8AFD-47129F36729A}"/>
                </a:ext>
              </a:extLst>
            </p:cNvPr>
            <p:cNvSpPr/>
            <p:nvPr/>
          </p:nvSpPr>
          <p:spPr bwMode="auto">
            <a:xfrm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5" name="ïşḻïḋe">
              <a:extLst>
                <a:ext uri="{FF2B5EF4-FFF2-40B4-BE49-F238E27FC236}">
                  <a16:creationId xmlns:a16="http://schemas.microsoft.com/office/drawing/2014/main" id="{1DFF9A24-7177-40EF-9E2D-E7D391701E08}"/>
                </a:ext>
              </a:extLst>
            </p:cNvPr>
            <p:cNvSpPr/>
            <p:nvPr/>
          </p:nvSpPr>
          <p:spPr bwMode="auto">
            <a:xfrm flipH="1"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6" name="iṣḻïḑè">
              <a:extLst>
                <a:ext uri="{FF2B5EF4-FFF2-40B4-BE49-F238E27FC236}">
                  <a16:creationId xmlns:a16="http://schemas.microsoft.com/office/drawing/2014/main" id="{3C223B6B-7204-49AD-8F8B-7007014A1D95}"/>
                </a:ext>
              </a:extLst>
            </p:cNvPr>
            <p:cNvSpPr/>
            <p:nvPr/>
          </p:nvSpPr>
          <p:spPr bwMode="auto">
            <a:xfrm>
              <a:off x="6283325" y="457041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7" name="î$ḷíďé">
              <a:extLst>
                <a:ext uri="{FF2B5EF4-FFF2-40B4-BE49-F238E27FC236}">
                  <a16:creationId xmlns:a16="http://schemas.microsoft.com/office/drawing/2014/main" id="{8C04C025-936A-449D-A523-77E927EF31D2}"/>
                </a:ext>
              </a:extLst>
            </p:cNvPr>
            <p:cNvSpPr/>
            <p:nvPr/>
          </p:nvSpPr>
          <p:spPr bwMode="auto">
            <a:xfrm>
              <a:off x="6356350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8" name="îśḷïḑe">
              <a:extLst>
                <a:ext uri="{FF2B5EF4-FFF2-40B4-BE49-F238E27FC236}">
                  <a16:creationId xmlns:a16="http://schemas.microsoft.com/office/drawing/2014/main" id="{4875B503-8668-4DF9-8066-EDD0F1DD1661}"/>
                </a:ext>
              </a:extLst>
            </p:cNvPr>
            <p:cNvSpPr/>
            <p:nvPr/>
          </p:nvSpPr>
          <p:spPr bwMode="auto">
            <a:xfrm>
              <a:off x="65373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9" name="ï$lïḋè">
              <a:extLst>
                <a:ext uri="{FF2B5EF4-FFF2-40B4-BE49-F238E27FC236}">
                  <a16:creationId xmlns:a16="http://schemas.microsoft.com/office/drawing/2014/main" id="{7D25754C-6D3E-46B4-A375-DE11C5ED5765}"/>
                </a:ext>
              </a:extLst>
            </p:cNvPr>
            <p:cNvSpPr/>
            <p:nvPr/>
          </p:nvSpPr>
          <p:spPr bwMode="auto">
            <a:xfrm>
              <a:off x="6719888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0" name="íSḻîḑé">
              <a:extLst>
                <a:ext uri="{FF2B5EF4-FFF2-40B4-BE49-F238E27FC236}">
                  <a16:creationId xmlns:a16="http://schemas.microsoft.com/office/drawing/2014/main" id="{73832A55-7E77-41B7-83CE-8517957C36FE}"/>
                </a:ext>
              </a:extLst>
            </p:cNvPr>
            <p:cNvSpPr/>
            <p:nvPr/>
          </p:nvSpPr>
          <p:spPr bwMode="auto">
            <a:xfrm>
              <a:off x="6899275" y="4597400"/>
              <a:ext cx="38100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1" name="iṡļiḓe">
              <a:extLst>
                <a:ext uri="{FF2B5EF4-FFF2-40B4-BE49-F238E27FC236}">
                  <a16:creationId xmlns:a16="http://schemas.microsoft.com/office/drawing/2014/main" id="{4922490F-AB65-41D3-9EAD-B928D09878D5}"/>
                </a:ext>
              </a:extLst>
            </p:cNvPr>
            <p:cNvSpPr/>
            <p:nvPr/>
          </p:nvSpPr>
          <p:spPr bwMode="auto">
            <a:xfrm>
              <a:off x="70834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2" name="íṡḷídê">
              <a:extLst>
                <a:ext uri="{FF2B5EF4-FFF2-40B4-BE49-F238E27FC236}">
                  <a16:creationId xmlns:a16="http://schemas.microsoft.com/office/drawing/2014/main" id="{26CEED95-C7A2-4344-A27D-59D4C560A723}"/>
                </a:ext>
              </a:extLst>
            </p:cNvPr>
            <p:cNvSpPr/>
            <p:nvPr/>
          </p:nvSpPr>
          <p:spPr bwMode="auto">
            <a:xfrm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3" name="iṡľïḍé">
              <a:extLst>
                <a:ext uri="{FF2B5EF4-FFF2-40B4-BE49-F238E27FC236}">
                  <a16:creationId xmlns:a16="http://schemas.microsoft.com/office/drawing/2014/main" id="{EC9691ED-768A-4E48-90BE-2EEACDAB634E}"/>
                </a:ext>
              </a:extLst>
            </p:cNvPr>
            <p:cNvSpPr/>
            <p:nvPr/>
          </p:nvSpPr>
          <p:spPr bwMode="auto">
            <a:xfrm flipH="1"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4" name="íSľïdê">
              <a:extLst>
                <a:ext uri="{FF2B5EF4-FFF2-40B4-BE49-F238E27FC236}">
                  <a16:creationId xmlns:a16="http://schemas.microsoft.com/office/drawing/2014/main" id="{1060E4BA-D598-4EEB-8AC6-63EB79EC43DD}"/>
                </a:ext>
              </a:extLst>
            </p:cNvPr>
            <p:cNvSpPr/>
            <p:nvPr/>
          </p:nvSpPr>
          <p:spPr bwMode="auto">
            <a:xfrm>
              <a:off x="6283325" y="505936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5" name="ïSľíḑé">
              <a:extLst>
                <a:ext uri="{FF2B5EF4-FFF2-40B4-BE49-F238E27FC236}">
                  <a16:creationId xmlns:a16="http://schemas.microsoft.com/office/drawing/2014/main" id="{3996CDA7-9B40-499B-81F5-8BF1600452A1}"/>
                </a:ext>
              </a:extLst>
            </p:cNvPr>
            <p:cNvSpPr/>
            <p:nvPr/>
          </p:nvSpPr>
          <p:spPr bwMode="auto">
            <a:xfrm>
              <a:off x="6356350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6" name="îşḷiḋé">
              <a:extLst>
                <a:ext uri="{FF2B5EF4-FFF2-40B4-BE49-F238E27FC236}">
                  <a16:creationId xmlns:a16="http://schemas.microsoft.com/office/drawing/2014/main" id="{F1A6EE6B-CCC3-4C92-8109-7D956D2CAA32}"/>
                </a:ext>
              </a:extLst>
            </p:cNvPr>
            <p:cNvSpPr/>
            <p:nvPr/>
          </p:nvSpPr>
          <p:spPr bwMode="auto">
            <a:xfrm>
              <a:off x="65373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7" name="iṥľîḍe">
              <a:extLst>
                <a:ext uri="{FF2B5EF4-FFF2-40B4-BE49-F238E27FC236}">
                  <a16:creationId xmlns:a16="http://schemas.microsoft.com/office/drawing/2014/main" id="{4AF8C5C1-717D-4B7F-8C23-CCBFFFCF5331}"/>
                </a:ext>
              </a:extLst>
            </p:cNvPr>
            <p:cNvSpPr/>
            <p:nvPr/>
          </p:nvSpPr>
          <p:spPr bwMode="auto">
            <a:xfrm>
              <a:off x="6719888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8" name="íṥ1íďê">
              <a:extLst>
                <a:ext uri="{FF2B5EF4-FFF2-40B4-BE49-F238E27FC236}">
                  <a16:creationId xmlns:a16="http://schemas.microsoft.com/office/drawing/2014/main" id="{E6884545-0687-4ECD-A7F3-6CE8ED4677DE}"/>
                </a:ext>
              </a:extLst>
            </p:cNvPr>
            <p:cNvSpPr/>
            <p:nvPr/>
          </p:nvSpPr>
          <p:spPr bwMode="auto">
            <a:xfrm>
              <a:off x="6899275" y="5087938"/>
              <a:ext cx="38100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9" name="iṣļiḋé">
              <a:extLst>
                <a:ext uri="{FF2B5EF4-FFF2-40B4-BE49-F238E27FC236}">
                  <a16:creationId xmlns:a16="http://schemas.microsoft.com/office/drawing/2014/main" id="{1BC1AA29-B544-4947-BE9F-5937BF595089}"/>
                </a:ext>
              </a:extLst>
            </p:cNvPr>
            <p:cNvSpPr/>
            <p:nvPr/>
          </p:nvSpPr>
          <p:spPr bwMode="auto">
            <a:xfrm>
              <a:off x="70834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0" name="íślîḋê">
              <a:extLst>
                <a:ext uri="{FF2B5EF4-FFF2-40B4-BE49-F238E27FC236}">
                  <a16:creationId xmlns:a16="http://schemas.microsoft.com/office/drawing/2014/main" id="{55933BC2-FB90-4CAB-AEE1-D287E47972EC}"/>
                </a:ext>
              </a:extLst>
            </p:cNvPr>
            <p:cNvSpPr/>
            <p:nvPr/>
          </p:nvSpPr>
          <p:spPr bwMode="auto">
            <a:xfrm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1" name="îṧḻiḓe">
              <a:extLst>
                <a:ext uri="{FF2B5EF4-FFF2-40B4-BE49-F238E27FC236}">
                  <a16:creationId xmlns:a16="http://schemas.microsoft.com/office/drawing/2014/main" id="{BB64666F-9B6A-4EAD-9DC9-97F012075404}"/>
                </a:ext>
              </a:extLst>
            </p:cNvPr>
            <p:cNvSpPr/>
            <p:nvPr/>
          </p:nvSpPr>
          <p:spPr bwMode="auto">
            <a:xfrm flipH="1"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2" name="iş1ïḓê">
              <a:extLst>
                <a:ext uri="{FF2B5EF4-FFF2-40B4-BE49-F238E27FC236}">
                  <a16:creationId xmlns:a16="http://schemas.microsoft.com/office/drawing/2014/main" id="{6A85EDED-FC29-49F1-BECD-F94D138EFCA8}"/>
                </a:ext>
              </a:extLst>
            </p:cNvPr>
            <p:cNvSpPr/>
            <p:nvPr/>
          </p:nvSpPr>
          <p:spPr bwMode="auto">
            <a:xfrm>
              <a:off x="6283325" y="5548313"/>
              <a:ext cx="908050" cy="93663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3" name="iṧļiḑè">
              <a:extLst>
                <a:ext uri="{FF2B5EF4-FFF2-40B4-BE49-F238E27FC236}">
                  <a16:creationId xmlns:a16="http://schemas.microsoft.com/office/drawing/2014/main" id="{83792892-EAFE-4132-AF61-DDFD87E2231D}"/>
                </a:ext>
              </a:extLst>
            </p:cNvPr>
            <p:cNvSpPr/>
            <p:nvPr/>
          </p:nvSpPr>
          <p:spPr bwMode="auto">
            <a:xfrm>
              <a:off x="6356350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4" name="ïṣ1îḍê">
              <a:extLst>
                <a:ext uri="{FF2B5EF4-FFF2-40B4-BE49-F238E27FC236}">
                  <a16:creationId xmlns:a16="http://schemas.microsoft.com/office/drawing/2014/main" id="{00E91DF8-A600-40D8-B44F-C3567CA47C56}"/>
                </a:ext>
              </a:extLst>
            </p:cNvPr>
            <p:cNvSpPr/>
            <p:nvPr/>
          </p:nvSpPr>
          <p:spPr bwMode="auto">
            <a:xfrm>
              <a:off x="65373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5" name="ïśḷiḓê">
              <a:extLst>
                <a:ext uri="{FF2B5EF4-FFF2-40B4-BE49-F238E27FC236}">
                  <a16:creationId xmlns:a16="http://schemas.microsoft.com/office/drawing/2014/main" id="{61E97DD7-5521-4D4F-B08B-31F8845D58A7}"/>
                </a:ext>
              </a:extLst>
            </p:cNvPr>
            <p:cNvSpPr/>
            <p:nvPr/>
          </p:nvSpPr>
          <p:spPr bwMode="auto">
            <a:xfrm>
              <a:off x="6719888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6" name="iṡlîďé">
              <a:extLst>
                <a:ext uri="{FF2B5EF4-FFF2-40B4-BE49-F238E27FC236}">
                  <a16:creationId xmlns:a16="http://schemas.microsoft.com/office/drawing/2014/main" id="{8DA7F7D8-91AF-4EB6-A6D2-E14348DE7A4E}"/>
                </a:ext>
              </a:extLst>
            </p:cNvPr>
            <p:cNvSpPr/>
            <p:nvPr/>
          </p:nvSpPr>
          <p:spPr bwMode="auto">
            <a:xfrm>
              <a:off x="6899275" y="5578475"/>
              <a:ext cx="38100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7" name="íSḷïde">
              <a:extLst>
                <a:ext uri="{FF2B5EF4-FFF2-40B4-BE49-F238E27FC236}">
                  <a16:creationId xmlns:a16="http://schemas.microsoft.com/office/drawing/2014/main" id="{07F42A09-85EA-40C4-AF09-C323CFB55077}"/>
                </a:ext>
              </a:extLst>
            </p:cNvPr>
            <p:cNvSpPr/>
            <p:nvPr/>
          </p:nvSpPr>
          <p:spPr bwMode="auto">
            <a:xfrm>
              <a:off x="70834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8" name="îSḻîdè">
              <a:extLst>
                <a:ext uri="{FF2B5EF4-FFF2-40B4-BE49-F238E27FC236}">
                  <a16:creationId xmlns:a16="http://schemas.microsoft.com/office/drawing/2014/main" id="{CADB6879-E92F-4CC4-AAE3-BF8B777A3A55}"/>
                </a:ext>
              </a:extLst>
            </p:cNvPr>
            <p:cNvSpPr/>
            <p:nvPr/>
          </p:nvSpPr>
          <p:spPr bwMode="auto">
            <a:xfrm>
              <a:off x="5229225" y="3236913"/>
              <a:ext cx="71438" cy="84138"/>
            </a:xfrm>
            <a:custGeom>
              <a:avLst/>
              <a:gdLst>
                <a:gd name="T0" fmla="*/ 0 w 45"/>
                <a:gd name="T1" fmla="*/ 42 h 53"/>
                <a:gd name="T2" fmla="*/ 28 w 45"/>
                <a:gd name="T3" fmla="*/ 0 h 53"/>
                <a:gd name="T4" fmla="*/ 45 w 45"/>
                <a:gd name="T5" fmla="*/ 12 h 53"/>
                <a:gd name="T6" fmla="*/ 16 w 45"/>
                <a:gd name="T7" fmla="*/ 53 h 53"/>
                <a:gd name="T8" fmla="*/ 0 w 4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3">
                  <a:moveTo>
                    <a:pt x="0" y="42"/>
                  </a:moveTo>
                  <a:lnTo>
                    <a:pt x="28" y="0"/>
                  </a:lnTo>
                  <a:lnTo>
                    <a:pt x="45" y="12"/>
                  </a:lnTo>
                  <a:lnTo>
                    <a:pt x="16" y="53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9" name="ïsḷïḓé">
              <a:extLst>
                <a:ext uri="{FF2B5EF4-FFF2-40B4-BE49-F238E27FC236}">
                  <a16:creationId xmlns:a16="http://schemas.microsoft.com/office/drawing/2014/main" id="{B2EEF2FD-3B4D-4099-B120-471EA19E1C34}"/>
                </a:ext>
              </a:extLst>
            </p:cNvPr>
            <p:cNvSpPr/>
            <p:nvPr/>
          </p:nvSpPr>
          <p:spPr bwMode="auto">
            <a:xfrm>
              <a:off x="5186363" y="3303588"/>
              <a:ext cx="68263" cy="80963"/>
            </a:xfrm>
            <a:custGeom>
              <a:avLst/>
              <a:gdLst>
                <a:gd name="T0" fmla="*/ 1 w 26"/>
                <a:gd name="T1" fmla="*/ 21 h 31"/>
                <a:gd name="T2" fmla="*/ 16 w 26"/>
                <a:gd name="T3" fmla="*/ 0 h 31"/>
                <a:gd name="T4" fmla="*/ 26 w 26"/>
                <a:gd name="T5" fmla="*/ 7 h 31"/>
                <a:gd name="T6" fmla="*/ 11 w 26"/>
                <a:gd name="T7" fmla="*/ 28 h 31"/>
                <a:gd name="T8" fmla="*/ 5 w 26"/>
                <a:gd name="T9" fmla="*/ 29 h 31"/>
                <a:gd name="T10" fmla="*/ 2 w 26"/>
                <a:gd name="T11" fmla="*/ 27 h 31"/>
                <a:gd name="T12" fmla="*/ 1 w 26"/>
                <a:gd name="T1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1">
                  <a:moveTo>
                    <a:pt x="1" y="21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9" y="30"/>
                    <a:pt x="7" y="31"/>
                    <a:pt x="5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6"/>
                    <a:pt x="0" y="23"/>
                    <a:pt x="1" y="21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0" name="îSľiḋè">
              <a:extLst>
                <a:ext uri="{FF2B5EF4-FFF2-40B4-BE49-F238E27FC236}">
                  <a16:creationId xmlns:a16="http://schemas.microsoft.com/office/drawing/2014/main" id="{622EDE9C-8162-48CB-99EF-B3997E6F81D0}"/>
                </a:ext>
              </a:extLst>
            </p:cNvPr>
            <p:cNvSpPr/>
            <p:nvPr/>
          </p:nvSpPr>
          <p:spPr bwMode="auto">
            <a:xfrm>
              <a:off x="5241925" y="3248025"/>
              <a:ext cx="58738" cy="73025"/>
            </a:xfrm>
            <a:custGeom>
              <a:avLst/>
              <a:gdLst>
                <a:gd name="T0" fmla="*/ 0 w 37"/>
                <a:gd name="T1" fmla="*/ 40 h 46"/>
                <a:gd name="T2" fmla="*/ 28 w 37"/>
                <a:gd name="T3" fmla="*/ 0 h 46"/>
                <a:gd name="T4" fmla="*/ 37 w 37"/>
                <a:gd name="T5" fmla="*/ 5 h 46"/>
                <a:gd name="T6" fmla="*/ 8 w 37"/>
                <a:gd name="T7" fmla="*/ 46 h 46"/>
                <a:gd name="T8" fmla="*/ 0 w 37"/>
                <a:gd name="T9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6">
                  <a:moveTo>
                    <a:pt x="0" y="40"/>
                  </a:moveTo>
                  <a:lnTo>
                    <a:pt x="28" y="0"/>
                  </a:lnTo>
                  <a:lnTo>
                    <a:pt x="37" y="5"/>
                  </a:lnTo>
                  <a:lnTo>
                    <a:pt x="8" y="46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1" name="íS1iḓè">
              <a:extLst>
                <a:ext uri="{FF2B5EF4-FFF2-40B4-BE49-F238E27FC236}">
                  <a16:creationId xmlns:a16="http://schemas.microsoft.com/office/drawing/2014/main" id="{7B132FDE-6F8A-439A-9428-092FCD3B55FD}"/>
                </a:ext>
              </a:extLst>
            </p:cNvPr>
            <p:cNvSpPr/>
            <p:nvPr/>
          </p:nvSpPr>
          <p:spPr bwMode="auto">
            <a:xfrm>
              <a:off x="5194300" y="3311525"/>
              <a:ext cx="60325" cy="73025"/>
            </a:xfrm>
            <a:custGeom>
              <a:avLst/>
              <a:gdLst>
                <a:gd name="T0" fmla="*/ 0 w 23"/>
                <a:gd name="T1" fmla="*/ 25 h 28"/>
                <a:gd name="T2" fmla="*/ 18 w 23"/>
                <a:gd name="T3" fmla="*/ 0 h 28"/>
                <a:gd name="T4" fmla="*/ 23 w 23"/>
                <a:gd name="T5" fmla="*/ 4 h 28"/>
                <a:gd name="T6" fmla="*/ 8 w 23"/>
                <a:gd name="T7" fmla="*/ 25 h 28"/>
                <a:gd name="T8" fmla="*/ 2 w 23"/>
                <a:gd name="T9" fmla="*/ 26 h 28"/>
                <a:gd name="T10" fmla="*/ 0 w 23"/>
                <a:gd name="T11" fmla="*/ 2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8">
                  <a:moveTo>
                    <a:pt x="0" y="25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6" y="27"/>
                    <a:pt x="4" y="28"/>
                    <a:pt x="2" y="26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2" name="îṩḷïďè">
              <a:extLst>
                <a:ext uri="{FF2B5EF4-FFF2-40B4-BE49-F238E27FC236}">
                  <a16:creationId xmlns:a16="http://schemas.microsoft.com/office/drawing/2014/main" id="{1498D65B-BE1B-46FC-843A-815186FC727D}"/>
                </a:ext>
              </a:extLst>
            </p:cNvPr>
            <p:cNvSpPr/>
            <p:nvPr/>
          </p:nvSpPr>
          <p:spPr bwMode="auto">
            <a:xfrm>
              <a:off x="5178425" y="3375025"/>
              <a:ext cx="23813" cy="23813"/>
            </a:xfrm>
            <a:custGeom>
              <a:avLst/>
              <a:gdLst>
                <a:gd name="T0" fmla="*/ 8 w 15"/>
                <a:gd name="T1" fmla="*/ 15 h 15"/>
                <a:gd name="T2" fmla="*/ 15 w 15"/>
                <a:gd name="T3" fmla="*/ 5 h 15"/>
                <a:gd name="T4" fmla="*/ 8 w 15"/>
                <a:gd name="T5" fmla="*/ 0 h 15"/>
                <a:gd name="T6" fmla="*/ 0 w 15"/>
                <a:gd name="T7" fmla="*/ 10 h 15"/>
                <a:gd name="T8" fmla="*/ 8 w 1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8" y="15"/>
                  </a:moveTo>
                  <a:lnTo>
                    <a:pt x="15" y="5"/>
                  </a:lnTo>
                  <a:lnTo>
                    <a:pt x="8" y="0"/>
                  </a:lnTo>
                  <a:lnTo>
                    <a:pt x="0" y="10"/>
                  </a:lnTo>
                  <a:lnTo>
                    <a:pt x="8" y="15"/>
                  </a:lnTo>
                  <a:close/>
                </a:path>
              </a:pathLst>
            </a:cu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3" name="îşļidè">
              <a:extLst>
                <a:ext uri="{FF2B5EF4-FFF2-40B4-BE49-F238E27FC236}">
                  <a16:creationId xmlns:a16="http://schemas.microsoft.com/office/drawing/2014/main" id="{1949BB1D-6E98-4B76-8402-F7BD9D8447CA}"/>
                </a:ext>
              </a:extLst>
            </p:cNvPr>
            <p:cNvSpPr/>
            <p:nvPr/>
          </p:nvSpPr>
          <p:spPr bwMode="auto">
            <a:xfrm>
              <a:off x="5133975" y="3390900"/>
              <a:ext cx="57150" cy="73025"/>
            </a:xfrm>
            <a:custGeom>
              <a:avLst/>
              <a:gdLst>
                <a:gd name="T0" fmla="*/ 5 w 22"/>
                <a:gd name="T1" fmla="*/ 27 h 28"/>
                <a:gd name="T2" fmla="*/ 22 w 22"/>
                <a:gd name="T3" fmla="*/ 3 h 28"/>
                <a:gd name="T4" fmla="*/ 17 w 22"/>
                <a:gd name="T5" fmla="*/ 0 h 28"/>
                <a:gd name="T6" fmla="*/ 1 w 22"/>
                <a:gd name="T7" fmla="*/ 24 h 28"/>
                <a:gd name="T8" fmla="*/ 1 w 22"/>
                <a:gd name="T9" fmla="*/ 27 h 28"/>
                <a:gd name="T10" fmla="*/ 1 w 22"/>
                <a:gd name="T11" fmla="*/ 27 h 28"/>
                <a:gd name="T12" fmla="*/ 5 w 22"/>
                <a:gd name="T13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5" y="27"/>
                  </a:moveTo>
                  <a:cubicBezTo>
                    <a:pt x="22" y="3"/>
                    <a:pt x="22" y="3"/>
                    <a:pt x="22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5"/>
                    <a:pt x="0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3" y="28"/>
                    <a:pt x="4" y="28"/>
                    <a:pt x="5" y="27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4" name="ï$líḋé">
              <a:extLst>
                <a:ext uri="{FF2B5EF4-FFF2-40B4-BE49-F238E27FC236}">
                  <a16:creationId xmlns:a16="http://schemas.microsoft.com/office/drawing/2014/main" id="{232D2721-D53B-468A-9EAF-B7ADB9D94279}"/>
                </a:ext>
              </a:extLst>
            </p:cNvPr>
            <p:cNvSpPr/>
            <p:nvPr/>
          </p:nvSpPr>
          <p:spPr bwMode="auto">
            <a:xfrm>
              <a:off x="5183188" y="3376613"/>
              <a:ext cx="19050" cy="22225"/>
            </a:xfrm>
            <a:custGeom>
              <a:avLst/>
              <a:gdLst>
                <a:gd name="T0" fmla="*/ 7 w 12"/>
                <a:gd name="T1" fmla="*/ 0 h 14"/>
                <a:gd name="T2" fmla="*/ 0 w 12"/>
                <a:gd name="T3" fmla="*/ 10 h 14"/>
                <a:gd name="T4" fmla="*/ 5 w 12"/>
                <a:gd name="T5" fmla="*/ 14 h 14"/>
                <a:gd name="T6" fmla="*/ 12 w 12"/>
                <a:gd name="T7" fmla="*/ 4 h 14"/>
                <a:gd name="T8" fmla="*/ 7 w 12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7" y="0"/>
                  </a:moveTo>
                  <a:lnTo>
                    <a:pt x="0" y="10"/>
                  </a:lnTo>
                  <a:lnTo>
                    <a:pt x="5" y="14"/>
                  </a:lnTo>
                  <a:lnTo>
                    <a:pt x="12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5" name="iṡļídê">
              <a:extLst>
                <a:ext uri="{FF2B5EF4-FFF2-40B4-BE49-F238E27FC236}">
                  <a16:creationId xmlns:a16="http://schemas.microsoft.com/office/drawing/2014/main" id="{3399FDCF-1A75-438B-BE29-E6C1FCED2B4D}"/>
                </a:ext>
              </a:extLst>
            </p:cNvPr>
            <p:cNvSpPr/>
            <p:nvPr/>
          </p:nvSpPr>
          <p:spPr bwMode="auto">
            <a:xfrm>
              <a:off x="5135563" y="3392488"/>
              <a:ext cx="55563" cy="71438"/>
            </a:xfrm>
            <a:custGeom>
              <a:avLst/>
              <a:gdLst>
                <a:gd name="T0" fmla="*/ 0 w 21"/>
                <a:gd name="T1" fmla="*/ 26 h 27"/>
                <a:gd name="T2" fmla="*/ 0 w 21"/>
                <a:gd name="T3" fmla="*/ 26 h 27"/>
                <a:gd name="T4" fmla="*/ 18 w 21"/>
                <a:gd name="T5" fmla="*/ 0 h 27"/>
                <a:gd name="T6" fmla="*/ 21 w 21"/>
                <a:gd name="T7" fmla="*/ 2 h 27"/>
                <a:gd name="T8" fmla="*/ 4 w 21"/>
                <a:gd name="T9" fmla="*/ 26 h 27"/>
                <a:gd name="T10" fmla="*/ 0 w 21"/>
                <a:gd name="T1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7">
                  <a:moveTo>
                    <a:pt x="0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7"/>
                    <a:pt x="2" y="27"/>
                    <a:pt x="0" y="26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6" name="íśḷíḍê">
              <a:extLst>
                <a:ext uri="{FF2B5EF4-FFF2-40B4-BE49-F238E27FC236}">
                  <a16:creationId xmlns:a16="http://schemas.microsoft.com/office/drawing/2014/main" id="{65F8A47A-E2A6-41FE-94A0-ACBC23899B78}"/>
                </a:ext>
              </a:extLst>
            </p:cNvPr>
            <p:cNvSpPr/>
            <p:nvPr/>
          </p:nvSpPr>
          <p:spPr bwMode="auto">
            <a:xfrm>
              <a:off x="4600575" y="4141788"/>
              <a:ext cx="177800" cy="762000"/>
            </a:xfrm>
            <a:custGeom>
              <a:avLst/>
              <a:gdLst>
                <a:gd name="T0" fmla="*/ 0 w 112"/>
                <a:gd name="T1" fmla="*/ 0 h 480"/>
                <a:gd name="T2" fmla="*/ 22 w 112"/>
                <a:gd name="T3" fmla="*/ 235 h 480"/>
                <a:gd name="T4" fmla="*/ 17 w 112"/>
                <a:gd name="T5" fmla="*/ 480 h 480"/>
                <a:gd name="T6" fmla="*/ 54 w 112"/>
                <a:gd name="T7" fmla="*/ 480 h 480"/>
                <a:gd name="T8" fmla="*/ 105 w 112"/>
                <a:gd name="T9" fmla="*/ 237 h 480"/>
                <a:gd name="T10" fmla="*/ 112 w 112"/>
                <a:gd name="T11" fmla="*/ 0 h 480"/>
                <a:gd name="T12" fmla="*/ 0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0" y="0"/>
                  </a:moveTo>
                  <a:lnTo>
                    <a:pt x="22" y="235"/>
                  </a:lnTo>
                  <a:lnTo>
                    <a:pt x="17" y="480"/>
                  </a:lnTo>
                  <a:lnTo>
                    <a:pt x="54" y="480"/>
                  </a:lnTo>
                  <a:lnTo>
                    <a:pt x="105" y="237"/>
                  </a:lnTo>
                  <a:lnTo>
                    <a:pt x="1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7" name="ïṥlîďé">
              <a:extLst>
                <a:ext uri="{FF2B5EF4-FFF2-40B4-BE49-F238E27FC236}">
                  <a16:creationId xmlns:a16="http://schemas.microsoft.com/office/drawing/2014/main" id="{793F4CEF-B44F-4D6A-9533-21017B444C96}"/>
                </a:ext>
              </a:extLst>
            </p:cNvPr>
            <p:cNvSpPr/>
            <p:nvPr/>
          </p:nvSpPr>
          <p:spPr bwMode="auto">
            <a:xfrm>
              <a:off x="4614863" y="4141788"/>
              <a:ext cx="303213" cy="762000"/>
            </a:xfrm>
            <a:custGeom>
              <a:avLst/>
              <a:gdLst>
                <a:gd name="T0" fmla="*/ 128 w 191"/>
                <a:gd name="T1" fmla="*/ 0 h 480"/>
                <a:gd name="T2" fmla="*/ 191 w 191"/>
                <a:gd name="T3" fmla="*/ 220 h 480"/>
                <a:gd name="T4" fmla="*/ 118 w 191"/>
                <a:gd name="T5" fmla="*/ 480 h 480"/>
                <a:gd name="T6" fmla="*/ 81 w 191"/>
                <a:gd name="T7" fmla="*/ 480 h 480"/>
                <a:gd name="T8" fmla="*/ 110 w 191"/>
                <a:gd name="T9" fmla="*/ 230 h 480"/>
                <a:gd name="T10" fmla="*/ 0 w 191"/>
                <a:gd name="T11" fmla="*/ 0 h 480"/>
                <a:gd name="T12" fmla="*/ 128 w 191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480">
                  <a:moveTo>
                    <a:pt x="128" y="0"/>
                  </a:moveTo>
                  <a:lnTo>
                    <a:pt x="191" y="220"/>
                  </a:lnTo>
                  <a:lnTo>
                    <a:pt x="118" y="480"/>
                  </a:lnTo>
                  <a:lnTo>
                    <a:pt x="81" y="480"/>
                  </a:lnTo>
                  <a:lnTo>
                    <a:pt x="110" y="230"/>
                  </a:lnTo>
                  <a:lnTo>
                    <a:pt x="0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8" name="îslídê">
              <a:extLst>
                <a:ext uri="{FF2B5EF4-FFF2-40B4-BE49-F238E27FC236}">
                  <a16:creationId xmlns:a16="http://schemas.microsoft.com/office/drawing/2014/main" id="{29B53A95-3FFE-4F37-9B8C-3CD17579BFEE}"/>
                </a:ext>
              </a:extLst>
            </p:cNvPr>
            <p:cNvSpPr/>
            <p:nvPr/>
          </p:nvSpPr>
          <p:spPr bwMode="auto">
            <a:xfrm>
              <a:off x="4733925" y="4903788"/>
              <a:ext cx="215900" cy="65088"/>
            </a:xfrm>
            <a:custGeom>
              <a:avLst/>
              <a:gdLst>
                <a:gd name="T0" fmla="*/ 4 w 82"/>
                <a:gd name="T1" fmla="*/ 0 h 25"/>
                <a:gd name="T2" fmla="*/ 0 w 82"/>
                <a:gd name="T3" fmla="*/ 25 h 25"/>
                <a:gd name="T4" fmla="*/ 79 w 82"/>
                <a:gd name="T5" fmla="*/ 25 h 25"/>
                <a:gd name="T6" fmla="*/ 82 w 82"/>
                <a:gd name="T7" fmla="*/ 17 h 25"/>
                <a:gd name="T8" fmla="*/ 29 w 82"/>
                <a:gd name="T9" fmla="*/ 4 h 25"/>
                <a:gd name="T10" fmla="*/ 26 w 82"/>
                <a:gd name="T11" fmla="*/ 0 h 25"/>
                <a:gd name="T12" fmla="*/ 4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1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9" name="iŝ1ïde">
              <a:extLst>
                <a:ext uri="{FF2B5EF4-FFF2-40B4-BE49-F238E27FC236}">
                  <a16:creationId xmlns:a16="http://schemas.microsoft.com/office/drawing/2014/main" id="{A4EF147C-03A1-4E3A-8733-1F74AE381EA9}"/>
                </a:ext>
              </a:extLst>
            </p:cNvPr>
            <p:cNvSpPr/>
            <p:nvPr/>
          </p:nvSpPr>
          <p:spPr bwMode="auto">
            <a:xfrm>
              <a:off x="4616450" y="4903788"/>
              <a:ext cx="220663" cy="65088"/>
            </a:xfrm>
            <a:custGeom>
              <a:avLst/>
              <a:gdLst>
                <a:gd name="T0" fmla="*/ 4 w 83"/>
                <a:gd name="T1" fmla="*/ 0 h 25"/>
                <a:gd name="T2" fmla="*/ 0 w 83"/>
                <a:gd name="T3" fmla="*/ 25 h 25"/>
                <a:gd name="T4" fmla="*/ 79 w 83"/>
                <a:gd name="T5" fmla="*/ 25 h 25"/>
                <a:gd name="T6" fmla="*/ 83 w 83"/>
                <a:gd name="T7" fmla="*/ 17 h 25"/>
                <a:gd name="T8" fmla="*/ 29 w 83"/>
                <a:gd name="T9" fmla="*/ 4 h 25"/>
                <a:gd name="T10" fmla="*/ 26 w 83"/>
                <a:gd name="T11" fmla="*/ 0 h 25"/>
                <a:gd name="T12" fmla="*/ 4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2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0" name="isḻíďè">
              <a:extLst>
                <a:ext uri="{FF2B5EF4-FFF2-40B4-BE49-F238E27FC236}">
                  <a16:creationId xmlns:a16="http://schemas.microsoft.com/office/drawing/2014/main" id="{038720FD-BF98-4978-9E88-DAA04207FBB0}"/>
                </a:ext>
              </a:extLst>
            </p:cNvPr>
            <p:cNvSpPr/>
            <p:nvPr/>
          </p:nvSpPr>
          <p:spPr bwMode="auto">
            <a:xfrm>
              <a:off x="4608513" y="3629025"/>
              <a:ext cx="106363" cy="128588"/>
            </a:xfrm>
            <a:custGeom>
              <a:avLst/>
              <a:gdLst>
                <a:gd name="T0" fmla="*/ 11 w 40"/>
                <a:gd name="T1" fmla="*/ 0 h 49"/>
                <a:gd name="T2" fmla="*/ 0 w 40"/>
                <a:gd name="T3" fmla="*/ 33 h 49"/>
                <a:gd name="T4" fmla="*/ 29 w 40"/>
                <a:gd name="T5" fmla="*/ 46 h 49"/>
                <a:gd name="T6" fmla="*/ 40 w 40"/>
                <a:gd name="T7" fmla="*/ 11 h 49"/>
                <a:gd name="T8" fmla="*/ 11 w 40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9">
                  <a:moveTo>
                    <a:pt x="11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2" y="38"/>
                    <a:pt x="11" y="49"/>
                    <a:pt x="29" y="46"/>
                  </a:cubicBezTo>
                  <a:cubicBezTo>
                    <a:pt x="30" y="43"/>
                    <a:pt x="40" y="11"/>
                    <a:pt x="40" y="11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1" name="î$ľïḑé">
              <a:extLst>
                <a:ext uri="{FF2B5EF4-FFF2-40B4-BE49-F238E27FC236}">
                  <a16:creationId xmlns:a16="http://schemas.microsoft.com/office/drawing/2014/main" id="{0F3BB526-CD70-4049-BCC2-8934217E716A}"/>
                </a:ext>
              </a:extLst>
            </p:cNvPr>
            <p:cNvSpPr/>
            <p:nvPr/>
          </p:nvSpPr>
          <p:spPr bwMode="auto">
            <a:xfrm>
              <a:off x="4576763" y="3427413"/>
              <a:ext cx="220663" cy="249238"/>
            </a:xfrm>
            <a:custGeom>
              <a:avLst/>
              <a:gdLst>
                <a:gd name="T0" fmla="*/ 61 w 83"/>
                <a:gd name="T1" fmla="*/ 87 h 94"/>
                <a:gd name="T2" fmla="*/ 61 w 83"/>
                <a:gd name="T3" fmla="*/ 87 h 94"/>
                <a:gd name="T4" fmla="*/ 18 w 83"/>
                <a:gd name="T5" fmla="*/ 72 h 94"/>
                <a:gd name="T6" fmla="*/ 8 w 83"/>
                <a:gd name="T7" fmla="*/ 50 h 94"/>
                <a:gd name="T8" fmla="*/ 23 w 83"/>
                <a:gd name="T9" fmla="*/ 8 h 94"/>
                <a:gd name="T10" fmla="*/ 23 w 83"/>
                <a:gd name="T11" fmla="*/ 8 h 94"/>
                <a:gd name="T12" fmla="*/ 65 w 83"/>
                <a:gd name="T13" fmla="*/ 23 h 94"/>
                <a:gd name="T14" fmla="*/ 76 w 83"/>
                <a:gd name="T15" fmla="*/ 44 h 94"/>
                <a:gd name="T16" fmla="*/ 61 w 83"/>
                <a:gd name="T17" fmla="*/ 8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94">
                  <a:moveTo>
                    <a:pt x="61" y="87"/>
                  </a:moveTo>
                  <a:cubicBezTo>
                    <a:pt x="61" y="87"/>
                    <a:pt x="61" y="87"/>
                    <a:pt x="61" y="87"/>
                  </a:cubicBezTo>
                  <a:cubicBezTo>
                    <a:pt x="45" y="94"/>
                    <a:pt x="26" y="88"/>
                    <a:pt x="18" y="72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0" y="35"/>
                    <a:pt x="7" y="16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39" y="0"/>
                    <a:pt x="58" y="7"/>
                    <a:pt x="65" y="2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83" y="60"/>
                    <a:pt x="77" y="79"/>
                    <a:pt x="61" y="87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2" name="îṡľîdè">
              <a:extLst>
                <a:ext uri="{FF2B5EF4-FFF2-40B4-BE49-F238E27FC236}">
                  <a16:creationId xmlns:a16="http://schemas.microsoft.com/office/drawing/2014/main" id="{EB3320E2-93EE-4CF9-8CD4-A5711270CCE0}"/>
                </a:ext>
              </a:extLst>
            </p:cNvPr>
            <p:cNvSpPr/>
            <p:nvPr/>
          </p:nvSpPr>
          <p:spPr bwMode="auto">
            <a:xfrm>
              <a:off x="4573588" y="3665538"/>
              <a:ext cx="260350" cy="512763"/>
            </a:xfrm>
            <a:custGeom>
              <a:avLst/>
              <a:gdLst>
                <a:gd name="T0" fmla="*/ 0 w 164"/>
                <a:gd name="T1" fmla="*/ 0 h 323"/>
                <a:gd name="T2" fmla="*/ 112 w 164"/>
                <a:gd name="T3" fmla="*/ 72 h 323"/>
                <a:gd name="T4" fmla="*/ 164 w 164"/>
                <a:gd name="T5" fmla="*/ 302 h 323"/>
                <a:gd name="T6" fmla="*/ 10 w 164"/>
                <a:gd name="T7" fmla="*/ 323 h 323"/>
                <a:gd name="T8" fmla="*/ 0 w 164"/>
                <a:gd name="T9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323">
                  <a:moveTo>
                    <a:pt x="0" y="0"/>
                  </a:moveTo>
                  <a:lnTo>
                    <a:pt x="112" y="72"/>
                  </a:lnTo>
                  <a:lnTo>
                    <a:pt x="164" y="302"/>
                  </a:lnTo>
                  <a:lnTo>
                    <a:pt x="10" y="3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3" name="iṩlïḓe">
              <a:extLst>
                <a:ext uri="{FF2B5EF4-FFF2-40B4-BE49-F238E27FC236}">
                  <a16:creationId xmlns:a16="http://schemas.microsoft.com/office/drawing/2014/main" id="{D1405692-8EC7-4184-8E26-07A9812D8E77}"/>
                </a:ext>
              </a:extLst>
            </p:cNvPr>
            <p:cNvSpPr/>
            <p:nvPr/>
          </p:nvSpPr>
          <p:spPr bwMode="auto">
            <a:xfrm>
              <a:off x="4525963" y="3387725"/>
              <a:ext cx="223838" cy="246063"/>
            </a:xfrm>
            <a:custGeom>
              <a:avLst/>
              <a:gdLst>
                <a:gd name="T0" fmla="*/ 41 w 84"/>
                <a:gd name="T1" fmla="*/ 93 h 93"/>
                <a:gd name="T2" fmla="*/ 57 w 84"/>
                <a:gd name="T3" fmla="*/ 41 h 93"/>
                <a:gd name="T4" fmla="*/ 84 w 84"/>
                <a:gd name="T5" fmla="*/ 0 h 93"/>
                <a:gd name="T6" fmla="*/ 23 w 84"/>
                <a:gd name="T7" fmla="*/ 31 h 93"/>
                <a:gd name="T8" fmla="*/ 41 w 84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93">
                  <a:moveTo>
                    <a:pt x="41" y="93"/>
                  </a:moveTo>
                  <a:cubicBezTo>
                    <a:pt x="41" y="93"/>
                    <a:pt x="71" y="78"/>
                    <a:pt x="57" y="41"/>
                  </a:cubicBezTo>
                  <a:cubicBezTo>
                    <a:pt x="57" y="41"/>
                    <a:pt x="82" y="29"/>
                    <a:pt x="84" y="0"/>
                  </a:cubicBezTo>
                  <a:cubicBezTo>
                    <a:pt x="84" y="0"/>
                    <a:pt x="30" y="27"/>
                    <a:pt x="23" y="31"/>
                  </a:cubicBezTo>
                  <a:cubicBezTo>
                    <a:pt x="15" y="35"/>
                    <a:pt x="0" y="51"/>
                    <a:pt x="41" y="93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4" name="íšlïḍè">
              <a:extLst>
                <a:ext uri="{FF2B5EF4-FFF2-40B4-BE49-F238E27FC236}">
                  <a16:creationId xmlns:a16="http://schemas.microsoft.com/office/drawing/2014/main" id="{FD5DEC19-C240-4EE4-93E0-2F43FA57CF43}"/>
                </a:ext>
              </a:extLst>
            </p:cNvPr>
            <p:cNvSpPr/>
            <p:nvPr/>
          </p:nvSpPr>
          <p:spPr bwMode="auto">
            <a:xfrm>
              <a:off x="4635500" y="3538538"/>
              <a:ext cx="60325" cy="60325"/>
            </a:xfrm>
            <a:custGeom>
              <a:avLst/>
              <a:gdLst>
                <a:gd name="T0" fmla="*/ 2 w 23"/>
                <a:gd name="T1" fmla="*/ 16 h 23"/>
                <a:gd name="T2" fmla="*/ 7 w 23"/>
                <a:gd name="T3" fmla="*/ 2 h 23"/>
                <a:gd name="T4" fmla="*/ 21 w 23"/>
                <a:gd name="T5" fmla="*/ 7 h 23"/>
                <a:gd name="T6" fmla="*/ 16 w 23"/>
                <a:gd name="T7" fmla="*/ 21 h 23"/>
                <a:gd name="T8" fmla="*/ 2 w 23"/>
                <a:gd name="T9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16"/>
                  </a:moveTo>
                  <a:cubicBezTo>
                    <a:pt x="0" y="11"/>
                    <a:pt x="2" y="5"/>
                    <a:pt x="7" y="2"/>
                  </a:cubicBezTo>
                  <a:cubicBezTo>
                    <a:pt x="12" y="0"/>
                    <a:pt x="18" y="2"/>
                    <a:pt x="21" y="7"/>
                  </a:cubicBezTo>
                  <a:cubicBezTo>
                    <a:pt x="23" y="12"/>
                    <a:pt x="21" y="18"/>
                    <a:pt x="16" y="21"/>
                  </a:cubicBezTo>
                  <a:cubicBezTo>
                    <a:pt x="11" y="23"/>
                    <a:pt x="5" y="21"/>
                    <a:pt x="2" y="16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5" name="ïṡlîdè">
              <a:extLst>
                <a:ext uri="{FF2B5EF4-FFF2-40B4-BE49-F238E27FC236}">
                  <a16:creationId xmlns:a16="http://schemas.microsoft.com/office/drawing/2014/main" id="{B3DBD825-A213-439F-AA8E-6260F4A99884}"/>
                </a:ext>
              </a:extLst>
            </p:cNvPr>
            <p:cNvSpPr/>
            <p:nvPr/>
          </p:nvSpPr>
          <p:spPr bwMode="auto">
            <a:xfrm>
              <a:off x="4702175" y="3463925"/>
              <a:ext cx="373063" cy="368300"/>
            </a:xfrm>
            <a:custGeom>
              <a:avLst/>
              <a:gdLst>
                <a:gd name="T0" fmla="*/ 1 w 235"/>
                <a:gd name="T1" fmla="*/ 177 h 232"/>
                <a:gd name="T2" fmla="*/ 126 w 235"/>
                <a:gd name="T3" fmla="*/ 119 h 232"/>
                <a:gd name="T4" fmla="*/ 215 w 235"/>
                <a:gd name="T5" fmla="*/ 0 h 232"/>
                <a:gd name="T6" fmla="*/ 235 w 235"/>
                <a:gd name="T7" fmla="*/ 24 h 232"/>
                <a:gd name="T8" fmla="*/ 151 w 235"/>
                <a:gd name="T9" fmla="*/ 162 h 232"/>
                <a:gd name="T10" fmla="*/ 0 w 235"/>
                <a:gd name="T11" fmla="*/ 232 h 232"/>
                <a:gd name="T12" fmla="*/ 1 w 235"/>
                <a:gd name="T13" fmla="*/ 17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2">
                  <a:moveTo>
                    <a:pt x="1" y="177"/>
                  </a:moveTo>
                  <a:lnTo>
                    <a:pt x="126" y="119"/>
                  </a:lnTo>
                  <a:lnTo>
                    <a:pt x="215" y="0"/>
                  </a:lnTo>
                  <a:lnTo>
                    <a:pt x="235" y="24"/>
                  </a:lnTo>
                  <a:lnTo>
                    <a:pt x="151" y="162"/>
                  </a:lnTo>
                  <a:lnTo>
                    <a:pt x="0" y="232"/>
                  </a:lnTo>
                  <a:lnTo>
                    <a:pt x="1" y="177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6" name="iṩļïďê">
              <a:extLst>
                <a:ext uri="{FF2B5EF4-FFF2-40B4-BE49-F238E27FC236}">
                  <a16:creationId xmlns:a16="http://schemas.microsoft.com/office/drawing/2014/main" id="{4D1AF733-9436-493A-A239-B6C0D6AEF95D}"/>
                </a:ext>
              </a:extLst>
            </p:cNvPr>
            <p:cNvSpPr/>
            <p:nvPr/>
          </p:nvSpPr>
          <p:spPr bwMode="auto">
            <a:xfrm>
              <a:off x="4608513" y="3694113"/>
              <a:ext cx="217488" cy="173038"/>
            </a:xfrm>
            <a:custGeom>
              <a:avLst/>
              <a:gdLst>
                <a:gd name="T0" fmla="*/ 0 w 137"/>
                <a:gd name="T1" fmla="*/ 27 h 109"/>
                <a:gd name="T2" fmla="*/ 117 w 137"/>
                <a:gd name="T3" fmla="*/ 0 h 109"/>
                <a:gd name="T4" fmla="*/ 137 w 137"/>
                <a:gd name="T5" fmla="*/ 62 h 109"/>
                <a:gd name="T6" fmla="*/ 40 w 137"/>
                <a:gd name="T7" fmla="*/ 109 h 109"/>
                <a:gd name="T8" fmla="*/ 0 w 137"/>
                <a:gd name="T9" fmla="*/ 2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09">
                  <a:moveTo>
                    <a:pt x="0" y="27"/>
                  </a:moveTo>
                  <a:lnTo>
                    <a:pt x="117" y="0"/>
                  </a:lnTo>
                  <a:lnTo>
                    <a:pt x="137" y="62"/>
                  </a:lnTo>
                  <a:lnTo>
                    <a:pt x="40" y="109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C6D7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7" name="iŝļîḑé">
              <a:extLst>
                <a:ext uri="{FF2B5EF4-FFF2-40B4-BE49-F238E27FC236}">
                  <a16:creationId xmlns:a16="http://schemas.microsoft.com/office/drawing/2014/main" id="{60294188-9A3B-4515-9AD7-A1110F5FE85B}"/>
                </a:ext>
              </a:extLst>
            </p:cNvPr>
            <p:cNvSpPr/>
            <p:nvPr/>
          </p:nvSpPr>
          <p:spPr bwMode="auto">
            <a:xfrm>
              <a:off x="5043488" y="3406775"/>
              <a:ext cx="161925" cy="95250"/>
            </a:xfrm>
            <a:custGeom>
              <a:avLst/>
              <a:gdLst>
                <a:gd name="T0" fmla="*/ 0 w 61"/>
                <a:gd name="T1" fmla="*/ 22 h 36"/>
                <a:gd name="T2" fmla="*/ 36 w 61"/>
                <a:gd name="T3" fmla="*/ 4 h 36"/>
                <a:gd name="T4" fmla="*/ 53 w 61"/>
                <a:gd name="T5" fmla="*/ 22 h 36"/>
                <a:gd name="T6" fmla="*/ 12 w 61"/>
                <a:gd name="T7" fmla="*/ 36 h 36"/>
                <a:gd name="T8" fmla="*/ 0 w 61"/>
                <a:gd name="T9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6">
                  <a:moveTo>
                    <a:pt x="0" y="22"/>
                  </a:moveTo>
                  <a:cubicBezTo>
                    <a:pt x="13" y="5"/>
                    <a:pt x="21" y="0"/>
                    <a:pt x="36" y="4"/>
                  </a:cubicBezTo>
                  <a:cubicBezTo>
                    <a:pt x="52" y="9"/>
                    <a:pt x="61" y="8"/>
                    <a:pt x="53" y="22"/>
                  </a:cubicBezTo>
                  <a:cubicBezTo>
                    <a:pt x="45" y="36"/>
                    <a:pt x="34" y="36"/>
                    <a:pt x="12" y="36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8" name="íṥļîďé">
              <a:extLst>
                <a:ext uri="{FF2B5EF4-FFF2-40B4-BE49-F238E27FC236}">
                  <a16:creationId xmlns:a16="http://schemas.microsoft.com/office/drawing/2014/main" id="{01068F34-70CA-4D2C-BF8D-7A386D2BFF8E}"/>
                </a:ext>
              </a:extLst>
            </p:cNvPr>
            <p:cNvSpPr/>
            <p:nvPr/>
          </p:nvSpPr>
          <p:spPr bwMode="auto">
            <a:xfrm>
              <a:off x="4516438" y="3382963"/>
              <a:ext cx="163513" cy="187325"/>
            </a:xfrm>
            <a:custGeom>
              <a:avLst/>
              <a:gdLst>
                <a:gd name="T0" fmla="*/ 20 w 62"/>
                <a:gd name="T1" fmla="*/ 71 h 71"/>
                <a:gd name="T2" fmla="*/ 12 w 62"/>
                <a:gd name="T3" fmla="*/ 22 h 71"/>
                <a:gd name="T4" fmla="*/ 62 w 62"/>
                <a:gd name="T5" fmla="*/ 7 h 71"/>
                <a:gd name="T6" fmla="*/ 20 w 62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71">
                  <a:moveTo>
                    <a:pt x="20" y="71"/>
                  </a:moveTo>
                  <a:cubicBezTo>
                    <a:pt x="6" y="62"/>
                    <a:pt x="0" y="42"/>
                    <a:pt x="12" y="22"/>
                  </a:cubicBezTo>
                  <a:cubicBezTo>
                    <a:pt x="24" y="2"/>
                    <a:pt x="46" y="0"/>
                    <a:pt x="62" y="7"/>
                  </a:cubicBezTo>
                  <a:lnTo>
                    <a:pt x="20" y="71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9" name="ïṩľïďe">
              <a:extLst>
                <a:ext uri="{FF2B5EF4-FFF2-40B4-BE49-F238E27FC236}">
                  <a16:creationId xmlns:a16="http://schemas.microsoft.com/office/drawing/2014/main" id="{79303CD2-31B1-474D-AAAE-867C4D93F2A7}"/>
                </a:ext>
              </a:extLst>
            </p:cNvPr>
            <p:cNvSpPr/>
            <p:nvPr/>
          </p:nvSpPr>
          <p:spPr bwMode="auto">
            <a:xfrm>
              <a:off x="4564063" y="3367088"/>
              <a:ext cx="153988" cy="219075"/>
            </a:xfrm>
            <a:custGeom>
              <a:avLst/>
              <a:gdLst>
                <a:gd name="T0" fmla="*/ 10 w 97"/>
                <a:gd name="T1" fmla="*/ 138 h 138"/>
                <a:gd name="T2" fmla="*/ 97 w 97"/>
                <a:gd name="T3" fmla="*/ 8 h 138"/>
                <a:gd name="T4" fmla="*/ 87 w 97"/>
                <a:gd name="T5" fmla="*/ 0 h 138"/>
                <a:gd name="T6" fmla="*/ 0 w 97"/>
                <a:gd name="T7" fmla="*/ 130 h 138"/>
                <a:gd name="T8" fmla="*/ 10 w 97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38">
                  <a:moveTo>
                    <a:pt x="10" y="138"/>
                  </a:moveTo>
                  <a:lnTo>
                    <a:pt x="97" y="8"/>
                  </a:lnTo>
                  <a:lnTo>
                    <a:pt x="87" y="0"/>
                  </a:lnTo>
                  <a:lnTo>
                    <a:pt x="0" y="130"/>
                  </a:lnTo>
                  <a:lnTo>
                    <a:pt x="10" y="13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0" name="iṧḻiďe">
              <a:extLst>
                <a:ext uri="{FF2B5EF4-FFF2-40B4-BE49-F238E27FC236}">
                  <a16:creationId xmlns:a16="http://schemas.microsoft.com/office/drawing/2014/main" id="{0BF96DE0-E336-464A-BD47-3B3E18AC5C33}"/>
                </a:ext>
              </a:extLst>
            </p:cNvPr>
            <p:cNvSpPr/>
            <p:nvPr/>
          </p:nvSpPr>
          <p:spPr bwMode="auto">
            <a:xfrm>
              <a:off x="6521450" y="2736850"/>
              <a:ext cx="177800" cy="762000"/>
            </a:xfrm>
            <a:custGeom>
              <a:avLst/>
              <a:gdLst>
                <a:gd name="T0" fmla="*/ 112 w 112"/>
                <a:gd name="T1" fmla="*/ 0 h 480"/>
                <a:gd name="T2" fmla="*/ 88 w 112"/>
                <a:gd name="T3" fmla="*/ 235 h 480"/>
                <a:gd name="T4" fmla="*/ 95 w 112"/>
                <a:gd name="T5" fmla="*/ 480 h 480"/>
                <a:gd name="T6" fmla="*/ 58 w 112"/>
                <a:gd name="T7" fmla="*/ 480 h 480"/>
                <a:gd name="T8" fmla="*/ 6 w 112"/>
                <a:gd name="T9" fmla="*/ 237 h 480"/>
                <a:gd name="T10" fmla="*/ 0 w 112"/>
                <a:gd name="T11" fmla="*/ 0 h 480"/>
                <a:gd name="T12" fmla="*/ 112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112" y="0"/>
                  </a:moveTo>
                  <a:lnTo>
                    <a:pt x="88" y="235"/>
                  </a:lnTo>
                  <a:lnTo>
                    <a:pt x="95" y="480"/>
                  </a:lnTo>
                  <a:lnTo>
                    <a:pt x="58" y="480"/>
                  </a:lnTo>
                  <a:lnTo>
                    <a:pt x="6" y="237"/>
                  </a:lnTo>
                  <a:lnTo>
                    <a:pt x="0" y="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1" name="íSliḍé">
              <a:extLst>
                <a:ext uri="{FF2B5EF4-FFF2-40B4-BE49-F238E27FC236}">
                  <a16:creationId xmlns:a16="http://schemas.microsoft.com/office/drawing/2014/main" id="{2025F94A-81A3-4B03-AA40-7F94D6565487}"/>
                </a:ext>
              </a:extLst>
            </p:cNvPr>
            <p:cNvSpPr/>
            <p:nvPr/>
          </p:nvSpPr>
          <p:spPr bwMode="auto">
            <a:xfrm>
              <a:off x="6380163" y="2736850"/>
              <a:ext cx="304800" cy="762000"/>
            </a:xfrm>
            <a:custGeom>
              <a:avLst/>
              <a:gdLst>
                <a:gd name="T0" fmla="*/ 64 w 192"/>
                <a:gd name="T1" fmla="*/ 0 h 480"/>
                <a:gd name="T2" fmla="*/ 0 w 192"/>
                <a:gd name="T3" fmla="*/ 220 h 480"/>
                <a:gd name="T4" fmla="*/ 74 w 192"/>
                <a:gd name="T5" fmla="*/ 480 h 480"/>
                <a:gd name="T6" fmla="*/ 110 w 192"/>
                <a:gd name="T7" fmla="*/ 480 h 480"/>
                <a:gd name="T8" fmla="*/ 82 w 192"/>
                <a:gd name="T9" fmla="*/ 230 h 480"/>
                <a:gd name="T10" fmla="*/ 192 w 192"/>
                <a:gd name="T11" fmla="*/ 0 h 480"/>
                <a:gd name="T12" fmla="*/ 64 w 19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80">
                  <a:moveTo>
                    <a:pt x="64" y="0"/>
                  </a:moveTo>
                  <a:lnTo>
                    <a:pt x="0" y="220"/>
                  </a:lnTo>
                  <a:lnTo>
                    <a:pt x="74" y="480"/>
                  </a:lnTo>
                  <a:lnTo>
                    <a:pt x="110" y="480"/>
                  </a:lnTo>
                  <a:lnTo>
                    <a:pt x="82" y="230"/>
                  </a:lnTo>
                  <a:lnTo>
                    <a:pt x="192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2" name="ïsļíḓe">
              <a:extLst>
                <a:ext uri="{FF2B5EF4-FFF2-40B4-BE49-F238E27FC236}">
                  <a16:creationId xmlns:a16="http://schemas.microsoft.com/office/drawing/2014/main" id="{92A834E0-DC1D-4074-A349-9CC66F9FFB2B}"/>
                </a:ext>
              </a:extLst>
            </p:cNvPr>
            <p:cNvSpPr/>
            <p:nvPr/>
          </p:nvSpPr>
          <p:spPr bwMode="auto">
            <a:xfrm>
              <a:off x="6348413" y="3498850"/>
              <a:ext cx="217488" cy="66675"/>
            </a:xfrm>
            <a:custGeom>
              <a:avLst/>
              <a:gdLst>
                <a:gd name="T0" fmla="*/ 78 w 82"/>
                <a:gd name="T1" fmla="*/ 0 h 25"/>
                <a:gd name="T2" fmla="*/ 82 w 82"/>
                <a:gd name="T3" fmla="*/ 25 h 25"/>
                <a:gd name="T4" fmla="*/ 3 w 82"/>
                <a:gd name="T5" fmla="*/ 25 h 25"/>
                <a:gd name="T6" fmla="*/ 0 w 82"/>
                <a:gd name="T7" fmla="*/ 18 h 25"/>
                <a:gd name="T8" fmla="*/ 53 w 82"/>
                <a:gd name="T9" fmla="*/ 4 h 25"/>
                <a:gd name="T10" fmla="*/ 56 w 82"/>
                <a:gd name="T11" fmla="*/ 0 h 25"/>
                <a:gd name="T12" fmla="*/ 78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78" y="0"/>
                  </a:moveTo>
                  <a:cubicBezTo>
                    <a:pt x="82" y="25"/>
                    <a:pt x="82" y="25"/>
                    <a:pt x="8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3" y="4"/>
                    <a:pt x="53" y="4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78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3" name="íṧľîḑê">
              <a:extLst>
                <a:ext uri="{FF2B5EF4-FFF2-40B4-BE49-F238E27FC236}">
                  <a16:creationId xmlns:a16="http://schemas.microsoft.com/office/drawing/2014/main" id="{C2F7DC94-4B0E-4B3F-BC4F-B6D02D27B734}"/>
                </a:ext>
              </a:extLst>
            </p:cNvPr>
            <p:cNvSpPr/>
            <p:nvPr/>
          </p:nvSpPr>
          <p:spPr bwMode="auto">
            <a:xfrm>
              <a:off x="6462713" y="3498850"/>
              <a:ext cx="220663" cy="66675"/>
            </a:xfrm>
            <a:custGeom>
              <a:avLst/>
              <a:gdLst>
                <a:gd name="T0" fmla="*/ 79 w 83"/>
                <a:gd name="T1" fmla="*/ 0 h 25"/>
                <a:gd name="T2" fmla="*/ 83 w 83"/>
                <a:gd name="T3" fmla="*/ 25 h 25"/>
                <a:gd name="T4" fmla="*/ 4 w 83"/>
                <a:gd name="T5" fmla="*/ 25 h 25"/>
                <a:gd name="T6" fmla="*/ 0 w 83"/>
                <a:gd name="T7" fmla="*/ 18 h 25"/>
                <a:gd name="T8" fmla="*/ 54 w 83"/>
                <a:gd name="T9" fmla="*/ 4 h 25"/>
                <a:gd name="T10" fmla="*/ 57 w 83"/>
                <a:gd name="T11" fmla="*/ 0 h 25"/>
                <a:gd name="T12" fmla="*/ 79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79" y="0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4" y="4"/>
                    <a:pt x="54" y="4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4" name="îṩļîďé">
              <a:extLst>
                <a:ext uri="{FF2B5EF4-FFF2-40B4-BE49-F238E27FC236}">
                  <a16:creationId xmlns:a16="http://schemas.microsoft.com/office/drawing/2014/main" id="{725A7303-13D1-4BEB-ADCB-54F3A58AB583}"/>
                </a:ext>
              </a:extLst>
            </p:cNvPr>
            <p:cNvSpPr/>
            <p:nvPr/>
          </p:nvSpPr>
          <p:spPr bwMode="auto">
            <a:xfrm>
              <a:off x="6227763" y="2343150"/>
              <a:ext cx="447675" cy="249238"/>
            </a:xfrm>
            <a:custGeom>
              <a:avLst/>
              <a:gdLst>
                <a:gd name="T0" fmla="*/ 218 w 282"/>
                <a:gd name="T1" fmla="*/ 0 h 157"/>
                <a:gd name="T2" fmla="*/ 136 w 282"/>
                <a:gd name="T3" fmla="*/ 95 h 157"/>
                <a:gd name="T4" fmla="*/ 21 w 282"/>
                <a:gd name="T5" fmla="*/ 53 h 157"/>
                <a:gd name="T6" fmla="*/ 0 w 282"/>
                <a:gd name="T7" fmla="*/ 73 h 157"/>
                <a:gd name="T8" fmla="*/ 143 w 282"/>
                <a:gd name="T9" fmla="*/ 157 h 157"/>
                <a:gd name="T10" fmla="*/ 282 w 282"/>
                <a:gd name="T11" fmla="*/ 17 h 157"/>
                <a:gd name="T12" fmla="*/ 218 w 282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" h="157">
                  <a:moveTo>
                    <a:pt x="218" y="0"/>
                  </a:moveTo>
                  <a:lnTo>
                    <a:pt x="136" y="95"/>
                  </a:lnTo>
                  <a:lnTo>
                    <a:pt x="21" y="53"/>
                  </a:lnTo>
                  <a:lnTo>
                    <a:pt x="0" y="73"/>
                  </a:lnTo>
                  <a:lnTo>
                    <a:pt x="143" y="157"/>
                  </a:lnTo>
                  <a:lnTo>
                    <a:pt x="282" y="17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5" name="ïśľíďe">
              <a:extLst>
                <a:ext uri="{FF2B5EF4-FFF2-40B4-BE49-F238E27FC236}">
                  <a16:creationId xmlns:a16="http://schemas.microsoft.com/office/drawing/2014/main" id="{DC841D5A-7AAB-4D71-88AA-2183A79C60E0}"/>
                </a:ext>
              </a:extLst>
            </p:cNvPr>
            <p:cNvSpPr/>
            <p:nvPr/>
          </p:nvSpPr>
          <p:spPr bwMode="auto">
            <a:xfrm>
              <a:off x="6145213" y="2335213"/>
              <a:ext cx="115888" cy="123825"/>
            </a:xfrm>
            <a:custGeom>
              <a:avLst/>
              <a:gdLst>
                <a:gd name="T0" fmla="*/ 31 w 44"/>
                <a:gd name="T1" fmla="*/ 47 h 47"/>
                <a:gd name="T2" fmla="*/ 9 w 44"/>
                <a:gd name="T3" fmla="*/ 30 h 47"/>
                <a:gd name="T4" fmla="*/ 1 w 44"/>
                <a:gd name="T5" fmla="*/ 15 h 47"/>
                <a:gd name="T6" fmla="*/ 14 w 44"/>
                <a:gd name="T7" fmla="*/ 3 h 47"/>
                <a:gd name="T8" fmla="*/ 27 w 44"/>
                <a:gd name="T9" fmla="*/ 19 h 47"/>
                <a:gd name="T10" fmla="*/ 26 w 44"/>
                <a:gd name="T11" fmla="*/ 6 h 47"/>
                <a:gd name="T12" fmla="*/ 32 w 44"/>
                <a:gd name="T13" fmla="*/ 10 h 47"/>
                <a:gd name="T14" fmla="*/ 44 w 44"/>
                <a:gd name="T15" fmla="*/ 35 h 47"/>
                <a:gd name="T16" fmla="*/ 31 w 44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7">
                  <a:moveTo>
                    <a:pt x="31" y="47"/>
                  </a:moveTo>
                  <a:cubicBezTo>
                    <a:pt x="24" y="42"/>
                    <a:pt x="9" y="30"/>
                    <a:pt x="9" y="30"/>
                  </a:cubicBezTo>
                  <a:cubicBezTo>
                    <a:pt x="9" y="30"/>
                    <a:pt x="0" y="21"/>
                    <a:pt x="1" y="15"/>
                  </a:cubicBezTo>
                  <a:cubicBezTo>
                    <a:pt x="1" y="9"/>
                    <a:pt x="12" y="0"/>
                    <a:pt x="14" y="3"/>
                  </a:cubicBezTo>
                  <a:cubicBezTo>
                    <a:pt x="16" y="4"/>
                    <a:pt x="27" y="19"/>
                    <a:pt x="27" y="19"/>
                  </a:cubicBezTo>
                  <a:cubicBezTo>
                    <a:pt x="27" y="19"/>
                    <a:pt x="24" y="7"/>
                    <a:pt x="26" y="6"/>
                  </a:cubicBezTo>
                  <a:cubicBezTo>
                    <a:pt x="29" y="5"/>
                    <a:pt x="30" y="9"/>
                    <a:pt x="32" y="10"/>
                  </a:cubicBezTo>
                  <a:cubicBezTo>
                    <a:pt x="33" y="12"/>
                    <a:pt x="44" y="35"/>
                    <a:pt x="44" y="35"/>
                  </a:cubicBezTo>
                  <a:lnTo>
                    <a:pt x="31" y="47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6" name="ïšḷíḍé">
              <a:extLst>
                <a:ext uri="{FF2B5EF4-FFF2-40B4-BE49-F238E27FC236}">
                  <a16:creationId xmlns:a16="http://schemas.microsoft.com/office/drawing/2014/main" id="{B9465CE5-63B0-44B5-9B85-3C4278845855}"/>
                </a:ext>
              </a:extLst>
            </p:cNvPr>
            <p:cNvSpPr/>
            <p:nvPr/>
          </p:nvSpPr>
          <p:spPr bwMode="auto">
            <a:xfrm>
              <a:off x="6565900" y="2171700"/>
              <a:ext cx="106363" cy="142875"/>
            </a:xfrm>
            <a:custGeom>
              <a:avLst/>
              <a:gdLst>
                <a:gd name="T0" fmla="*/ 25 w 40"/>
                <a:gd name="T1" fmla="*/ 0 h 54"/>
                <a:gd name="T2" fmla="*/ 40 w 40"/>
                <a:gd name="T3" fmla="*/ 39 h 54"/>
                <a:gd name="T4" fmla="*/ 12 w 40"/>
                <a:gd name="T5" fmla="*/ 51 h 54"/>
                <a:gd name="T6" fmla="*/ 0 w 40"/>
                <a:gd name="T7" fmla="*/ 20 h 54"/>
                <a:gd name="T8" fmla="*/ 25 w 40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4">
                  <a:moveTo>
                    <a:pt x="25" y="0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37" y="44"/>
                    <a:pt x="31" y="54"/>
                    <a:pt x="12" y="51"/>
                  </a:cubicBezTo>
                  <a:cubicBezTo>
                    <a:pt x="11" y="48"/>
                    <a:pt x="0" y="20"/>
                    <a:pt x="0" y="2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7" name="í$1ïḑé">
              <a:extLst>
                <a:ext uri="{FF2B5EF4-FFF2-40B4-BE49-F238E27FC236}">
                  <a16:creationId xmlns:a16="http://schemas.microsoft.com/office/drawing/2014/main" id="{DD157050-D0E0-4C40-854F-2890506ED189}"/>
                </a:ext>
              </a:extLst>
            </p:cNvPr>
            <p:cNvSpPr/>
            <p:nvPr/>
          </p:nvSpPr>
          <p:spPr bwMode="auto">
            <a:xfrm>
              <a:off x="6486525" y="1993900"/>
              <a:ext cx="193675" cy="250825"/>
            </a:xfrm>
            <a:custGeom>
              <a:avLst/>
              <a:gdLst>
                <a:gd name="T0" fmla="*/ 32 w 73"/>
                <a:gd name="T1" fmla="*/ 93 h 95"/>
                <a:gd name="T2" fmla="*/ 32 w 73"/>
                <a:gd name="T3" fmla="*/ 93 h 95"/>
                <a:gd name="T4" fmla="*/ 68 w 73"/>
                <a:gd name="T5" fmla="*/ 64 h 95"/>
                <a:gd name="T6" fmla="*/ 71 w 73"/>
                <a:gd name="T7" fmla="*/ 39 h 95"/>
                <a:gd name="T8" fmla="*/ 41 w 73"/>
                <a:gd name="T9" fmla="*/ 2 h 95"/>
                <a:gd name="T10" fmla="*/ 41 w 73"/>
                <a:gd name="T11" fmla="*/ 2 h 95"/>
                <a:gd name="T12" fmla="*/ 5 w 73"/>
                <a:gd name="T13" fmla="*/ 32 h 95"/>
                <a:gd name="T14" fmla="*/ 2 w 73"/>
                <a:gd name="T15" fmla="*/ 57 h 95"/>
                <a:gd name="T16" fmla="*/ 32 w 73"/>
                <a:gd name="T17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95">
                  <a:moveTo>
                    <a:pt x="32" y="93"/>
                  </a:moveTo>
                  <a:cubicBezTo>
                    <a:pt x="32" y="93"/>
                    <a:pt x="32" y="93"/>
                    <a:pt x="32" y="93"/>
                  </a:cubicBezTo>
                  <a:cubicBezTo>
                    <a:pt x="50" y="95"/>
                    <a:pt x="67" y="82"/>
                    <a:pt x="68" y="64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3" y="20"/>
                    <a:pt x="60" y="4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23" y="0"/>
                    <a:pt x="7" y="13"/>
                    <a:pt x="5" y="32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0" y="75"/>
                    <a:pt x="14" y="91"/>
                    <a:pt x="32" y="9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8" name="iṡḷíḍe">
              <a:extLst>
                <a:ext uri="{FF2B5EF4-FFF2-40B4-BE49-F238E27FC236}">
                  <a16:creationId xmlns:a16="http://schemas.microsoft.com/office/drawing/2014/main" id="{AD2A1C9C-9659-43C6-AD81-C64714E75514}"/>
                </a:ext>
              </a:extLst>
            </p:cNvPr>
            <p:cNvSpPr/>
            <p:nvPr/>
          </p:nvSpPr>
          <p:spPr bwMode="auto">
            <a:xfrm>
              <a:off x="6459538" y="2252663"/>
              <a:ext cx="257175" cy="498475"/>
            </a:xfrm>
            <a:custGeom>
              <a:avLst/>
              <a:gdLst>
                <a:gd name="T0" fmla="*/ 156 w 162"/>
                <a:gd name="T1" fmla="*/ 0 h 314"/>
                <a:gd name="T2" fmla="*/ 40 w 162"/>
                <a:gd name="T3" fmla="*/ 59 h 314"/>
                <a:gd name="T4" fmla="*/ 0 w 162"/>
                <a:gd name="T5" fmla="*/ 314 h 314"/>
                <a:gd name="T6" fmla="*/ 162 w 162"/>
                <a:gd name="T7" fmla="*/ 314 h 314"/>
                <a:gd name="T8" fmla="*/ 142 w 162"/>
                <a:gd name="T9" fmla="*/ 199 h 314"/>
                <a:gd name="T10" fmla="*/ 156 w 162"/>
                <a:gd name="T1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314">
                  <a:moveTo>
                    <a:pt x="156" y="0"/>
                  </a:moveTo>
                  <a:lnTo>
                    <a:pt x="40" y="59"/>
                  </a:lnTo>
                  <a:lnTo>
                    <a:pt x="0" y="314"/>
                  </a:lnTo>
                  <a:lnTo>
                    <a:pt x="162" y="314"/>
                  </a:lnTo>
                  <a:lnTo>
                    <a:pt x="142" y="199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9" name="îṩliḍè">
              <a:extLst>
                <a:ext uri="{FF2B5EF4-FFF2-40B4-BE49-F238E27FC236}">
                  <a16:creationId xmlns:a16="http://schemas.microsoft.com/office/drawing/2014/main" id="{6120AEE9-96EC-4341-85F1-14CD980114AC}"/>
                </a:ext>
              </a:extLst>
            </p:cNvPr>
            <p:cNvSpPr/>
            <p:nvPr/>
          </p:nvSpPr>
          <p:spPr bwMode="auto">
            <a:xfrm>
              <a:off x="6619875" y="2284413"/>
              <a:ext cx="211138" cy="452438"/>
            </a:xfrm>
            <a:custGeom>
              <a:avLst/>
              <a:gdLst>
                <a:gd name="T0" fmla="*/ 6 w 133"/>
                <a:gd name="T1" fmla="*/ 55 h 285"/>
                <a:gd name="T2" fmla="*/ 73 w 133"/>
                <a:gd name="T3" fmla="*/ 162 h 285"/>
                <a:gd name="T4" fmla="*/ 0 w 133"/>
                <a:gd name="T5" fmla="*/ 259 h 285"/>
                <a:gd name="T6" fmla="*/ 11 w 133"/>
                <a:gd name="T7" fmla="*/ 285 h 285"/>
                <a:gd name="T8" fmla="*/ 133 w 133"/>
                <a:gd name="T9" fmla="*/ 175 h 285"/>
                <a:gd name="T10" fmla="*/ 41 w 133"/>
                <a:gd name="T11" fmla="*/ 0 h 285"/>
                <a:gd name="T12" fmla="*/ 6 w 133"/>
                <a:gd name="T13" fmla="*/ 5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285">
                  <a:moveTo>
                    <a:pt x="6" y="55"/>
                  </a:moveTo>
                  <a:lnTo>
                    <a:pt x="73" y="162"/>
                  </a:lnTo>
                  <a:lnTo>
                    <a:pt x="0" y="259"/>
                  </a:lnTo>
                  <a:lnTo>
                    <a:pt x="11" y="285"/>
                  </a:lnTo>
                  <a:lnTo>
                    <a:pt x="133" y="175"/>
                  </a:lnTo>
                  <a:lnTo>
                    <a:pt x="41" y="0"/>
                  </a:lnTo>
                  <a:lnTo>
                    <a:pt x="6" y="55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0" name="îṣlîḋe">
              <a:extLst>
                <a:ext uri="{FF2B5EF4-FFF2-40B4-BE49-F238E27FC236}">
                  <a16:creationId xmlns:a16="http://schemas.microsoft.com/office/drawing/2014/main" id="{0FADB29D-6ECC-4FE1-9257-AF0BEB40425C}"/>
                </a:ext>
              </a:extLst>
            </p:cNvPr>
            <p:cNvSpPr/>
            <p:nvPr/>
          </p:nvSpPr>
          <p:spPr bwMode="auto">
            <a:xfrm>
              <a:off x="6502400" y="2695575"/>
              <a:ext cx="134938" cy="100013"/>
            </a:xfrm>
            <a:custGeom>
              <a:avLst/>
              <a:gdLst>
                <a:gd name="T0" fmla="*/ 51 w 51"/>
                <a:gd name="T1" fmla="*/ 16 h 38"/>
                <a:gd name="T2" fmla="*/ 28 w 51"/>
                <a:gd name="T3" fmla="*/ 33 h 38"/>
                <a:gd name="T4" fmla="*/ 12 w 51"/>
                <a:gd name="T5" fmla="*/ 36 h 38"/>
                <a:gd name="T6" fmla="*/ 4 w 51"/>
                <a:gd name="T7" fmla="*/ 19 h 38"/>
                <a:gd name="T8" fmla="*/ 23 w 51"/>
                <a:gd name="T9" fmla="*/ 12 h 38"/>
                <a:gd name="T10" fmla="*/ 10 w 51"/>
                <a:gd name="T11" fmla="*/ 9 h 38"/>
                <a:gd name="T12" fmla="*/ 16 w 51"/>
                <a:gd name="T13" fmla="*/ 5 h 38"/>
                <a:gd name="T14" fmla="*/ 44 w 51"/>
                <a:gd name="T15" fmla="*/ 0 h 38"/>
                <a:gd name="T16" fmla="*/ 51 w 51"/>
                <a:gd name="T17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8">
                  <a:moveTo>
                    <a:pt x="51" y="16"/>
                  </a:moveTo>
                  <a:cubicBezTo>
                    <a:pt x="44" y="21"/>
                    <a:pt x="28" y="33"/>
                    <a:pt x="28" y="33"/>
                  </a:cubicBezTo>
                  <a:cubicBezTo>
                    <a:pt x="28" y="33"/>
                    <a:pt x="17" y="38"/>
                    <a:pt x="12" y="36"/>
                  </a:cubicBezTo>
                  <a:cubicBezTo>
                    <a:pt x="6" y="33"/>
                    <a:pt x="0" y="21"/>
                    <a:pt x="4" y="19"/>
                  </a:cubicBezTo>
                  <a:cubicBezTo>
                    <a:pt x="6" y="18"/>
                    <a:pt x="23" y="12"/>
                    <a:pt x="23" y="12"/>
                  </a:cubicBezTo>
                  <a:cubicBezTo>
                    <a:pt x="23" y="12"/>
                    <a:pt x="11" y="11"/>
                    <a:pt x="10" y="9"/>
                  </a:cubicBezTo>
                  <a:cubicBezTo>
                    <a:pt x="10" y="6"/>
                    <a:pt x="14" y="5"/>
                    <a:pt x="16" y="5"/>
                  </a:cubicBezTo>
                  <a:cubicBezTo>
                    <a:pt x="19" y="4"/>
                    <a:pt x="44" y="0"/>
                    <a:pt x="44" y="0"/>
                  </a:cubicBezTo>
                  <a:lnTo>
                    <a:pt x="51" y="16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1" name="iṩlíḑê">
              <a:extLst>
                <a:ext uri="{FF2B5EF4-FFF2-40B4-BE49-F238E27FC236}">
                  <a16:creationId xmlns:a16="http://schemas.microsoft.com/office/drawing/2014/main" id="{C6BDA9BF-E646-4E97-BA57-D31A662E89BC}"/>
                </a:ext>
              </a:extLst>
            </p:cNvPr>
            <p:cNvSpPr/>
            <p:nvPr/>
          </p:nvSpPr>
          <p:spPr bwMode="auto">
            <a:xfrm>
              <a:off x="6478588" y="1954213"/>
              <a:ext cx="254000" cy="227013"/>
            </a:xfrm>
            <a:custGeom>
              <a:avLst/>
              <a:gdLst>
                <a:gd name="T0" fmla="*/ 70 w 96"/>
                <a:gd name="T1" fmla="*/ 86 h 86"/>
                <a:gd name="T2" fmla="*/ 36 w 96"/>
                <a:gd name="T3" fmla="*/ 40 h 86"/>
                <a:gd name="T4" fmla="*/ 26 w 96"/>
                <a:gd name="T5" fmla="*/ 55 h 86"/>
                <a:gd name="T6" fmla="*/ 0 w 96"/>
                <a:gd name="T7" fmla="*/ 52 h 86"/>
                <a:gd name="T8" fmla="*/ 58 w 96"/>
                <a:gd name="T9" fmla="*/ 17 h 86"/>
                <a:gd name="T10" fmla="*/ 70 w 96"/>
                <a:gd name="T1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86">
                  <a:moveTo>
                    <a:pt x="70" y="86"/>
                  </a:moveTo>
                  <a:cubicBezTo>
                    <a:pt x="70" y="86"/>
                    <a:pt x="36" y="82"/>
                    <a:pt x="36" y="40"/>
                  </a:cubicBezTo>
                  <a:cubicBezTo>
                    <a:pt x="36" y="40"/>
                    <a:pt x="34" y="50"/>
                    <a:pt x="26" y="55"/>
                  </a:cubicBezTo>
                  <a:cubicBezTo>
                    <a:pt x="19" y="59"/>
                    <a:pt x="5" y="58"/>
                    <a:pt x="0" y="52"/>
                  </a:cubicBezTo>
                  <a:cubicBezTo>
                    <a:pt x="0" y="52"/>
                    <a:pt x="7" y="0"/>
                    <a:pt x="58" y="17"/>
                  </a:cubicBezTo>
                  <a:cubicBezTo>
                    <a:pt x="66" y="20"/>
                    <a:pt x="96" y="30"/>
                    <a:pt x="70" y="86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2" name="işľïdè">
              <a:extLst>
                <a:ext uri="{FF2B5EF4-FFF2-40B4-BE49-F238E27FC236}">
                  <a16:creationId xmlns:a16="http://schemas.microsoft.com/office/drawing/2014/main" id="{BF557A67-4957-4026-BF4C-4DC4656D56A4}"/>
                </a:ext>
              </a:extLst>
            </p:cNvPr>
            <p:cNvSpPr/>
            <p:nvPr/>
          </p:nvSpPr>
          <p:spPr bwMode="auto">
            <a:xfrm>
              <a:off x="6581775" y="2097088"/>
              <a:ext cx="61913" cy="60325"/>
            </a:xfrm>
            <a:custGeom>
              <a:avLst/>
              <a:gdLst>
                <a:gd name="T0" fmla="*/ 22 w 23"/>
                <a:gd name="T1" fmla="*/ 13 h 23"/>
                <a:gd name="T2" fmla="*/ 12 w 23"/>
                <a:gd name="T3" fmla="*/ 1 h 23"/>
                <a:gd name="T4" fmla="*/ 0 w 23"/>
                <a:gd name="T5" fmla="*/ 11 h 23"/>
                <a:gd name="T6" fmla="*/ 10 w 23"/>
                <a:gd name="T7" fmla="*/ 23 h 23"/>
                <a:gd name="T8" fmla="*/ 22 w 23"/>
                <a:gd name="T9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2" y="13"/>
                  </a:moveTo>
                  <a:cubicBezTo>
                    <a:pt x="23" y="7"/>
                    <a:pt x="18" y="2"/>
                    <a:pt x="12" y="1"/>
                  </a:cubicBezTo>
                  <a:cubicBezTo>
                    <a:pt x="7" y="0"/>
                    <a:pt x="1" y="5"/>
                    <a:pt x="0" y="11"/>
                  </a:cubicBezTo>
                  <a:cubicBezTo>
                    <a:pt x="0" y="16"/>
                    <a:pt x="4" y="22"/>
                    <a:pt x="10" y="23"/>
                  </a:cubicBezTo>
                  <a:cubicBezTo>
                    <a:pt x="16" y="23"/>
                    <a:pt x="21" y="19"/>
                    <a:pt x="22" y="1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3" name="îṧḻïḑé">
              <a:extLst>
                <a:ext uri="{FF2B5EF4-FFF2-40B4-BE49-F238E27FC236}">
                  <a16:creationId xmlns:a16="http://schemas.microsoft.com/office/drawing/2014/main" id="{41B93126-DA0A-4EA6-AD76-A503CEE96C15}"/>
                </a:ext>
              </a:extLst>
            </p:cNvPr>
            <p:cNvSpPr/>
            <p:nvPr/>
          </p:nvSpPr>
          <p:spPr bwMode="auto">
            <a:xfrm>
              <a:off x="6648450" y="2124075"/>
              <a:ext cx="206375" cy="187325"/>
            </a:xfrm>
            <a:custGeom>
              <a:avLst/>
              <a:gdLst>
                <a:gd name="T0" fmla="*/ 9 w 78"/>
                <a:gd name="T1" fmla="*/ 7 h 71"/>
                <a:gd name="T2" fmla="*/ 29 w 78"/>
                <a:gd name="T3" fmla="*/ 2 h 71"/>
                <a:gd name="T4" fmla="*/ 52 w 78"/>
                <a:gd name="T5" fmla="*/ 36 h 71"/>
                <a:gd name="T6" fmla="*/ 77 w 78"/>
                <a:gd name="T7" fmla="*/ 53 h 71"/>
                <a:gd name="T8" fmla="*/ 59 w 78"/>
                <a:gd name="T9" fmla="*/ 70 h 71"/>
                <a:gd name="T10" fmla="*/ 29 w 78"/>
                <a:gd name="T11" fmla="*/ 47 h 71"/>
                <a:gd name="T12" fmla="*/ 10 w 78"/>
                <a:gd name="T13" fmla="*/ 12 h 71"/>
                <a:gd name="T14" fmla="*/ 9 w 78"/>
                <a:gd name="T15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1">
                  <a:moveTo>
                    <a:pt x="9" y="7"/>
                  </a:moveTo>
                  <a:cubicBezTo>
                    <a:pt x="9" y="7"/>
                    <a:pt x="16" y="0"/>
                    <a:pt x="29" y="2"/>
                  </a:cubicBezTo>
                  <a:cubicBezTo>
                    <a:pt x="42" y="5"/>
                    <a:pt x="48" y="23"/>
                    <a:pt x="52" y="36"/>
                  </a:cubicBezTo>
                  <a:cubicBezTo>
                    <a:pt x="56" y="49"/>
                    <a:pt x="66" y="58"/>
                    <a:pt x="77" y="53"/>
                  </a:cubicBezTo>
                  <a:cubicBezTo>
                    <a:pt x="77" y="53"/>
                    <a:pt x="78" y="69"/>
                    <a:pt x="59" y="70"/>
                  </a:cubicBezTo>
                  <a:cubicBezTo>
                    <a:pt x="40" y="71"/>
                    <a:pt x="34" y="58"/>
                    <a:pt x="29" y="47"/>
                  </a:cubicBezTo>
                  <a:cubicBezTo>
                    <a:pt x="25" y="36"/>
                    <a:pt x="20" y="9"/>
                    <a:pt x="10" y="12"/>
                  </a:cubicBezTo>
                  <a:cubicBezTo>
                    <a:pt x="0" y="16"/>
                    <a:pt x="9" y="7"/>
                    <a:pt x="9" y="7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4" name="ïṣḻiḓè">
              <a:extLst>
                <a:ext uri="{FF2B5EF4-FFF2-40B4-BE49-F238E27FC236}">
                  <a16:creationId xmlns:a16="http://schemas.microsoft.com/office/drawing/2014/main" id="{4A1FE2CE-47B2-4ED2-9A69-99B59F5FC1EA}"/>
                </a:ext>
              </a:extLst>
            </p:cNvPr>
            <p:cNvSpPr/>
            <p:nvPr/>
          </p:nvSpPr>
          <p:spPr bwMode="auto">
            <a:xfrm>
              <a:off x="6521450" y="1935163"/>
              <a:ext cx="201613" cy="153988"/>
            </a:xfrm>
            <a:custGeom>
              <a:avLst/>
              <a:gdLst>
                <a:gd name="T0" fmla="*/ 68 w 76"/>
                <a:gd name="T1" fmla="*/ 58 h 58"/>
                <a:gd name="T2" fmla="*/ 51 w 76"/>
                <a:gd name="T3" fmla="*/ 11 h 58"/>
                <a:gd name="T4" fmla="*/ 0 w 76"/>
                <a:gd name="T5" fmla="*/ 23 h 58"/>
                <a:gd name="T6" fmla="*/ 68 w 76"/>
                <a:gd name="T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58">
                  <a:moveTo>
                    <a:pt x="68" y="58"/>
                  </a:moveTo>
                  <a:cubicBezTo>
                    <a:pt x="76" y="44"/>
                    <a:pt x="71" y="23"/>
                    <a:pt x="51" y="11"/>
                  </a:cubicBezTo>
                  <a:cubicBezTo>
                    <a:pt x="30" y="0"/>
                    <a:pt x="10" y="9"/>
                    <a:pt x="0" y="23"/>
                  </a:cubicBezTo>
                  <a:lnTo>
                    <a:pt x="68" y="5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5" name="ïṧľíďé">
              <a:extLst>
                <a:ext uri="{FF2B5EF4-FFF2-40B4-BE49-F238E27FC236}">
                  <a16:creationId xmlns:a16="http://schemas.microsoft.com/office/drawing/2014/main" id="{30A071C0-EFAB-4812-BDAA-B7E8854F72F4}"/>
                </a:ext>
              </a:extLst>
            </p:cNvPr>
            <p:cNvSpPr/>
            <p:nvPr/>
          </p:nvSpPr>
          <p:spPr bwMode="auto">
            <a:xfrm>
              <a:off x="6478588" y="1974850"/>
              <a:ext cx="230188" cy="133350"/>
            </a:xfrm>
            <a:custGeom>
              <a:avLst/>
              <a:gdLst>
                <a:gd name="T0" fmla="*/ 140 w 145"/>
                <a:gd name="T1" fmla="*/ 84 h 84"/>
                <a:gd name="T2" fmla="*/ 0 w 145"/>
                <a:gd name="T3" fmla="*/ 12 h 84"/>
                <a:gd name="T4" fmla="*/ 5 w 145"/>
                <a:gd name="T5" fmla="*/ 0 h 84"/>
                <a:gd name="T6" fmla="*/ 145 w 145"/>
                <a:gd name="T7" fmla="*/ 72 h 84"/>
                <a:gd name="T8" fmla="*/ 140 w 145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84">
                  <a:moveTo>
                    <a:pt x="140" y="84"/>
                  </a:moveTo>
                  <a:lnTo>
                    <a:pt x="0" y="12"/>
                  </a:lnTo>
                  <a:lnTo>
                    <a:pt x="5" y="0"/>
                  </a:lnTo>
                  <a:lnTo>
                    <a:pt x="145" y="72"/>
                  </a:lnTo>
                  <a:lnTo>
                    <a:pt x="140" y="84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6" name="íš1ïḓe">
              <a:extLst>
                <a:ext uri="{FF2B5EF4-FFF2-40B4-BE49-F238E27FC236}">
                  <a16:creationId xmlns:a16="http://schemas.microsoft.com/office/drawing/2014/main" id="{72405520-BCAC-4918-AD06-2418CF4A16D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220663"/>
            </a:xfrm>
            <a:custGeom>
              <a:avLst/>
              <a:gdLst>
                <a:gd name="T0" fmla="*/ 159 w 173"/>
                <a:gd name="T1" fmla="*/ 83 h 83"/>
                <a:gd name="T2" fmla="*/ 15 w 173"/>
                <a:gd name="T3" fmla="*/ 83 h 83"/>
                <a:gd name="T4" fmla="*/ 0 w 173"/>
                <a:gd name="T5" fmla="*/ 69 h 83"/>
                <a:gd name="T6" fmla="*/ 0 w 173"/>
                <a:gd name="T7" fmla="*/ 0 h 83"/>
                <a:gd name="T8" fmla="*/ 173 w 173"/>
                <a:gd name="T9" fmla="*/ 0 h 83"/>
                <a:gd name="T10" fmla="*/ 173 w 173"/>
                <a:gd name="T11" fmla="*/ 69 h 83"/>
                <a:gd name="T12" fmla="*/ 159 w 173"/>
                <a:gd name="T1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83">
                  <a:moveTo>
                    <a:pt x="159" y="83"/>
                  </a:moveTo>
                  <a:cubicBezTo>
                    <a:pt x="15" y="83"/>
                    <a:pt x="15" y="83"/>
                    <a:pt x="15" y="83"/>
                  </a:cubicBezTo>
                  <a:cubicBezTo>
                    <a:pt x="7" y="83"/>
                    <a:pt x="0" y="77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3" y="69"/>
                    <a:pt x="173" y="69"/>
                    <a:pt x="173" y="69"/>
                  </a:cubicBezTo>
                  <a:cubicBezTo>
                    <a:pt x="173" y="77"/>
                    <a:pt x="166" y="83"/>
                    <a:pt x="159" y="8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7" name="íṥḷïdè">
              <a:extLst>
                <a:ext uri="{FF2B5EF4-FFF2-40B4-BE49-F238E27FC236}">
                  <a16:creationId xmlns:a16="http://schemas.microsoft.com/office/drawing/2014/main" id="{93F28E53-17BE-472F-9089-7943C776E63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19050"/>
            </a:xfrm>
            <a:prstGeom prst="rect">
              <a:avLst/>
            </a:pr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8" name="ïşľiḍé">
              <a:extLst>
                <a:ext uri="{FF2B5EF4-FFF2-40B4-BE49-F238E27FC236}">
                  <a16:creationId xmlns:a16="http://schemas.microsoft.com/office/drawing/2014/main" id="{A7FE82EF-645A-42E2-BF97-B39C12AB04B3}"/>
                </a:ext>
              </a:extLst>
            </p:cNvPr>
            <p:cNvSpPr/>
            <p:nvPr/>
          </p:nvSpPr>
          <p:spPr bwMode="auto">
            <a:xfrm>
              <a:off x="7037388" y="3328988"/>
              <a:ext cx="61913" cy="42863"/>
            </a:xfrm>
            <a:custGeom>
              <a:avLst/>
              <a:gdLst>
                <a:gd name="T0" fmla="*/ 0 w 23"/>
                <a:gd name="T1" fmla="*/ 0 h 16"/>
                <a:gd name="T2" fmla="*/ 23 w 23"/>
                <a:gd name="T3" fmla="*/ 0 h 16"/>
                <a:gd name="T4" fmla="*/ 22 w 23"/>
                <a:gd name="T5" fmla="*/ 14 h 16"/>
                <a:gd name="T6" fmla="*/ 19 w 23"/>
                <a:gd name="T7" fmla="*/ 16 h 16"/>
                <a:gd name="T8" fmla="*/ 4 w 23"/>
                <a:gd name="T9" fmla="*/ 16 h 16"/>
                <a:gd name="T10" fmla="*/ 1 w 23"/>
                <a:gd name="T11" fmla="*/ 14 h 16"/>
                <a:gd name="T12" fmla="*/ 0 w 2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1" y="16"/>
                    <a:pt x="19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5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9" name="îš1îḓé">
              <a:extLst>
                <a:ext uri="{FF2B5EF4-FFF2-40B4-BE49-F238E27FC236}">
                  <a16:creationId xmlns:a16="http://schemas.microsoft.com/office/drawing/2014/main" id="{AB8E1BAA-BB47-4068-B5EC-4239C6A55EE9}"/>
                </a:ext>
              </a:extLst>
            </p:cNvPr>
            <p:cNvSpPr/>
            <p:nvPr/>
          </p:nvSpPr>
          <p:spPr bwMode="auto">
            <a:xfrm>
              <a:off x="6831013" y="3248025"/>
              <a:ext cx="476250" cy="96838"/>
            </a:xfrm>
            <a:custGeom>
              <a:avLst/>
              <a:gdLst>
                <a:gd name="T0" fmla="*/ 9 w 180"/>
                <a:gd name="T1" fmla="*/ 0 h 37"/>
                <a:gd name="T2" fmla="*/ 170 w 180"/>
                <a:gd name="T3" fmla="*/ 0 h 37"/>
                <a:gd name="T4" fmla="*/ 180 w 180"/>
                <a:gd name="T5" fmla="*/ 9 h 37"/>
                <a:gd name="T6" fmla="*/ 180 w 180"/>
                <a:gd name="T7" fmla="*/ 37 h 37"/>
                <a:gd name="T8" fmla="*/ 0 w 180"/>
                <a:gd name="T9" fmla="*/ 37 h 37"/>
                <a:gd name="T10" fmla="*/ 0 w 180"/>
                <a:gd name="T11" fmla="*/ 9 h 37"/>
                <a:gd name="T12" fmla="*/ 9 w 18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37">
                  <a:moveTo>
                    <a:pt x="9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5" y="0"/>
                    <a:pt x="180" y="4"/>
                    <a:pt x="180" y="9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0" name="işḷïḓé">
              <a:extLst>
                <a:ext uri="{FF2B5EF4-FFF2-40B4-BE49-F238E27FC236}">
                  <a16:creationId xmlns:a16="http://schemas.microsoft.com/office/drawing/2014/main" id="{57C71467-BE38-481A-AE6F-5858A07F033D}"/>
                </a:ext>
              </a:extLst>
            </p:cNvPr>
            <p:cNvSpPr/>
            <p:nvPr/>
          </p:nvSpPr>
          <p:spPr bwMode="auto">
            <a:xfrm>
              <a:off x="685958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1" name="íṧ1îḍe">
              <a:extLst>
                <a:ext uri="{FF2B5EF4-FFF2-40B4-BE49-F238E27FC236}">
                  <a16:creationId xmlns:a16="http://schemas.microsoft.com/office/drawing/2014/main" id="{27A29A62-FEBF-4BC8-9789-F8105268CF10}"/>
                </a:ext>
              </a:extLst>
            </p:cNvPr>
            <p:cNvSpPr/>
            <p:nvPr/>
          </p:nvSpPr>
          <p:spPr bwMode="auto">
            <a:xfrm>
              <a:off x="6897688" y="3382963"/>
              <a:ext cx="15875" cy="168275"/>
            </a:xfrm>
            <a:custGeom>
              <a:avLst/>
              <a:gdLst>
                <a:gd name="T0" fmla="*/ 3 w 6"/>
                <a:gd name="T1" fmla="*/ 64 h 64"/>
                <a:gd name="T2" fmla="*/ 3 w 6"/>
                <a:gd name="T3" fmla="*/ 64 h 64"/>
                <a:gd name="T4" fmla="*/ 0 w 6"/>
                <a:gd name="T5" fmla="*/ 60 h 64"/>
                <a:gd name="T6" fmla="*/ 0 w 6"/>
                <a:gd name="T7" fmla="*/ 4 h 64"/>
                <a:gd name="T8" fmla="*/ 3 w 6"/>
                <a:gd name="T9" fmla="*/ 0 h 64"/>
                <a:gd name="T10" fmla="*/ 3 w 6"/>
                <a:gd name="T11" fmla="*/ 0 h 64"/>
                <a:gd name="T12" fmla="*/ 6 w 6"/>
                <a:gd name="T13" fmla="*/ 4 h 64"/>
                <a:gd name="T14" fmla="*/ 6 w 6"/>
                <a:gd name="T15" fmla="*/ 60 h 64"/>
                <a:gd name="T16" fmla="*/ 3 w 6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2" name="íŝ1îḋe">
              <a:extLst>
                <a:ext uri="{FF2B5EF4-FFF2-40B4-BE49-F238E27FC236}">
                  <a16:creationId xmlns:a16="http://schemas.microsoft.com/office/drawing/2014/main" id="{7392A10B-F0C1-4DE6-88E2-EC82F4E7DEEA}"/>
                </a:ext>
              </a:extLst>
            </p:cNvPr>
            <p:cNvSpPr/>
            <p:nvPr/>
          </p:nvSpPr>
          <p:spPr bwMode="auto">
            <a:xfrm>
              <a:off x="6931025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3" name="îşľîḍê">
              <a:extLst>
                <a:ext uri="{FF2B5EF4-FFF2-40B4-BE49-F238E27FC236}">
                  <a16:creationId xmlns:a16="http://schemas.microsoft.com/office/drawing/2014/main" id="{8D0EAE11-E86F-419B-943D-42B728820DAA}"/>
                </a:ext>
              </a:extLst>
            </p:cNvPr>
            <p:cNvSpPr/>
            <p:nvPr/>
          </p:nvSpPr>
          <p:spPr bwMode="auto">
            <a:xfrm>
              <a:off x="696912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4" name="iṧľïḓe">
              <a:extLst>
                <a:ext uri="{FF2B5EF4-FFF2-40B4-BE49-F238E27FC236}">
                  <a16:creationId xmlns:a16="http://schemas.microsoft.com/office/drawing/2014/main" id="{D388FFC9-A0E7-4166-A762-78D24B7C25FC}"/>
                </a:ext>
              </a:extLst>
            </p:cNvPr>
            <p:cNvSpPr/>
            <p:nvPr/>
          </p:nvSpPr>
          <p:spPr bwMode="auto">
            <a:xfrm>
              <a:off x="700563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5" name="îŝ1íḓê">
              <a:extLst>
                <a:ext uri="{FF2B5EF4-FFF2-40B4-BE49-F238E27FC236}">
                  <a16:creationId xmlns:a16="http://schemas.microsoft.com/office/drawing/2014/main" id="{1A6E156D-AB9D-4109-A419-3259B14BFBC7}"/>
                </a:ext>
              </a:extLst>
            </p:cNvPr>
            <p:cNvSpPr/>
            <p:nvPr/>
          </p:nvSpPr>
          <p:spPr bwMode="auto">
            <a:xfrm>
              <a:off x="704056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6" name="íŝḷiḑè">
              <a:extLst>
                <a:ext uri="{FF2B5EF4-FFF2-40B4-BE49-F238E27FC236}">
                  <a16:creationId xmlns:a16="http://schemas.microsoft.com/office/drawing/2014/main" id="{664628F5-42E7-489A-993B-FF22FA872E8E}"/>
                </a:ext>
              </a:extLst>
            </p:cNvPr>
            <p:cNvSpPr/>
            <p:nvPr/>
          </p:nvSpPr>
          <p:spPr bwMode="auto">
            <a:xfrm>
              <a:off x="707707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7" name="í$ľiḓé">
              <a:extLst>
                <a:ext uri="{FF2B5EF4-FFF2-40B4-BE49-F238E27FC236}">
                  <a16:creationId xmlns:a16="http://schemas.microsoft.com/office/drawing/2014/main" id="{6370D9E6-3389-4458-97EA-4930985AE6CC}"/>
                </a:ext>
              </a:extLst>
            </p:cNvPr>
            <p:cNvSpPr/>
            <p:nvPr/>
          </p:nvSpPr>
          <p:spPr bwMode="auto">
            <a:xfrm>
              <a:off x="711517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8" name="îšļiďé">
              <a:extLst>
                <a:ext uri="{FF2B5EF4-FFF2-40B4-BE49-F238E27FC236}">
                  <a16:creationId xmlns:a16="http://schemas.microsoft.com/office/drawing/2014/main" id="{B441541B-B4FE-4C0C-8286-BEE9332F549E}"/>
                </a:ext>
              </a:extLst>
            </p:cNvPr>
            <p:cNvSpPr/>
            <p:nvPr/>
          </p:nvSpPr>
          <p:spPr bwMode="auto">
            <a:xfrm>
              <a:off x="714851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9" name="iŝļïḓê">
              <a:extLst>
                <a:ext uri="{FF2B5EF4-FFF2-40B4-BE49-F238E27FC236}">
                  <a16:creationId xmlns:a16="http://schemas.microsoft.com/office/drawing/2014/main" id="{AF89367F-F860-4225-AD1F-9B82C7E7328C}"/>
                </a:ext>
              </a:extLst>
            </p:cNvPr>
            <p:cNvSpPr/>
            <p:nvPr/>
          </p:nvSpPr>
          <p:spPr bwMode="auto">
            <a:xfrm>
              <a:off x="7186613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0" name="íṩ1idê">
              <a:extLst>
                <a:ext uri="{FF2B5EF4-FFF2-40B4-BE49-F238E27FC236}">
                  <a16:creationId xmlns:a16="http://schemas.microsoft.com/office/drawing/2014/main" id="{D83E3489-93D8-4D98-A29E-621956C06F82}"/>
                </a:ext>
              </a:extLst>
            </p:cNvPr>
            <p:cNvSpPr/>
            <p:nvPr/>
          </p:nvSpPr>
          <p:spPr bwMode="auto">
            <a:xfrm>
              <a:off x="722312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1" name="iṧ1iḋé">
              <a:extLst>
                <a:ext uri="{FF2B5EF4-FFF2-40B4-BE49-F238E27FC236}">
                  <a16:creationId xmlns:a16="http://schemas.microsoft.com/office/drawing/2014/main" id="{328FD554-591A-45F0-B615-0E516D03899C}"/>
                </a:ext>
              </a:extLst>
            </p:cNvPr>
            <p:cNvSpPr/>
            <p:nvPr/>
          </p:nvSpPr>
          <p:spPr bwMode="auto">
            <a:xfrm>
              <a:off x="7258050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2" name="iṣľiḋe">
              <a:extLst>
                <a:ext uri="{FF2B5EF4-FFF2-40B4-BE49-F238E27FC236}">
                  <a16:creationId xmlns:a16="http://schemas.microsoft.com/office/drawing/2014/main" id="{E943221A-9FD7-4D9E-A7C0-1BC4D44F3C90}"/>
                </a:ext>
              </a:extLst>
            </p:cNvPr>
            <p:cNvSpPr/>
            <p:nvPr/>
          </p:nvSpPr>
          <p:spPr bwMode="auto">
            <a:xfrm>
              <a:off x="7178675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6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3" name="íš1îḋê">
              <a:extLst>
                <a:ext uri="{FF2B5EF4-FFF2-40B4-BE49-F238E27FC236}">
                  <a16:creationId xmlns:a16="http://schemas.microsoft.com/office/drawing/2014/main" id="{E60267AA-CDCB-410E-8163-946F66857D8B}"/>
                </a:ext>
              </a:extLst>
            </p:cNvPr>
            <p:cNvSpPr/>
            <p:nvPr/>
          </p:nvSpPr>
          <p:spPr bwMode="auto">
            <a:xfrm>
              <a:off x="6875463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7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4" name="íṣḷíḍê">
              <a:extLst>
                <a:ext uri="{FF2B5EF4-FFF2-40B4-BE49-F238E27FC236}">
                  <a16:creationId xmlns:a16="http://schemas.microsoft.com/office/drawing/2014/main" id="{CDE3BA28-ED32-4C2B-ACB5-A0DFF341A4F9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74613"/>
            </a:xfrm>
            <a:custGeom>
              <a:avLst/>
              <a:gdLst>
                <a:gd name="T0" fmla="*/ 65 w 65"/>
                <a:gd name="T1" fmla="*/ 28 h 28"/>
                <a:gd name="T2" fmla="*/ 57 w 65"/>
                <a:gd name="T3" fmla="*/ 28 h 28"/>
                <a:gd name="T4" fmla="*/ 57 w 65"/>
                <a:gd name="T5" fmla="*/ 11 h 28"/>
                <a:gd name="T6" fmla="*/ 54 w 65"/>
                <a:gd name="T7" fmla="*/ 8 h 28"/>
                <a:gd name="T8" fmla="*/ 11 w 65"/>
                <a:gd name="T9" fmla="*/ 8 h 28"/>
                <a:gd name="T10" fmla="*/ 8 w 65"/>
                <a:gd name="T11" fmla="*/ 11 h 28"/>
                <a:gd name="T12" fmla="*/ 8 w 65"/>
                <a:gd name="T13" fmla="*/ 28 h 28"/>
                <a:gd name="T14" fmla="*/ 0 w 65"/>
                <a:gd name="T15" fmla="*/ 28 h 28"/>
                <a:gd name="T16" fmla="*/ 0 w 65"/>
                <a:gd name="T17" fmla="*/ 11 h 28"/>
                <a:gd name="T18" fmla="*/ 11 w 65"/>
                <a:gd name="T19" fmla="*/ 0 h 28"/>
                <a:gd name="T20" fmla="*/ 54 w 65"/>
                <a:gd name="T21" fmla="*/ 0 h 28"/>
                <a:gd name="T22" fmla="*/ 65 w 65"/>
                <a:gd name="T23" fmla="*/ 11 h 28"/>
                <a:gd name="T24" fmla="*/ 65 w 65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28">
                  <a:moveTo>
                    <a:pt x="65" y="28"/>
                  </a:moveTo>
                  <a:cubicBezTo>
                    <a:pt x="57" y="28"/>
                    <a:pt x="57" y="28"/>
                    <a:pt x="57" y="28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7" y="9"/>
                    <a:pt x="56" y="8"/>
                    <a:pt x="54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8" y="9"/>
                    <a:pt x="8" y="11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0" y="0"/>
                    <a:pt x="65" y="5"/>
                    <a:pt x="65" y="11"/>
                  </a:cubicBezTo>
                  <a:lnTo>
                    <a:pt x="65" y="28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5" name="íṥḻïḓe">
              <a:extLst>
                <a:ext uri="{FF2B5EF4-FFF2-40B4-BE49-F238E27FC236}">
                  <a16:creationId xmlns:a16="http://schemas.microsoft.com/office/drawing/2014/main" id="{9B74D01E-B4FE-4B85-94DF-178387239A09}"/>
                </a:ext>
              </a:extLst>
            </p:cNvPr>
            <p:cNvSpPr/>
            <p:nvPr/>
          </p:nvSpPr>
          <p:spPr bwMode="auto">
            <a:xfrm>
              <a:off x="7132638" y="3236913"/>
              <a:ext cx="22225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6" name="íś1îdê">
              <a:extLst>
                <a:ext uri="{FF2B5EF4-FFF2-40B4-BE49-F238E27FC236}">
                  <a16:creationId xmlns:a16="http://schemas.microsoft.com/office/drawing/2014/main" id="{E280A17F-987F-41AB-8341-0EC7E2A181D0}"/>
                </a:ext>
              </a:extLst>
            </p:cNvPr>
            <p:cNvSpPr/>
            <p:nvPr/>
          </p:nvSpPr>
          <p:spPr bwMode="auto">
            <a:xfrm>
              <a:off x="6981825" y="3236913"/>
              <a:ext cx="20638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7" name="îṩļïḓè">
              <a:extLst>
                <a:ext uri="{FF2B5EF4-FFF2-40B4-BE49-F238E27FC236}">
                  <a16:creationId xmlns:a16="http://schemas.microsoft.com/office/drawing/2014/main" id="{720816F4-642D-469E-822C-9D565F498CDE}"/>
                </a:ext>
              </a:extLst>
            </p:cNvPr>
            <p:cNvSpPr/>
            <p:nvPr/>
          </p:nvSpPr>
          <p:spPr bwMode="auto">
            <a:xfrm>
              <a:off x="6899275" y="3324225"/>
              <a:ext cx="34925" cy="55563"/>
            </a:xfrm>
            <a:custGeom>
              <a:avLst/>
              <a:gdLst>
                <a:gd name="T0" fmla="*/ 4 w 13"/>
                <a:gd name="T1" fmla="*/ 0 h 21"/>
                <a:gd name="T2" fmla="*/ 8 w 13"/>
                <a:gd name="T3" fmla="*/ 0 h 21"/>
                <a:gd name="T4" fmla="*/ 13 w 13"/>
                <a:gd name="T5" fmla="*/ 5 h 21"/>
                <a:gd name="T6" fmla="*/ 13 w 13"/>
                <a:gd name="T7" fmla="*/ 17 h 21"/>
                <a:gd name="T8" fmla="*/ 8 w 13"/>
                <a:gd name="T9" fmla="*/ 21 h 21"/>
                <a:gd name="T10" fmla="*/ 4 w 13"/>
                <a:gd name="T11" fmla="*/ 21 h 21"/>
                <a:gd name="T12" fmla="*/ 0 w 13"/>
                <a:gd name="T13" fmla="*/ 17 h 21"/>
                <a:gd name="T14" fmla="*/ 0 w 13"/>
                <a:gd name="T15" fmla="*/ 5 h 21"/>
                <a:gd name="T16" fmla="*/ 4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5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9"/>
                    <a:pt x="11" y="21"/>
                    <a:pt x="8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2" y="21"/>
                    <a:pt x="0" y="19"/>
                    <a:pt x="0" y="1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8" name="íšļíḑê">
              <a:extLst>
                <a:ext uri="{FF2B5EF4-FFF2-40B4-BE49-F238E27FC236}">
                  <a16:creationId xmlns:a16="http://schemas.microsoft.com/office/drawing/2014/main" id="{F033DDB0-1E10-4486-92E2-514D3D4D2408}"/>
                </a:ext>
              </a:extLst>
            </p:cNvPr>
            <p:cNvSpPr/>
            <p:nvPr/>
          </p:nvSpPr>
          <p:spPr bwMode="auto">
            <a:xfrm>
              <a:off x="6899275" y="3300413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4 h 17"/>
                <a:gd name="T16" fmla="*/ 10 w 13"/>
                <a:gd name="T17" fmla="*/ 14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9" name="ïṣ1iḑè">
              <a:extLst>
                <a:ext uri="{FF2B5EF4-FFF2-40B4-BE49-F238E27FC236}">
                  <a16:creationId xmlns:a16="http://schemas.microsoft.com/office/drawing/2014/main" id="{DAB54A6D-7432-46BC-B02F-13823F86C2C1}"/>
                </a:ext>
              </a:extLst>
            </p:cNvPr>
            <p:cNvSpPr/>
            <p:nvPr/>
          </p:nvSpPr>
          <p:spPr bwMode="auto">
            <a:xfrm>
              <a:off x="6899275" y="3295650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5 h 17"/>
                <a:gd name="T16" fmla="*/ 10 w 13"/>
                <a:gd name="T17" fmla="*/ 15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5"/>
                  </a:moveTo>
                  <a:cubicBezTo>
                    <a:pt x="10" y="15"/>
                    <a:pt x="10" y="15"/>
                    <a:pt x="10" y="1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5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0" name="iŝľiḓé">
              <a:extLst>
                <a:ext uri="{FF2B5EF4-FFF2-40B4-BE49-F238E27FC236}">
                  <a16:creationId xmlns:a16="http://schemas.microsoft.com/office/drawing/2014/main" id="{E8D75979-D35B-4074-BB03-C17CC14AAE1E}"/>
                </a:ext>
              </a:extLst>
            </p:cNvPr>
            <p:cNvSpPr/>
            <p:nvPr/>
          </p:nvSpPr>
          <p:spPr bwMode="auto">
            <a:xfrm>
              <a:off x="6899275" y="3319463"/>
              <a:ext cx="34925" cy="52388"/>
            </a:xfrm>
            <a:custGeom>
              <a:avLst/>
              <a:gdLst>
                <a:gd name="T0" fmla="*/ 4 w 13"/>
                <a:gd name="T1" fmla="*/ 0 h 20"/>
                <a:gd name="T2" fmla="*/ 8 w 13"/>
                <a:gd name="T3" fmla="*/ 0 h 20"/>
                <a:gd name="T4" fmla="*/ 13 w 13"/>
                <a:gd name="T5" fmla="*/ 4 h 20"/>
                <a:gd name="T6" fmla="*/ 13 w 13"/>
                <a:gd name="T7" fmla="*/ 16 h 20"/>
                <a:gd name="T8" fmla="*/ 8 w 13"/>
                <a:gd name="T9" fmla="*/ 20 h 20"/>
                <a:gd name="T10" fmla="*/ 4 w 13"/>
                <a:gd name="T11" fmla="*/ 20 h 20"/>
                <a:gd name="T12" fmla="*/ 0 w 13"/>
                <a:gd name="T13" fmla="*/ 16 h 20"/>
                <a:gd name="T14" fmla="*/ 0 w 13"/>
                <a:gd name="T15" fmla="*/ 4 h 20"/>
                <a:gd name="T16" fmla="*/ 4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8"/>
                    <a:pt x="11" y="20"/>
                    <a:pt x="8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1" name="îṡḻiďê">
              <a:extLst>
                <a:ext uri="{FF2B5EF4-FFF2-40B4-BE49-F238E27FC236}">
                  <a16:creationId xmlns:a16="http://schemas.microsoft.com/office/drawing/2014/main" id="{1A2D7D05-59A5-4954-A4AF-C96CB5E70C13}"/>
                </a:ext>
              </a:extLst>
            </p:cNvPr>
            <p:cNvSpPr/>
            <p:nvPr/>
          </p:nvSpPr>
          <p:spPr bwMode="auto">
            <a:xfrm>
              <a:off x="6910388" y="3344863"/>
              <a:ext cx="23813" cy="26988"/>
            </a:xfrm>
            <a:custGeom>
              <a:avLst/>
              <a:gdLst>
                <a:gd name="T0" fmla="*/ 7 w 9"/>
                <a:gd name="T1" fmla="*/ 8 h 10"/>
                <a:gd name="T2" fmla="*/ 8 w 9"/>
                <a:gd name="T3" fmla="*/ 0 h 10"/>
                <a:gd name="T4" fmla="*/ 9 w 9"/>
                <a:gd name="T5" fmla="*/ 0 h 10"/>
                <a:gd name="T6" fmla="*/ 9 w 9"/>
                <a:gd name="T7" fmla="*/ 6 h 10"/>
                <a:gd name="T8" fmla="*/ 4 w 9"/>
                <a:gd name="T9" fmla="*/ 10 h 10"/>
                <a:gd name="T10" fmla="*/ 0 w 9"/>
                <a:gd name="T11" fmla="*/ 10 h 10"/>
                <a:gd name="T12" fmla="*/ 7 w 9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8"/>
                  </a:moveTo>
                  <a:cubicBezTo>
                    <a:pt x="8" y="7"/>
                    <a:pt x="8" y="5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9"/>
                    <a:pt x="7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6" y="9"/>
                    <a:pt x="7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2" name="iŝḻidê">
              <a:extLst>
                <a:ext uri="{FF2B5EF4-FFF2-40B4-BE49-F238E27FC236}">
                  <a16:creationId xmlns:a16="http://schemas.microsoft.com/office/drawing/2014/main" id="{121FA008-05B4-4883-85D3-F85FEBAC1552}"/>
                </a:ext>
              </a:extLst>
            </p:cNvPr>
            <p:cNvSpPr/>
            <p:nvPr/>
          </p:nvSpPr>
          <p:spPr bwMode="auto">
            <a:xfrm>
              <a:off x="6899275" y="3344863"/>
              <a:ext cx="34925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3" name="íṩḷídè">
              <a:extLst>
                <a:ext uri="{FF2B5EF4-FFF2-40B4-BE49-F238E27FC236}">
                  <a16:creationId xmlns:a16="http://schemas.microsoft.com/office/drawing/2014/main" id="{340738F9-833B-4526-B916-2A5821E3D385}"/>
                </a:ext>
              </a:extLst>
            </p:cNvPr>
            <p:cNvSpPr/>
            <p:nvPr/>
          </p:nvSpPr>
          <p:spPr bwMode="auto">
            <a:xfrm>
              <a:off x="7202488" y="3324225"/>
              <a:ext cx="33338" cy="55563"/>
            </a:xfrm>
            <a:custGeom>
              <a:avLst/>
              <a:gdLst>
                <a:gd name="T0" fmla="*/ 9 w 13"/>
                <a:gd name="T1" fmla="*/ 0 h 21"/>
                <a:gd name="T2" fmla="*/ 5 w 13"/>
                <a:gd name="T3" fmla="*/ 0 h 21"/>
                <a:gd name="T4" fmla="*/ 0 w 13"/>
                <a:gd name="T5" fmla="*/ 5 h 21"/>
                <a:gd name="T6" fmla="*/ 0 w 13"/>
                <a:gd name="T7" fmla="*/ 17 h 21"/>
                <a:gd name="T8" fmla="*/ 5 w 13"/>
                <a:gd name="T9" fmla="*/ 21 h 21"/>
                <a:gd name="T10" fmla="*/ 9 w 13"/>
                <a:gd name="T11" fmla="*/ 21 h 21"/>
                <a:gd name="T12" fmla="*/ 13 w 13"/>
                <a:gd name="T13" fmla="*/ 17 h 21"/>
                <a:gd name="T14" fmla="*/ 13 w 13"/>
                <a:gd name="T15" fmla="*/ 5 h 21"/>
                <a:gd name="T16" fmla="*/ 9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2" y="21"/>
                    <a:pt x="5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1" y="21"/>
                    <a:pt x="13" y="19"/>
                    <a:pt x="13" y="1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4" name="íş1ïďe">
              <a:extLst>
                <a:ext uri="{FF2B5EF4-FFF2-40B4-BE49-F238E27FC236}">
                  <a16:creationId xmlns:a16="http://schemas.microsoft.com/office/drawing/2014/main" id="{65C8DD7D-0FCF-44E5-97FB-944BE9CC4D7A}"/>
                </a:ext>
              </a:extLst>
            </p:cNvPr>
            <p:cNvSpPr/>
            <p:nvPr/>
          </p:nvSpPr>
          <p:spPr bwMode="auto">
            <a:xfrm>
              <a:off x="7202488" y="3300413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4 h 17"/>
                <a:gd name="T24" fmla="*/ 11 w 13"/>
                <a:gd name="T25" fmla="*/ 14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5" name="i$ļîḑè">
              <a:extLst>
                <a:ext uri="{FF2B5EF4-FFF2-40B4-BE49-F238E27FC236}">
                  <a16:creationId xmlns:a16="http://schemas.microsoft.com/office/drawing/2014/main" id="{CFC7D27B-E1EA-4A83-9035-4A2182A2E1CE}"/>
                </a:ext>
              </a:extLst>
            </p:cNvPr>
            <p:cNvSpPr/>
            <p:nvPr/>
          </p:nvSpPr>
          <p:spPr bwMode="auto">
            <a:xfrm>
              <a:off x="7202488" y="3295650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5 h 17"/>
                <a:gd name="T24" fmla="*/ 11 w 13"/>
                <a:gd name="T25" fmla="*/ 15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6" name="íṣļïḋè">
              <a:extLst>
                <a:ext uri="{FF2B5EF4-FFF2-40B4-BE49-F238E27FC236}">
                  <a16:creationId xmlns:a16="http://schemas.microsoft.com/office/drawing/2014/main" id="{149EE908-9823-4F11-9937-47CA3410A891}"/>
                </a:ext>
              </a:extLst>
            </p:cNvPr>
            <p:cNvSpPr/>
            <p:nvPr/>
          </p:nvSpPr>
          <p:spPr bwMode="auto">
            <a:xfrm>
              <a:off x="7202488" y="3319463"/>
              <a:ext cx="33338" cy="52388"/>
            </a:xfrm>
            <a:custGeom>
              <a:avLst/>
              <a:gdLst>
                <a:gd name="T0" fmla="*/ 9 w 13"/>
                <a:gd name="T1" fmla="*/ 0 h 20"/>
                <a:gd name="T2" fmla="*/ 5 w 13"/>
                <a:gd name="T3" fmla="*/ 0 h 20"/>
                <a:gd name="T4" fmla="*/ 0 w 13"/>
                <a:gd name="T5" fmla="*/ 4 h 20"/>
                <a:gd name="T6" fmla="*/ 0 w 13"/>
                <a:gd name="T7" fmla="*/ 16 h 20"/>
                <a:gd name="T8" fmla="*/ 5 w 13"/>
                <a:gd name="T9" fmla="*/ 20 h 20"/>
                <a:gd name="T10" fmla="*/ 9 w 13"/>
                <a:gd name="T11" fmla="*/ 20 h 20"/>
                <a:gd name="T12" fmla="*/ 13 w 13"/>
                <a:gd name="T13" fmla="*/ 16 h 20"/>
                <a:gd name="T14" fmla="*/ 13 w 13"/>
                <a:gd name="T15" fmla="*/ 4 h 20"/>
                <a:gd name="T16" fmla="*/ 9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2" y="20"/>
                    <a:pt x="5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1" y="20"/>
                    <a:pt x="13" y="18"/>
                    <a:pt x="13" y="16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7" name="í$1îḋê">
              <a:extLst>
                <a:ext uri="{FF2B5EF4-FFF2-40B4-BE49-F238E27FC236}">
                  <a16:creationId xmlns:a16="http://schemas.microsoft.com/office/drawing/2014/main" id="{3A80CC29-C674-4C91-8A86-FACB21134338}"/>
                </a:ext>
              </a:extLst>
            </p:cNvPr>
            <p:cNvSpPr/>
            <p:nvPr/>
          </p:nvSpPr>
          <p:spPr bwMode="auto">
            <a:xfrm>
              <a:off x="7037388" y="3316288"/>
              <a:ext cx="61913" cy="44450"/>
            </a:xfrm>
            <a:custGeom>
              <a:avLst/>
              <a:gdLst>
                <a:gd name="T0" fmla="*/ 0 w 23"/>
                <a:gd name="T1" fmla="*/ 0 h 17"/>
                <a:gd name="T2" fmla="*/ 23 w 23"/>
                <a:gd name="T3" fmla="*/ 0 h 17"/>
                <a:gd name="T4" fmla="*/ 22 w 23"/>
                <a:gd name="T5" fmla="*/ 14 h 17"/>
                <a:gd name="T6" fmla="*/ 19 w 23"/>
                <a:gd name="T7" fmla="*/ 17 h 17"/>
                <a:gd name="T8" fmla="*/ 4 w 23"/>
                <a:gd name="T9" fmla="*/ 17 h 17"/>
                <a:gd name="T10" fmla="*/ 1 w 23"/>
                <a:gd name="T11" fmla="*/ 14 h 17"/>
                <a:gd name="T12" fmla="*/ 0 w 23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7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6"/>
                    <a:pt x="21" y="17"/>
                    <a:pt x="19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2" y="16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8" name="iṧļíḓe">
              <a:extLst>
                <a:ext uri="{FF2B5EF4-FFF2-40B4-BE49-F238E27FC236}">
                  <a16:creationId xmlns:a16="http://schemas.microsoft.com/office/drawing/2014/main" id="{7E295338-1861-4B85-BE4C-20E3EA99B75C}"/>
                </a:ext>
              </a:extLst>
            </p:cNvPr>
            <p:cNvSpPr/>
            <p:nvPr/>
          </p:nvSpPr>
          <p:spPr bwMode="auto">
            <a:xfrm>
              <a:off x="7056438" y="3314700"/>
              <a:ext cx="23813" cy="36513"/>
            </a:xfrm>
            <a:custGeom>
              <a:avLst/>
              <a:gdLst>
                <a:gd name="T0" fmla="*/ 9 w 9"/>
                <a:gd name="T1" fmla="*/ 5 h 14"/>
                <a:gd name="T2" fmla="*/ 4 w 9"/>
                <a:gd name="T3" fmla="*/ 1 h 14"/>
                <a:gd name="T4" fmla="*/ 0 w 9"/>
                <a:gd name="T5" fmla="*/ 4 h 14"/>
                <a:gd name="T6" fmla="*/ 3 w 9"/>
                <a:gd name="T7" fmla="*/ 9 h 14"/>
                <a:gd name="T8" fmla="*/ 2 w 9"/>
                <a:gd name="T9" fmla="*/ 13 h 14"/>
                <a:gd name="T10" fmla="*/ 3 w 9"/>
                <a:gd name="T11" fmla="*/ 14 h 14"/>
                <a:gd name="T12" fmla="*/ 7 w 9"/>
                <a:gd name="T13" fmla="*/ 14 h 14"/>
                <a:gd name="T14" fmla="*/ 7 w 9"/>
                <a:gd name="T15" fmla="*/ 13 h 14"/>
                <a:gd name="T16" fmla="*/ 6 w 9"/>
                <a:gd name="T17" fmla="*/ 9 h 14"/>
                <a:gd name="T18" fmla="*/ 9 w 9"/>
                <a:gd name="T1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4">
                  <a:moveTo>
                    <a:pt x="9" y="5"/>
                  </a:moveTo>
                  <a:cubicBezTo>
                    <a:pt x="9" y="2"/>
                    <a:pt x="7" y="0"/>
                    <a:pt x="4" y="1"/>
                  </a:cubicBezTo>
                  <a:cubicBezTo>
                    <a:pt x="2" y="1"/>
                    <a:pt x="1" y="2"/>
                    <a:pt x="0" y="4"/>
                  </a:cubicBezTo>
                  <a:cubicBezTo>
                    <a:pt x="0" y="6"/>
                    <a:pt x="1" y="8"/>
                    <a:pt x="3" y="9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4"/>
                    <a:pt x="3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3"/>
                    <a:pt x="7" y="13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8"/>
                    <a:pt x="9" y="7"/>
                    <a:pt x="9" y="5"/>
                  </a:cubicBezTo>
                  <a:close/>
                </a:path>
              </a:pathLst>
            </a:custGeom>
            <a:solidFill>
              <a:srgbClr val="193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9" name="îṥļïḑê">
              <a:extLst>
                <a:ext uri="{FF2B5EF4-FFF2-40B4-BE49-F238E27FC236}">
                  <a16:creationId xmlns:a16="http://schemas.microsoft.com/office/drawing/2014/main" id="{13832323-EC9B-4A06-80C2-B5F867299CBF}"/>
                </a:ext>
              </a:extLst>
            </p:cNvPr>
            <p:cNvSpPr/>
            <p:nvPr/>
          </p:nvSpPr>
          <p:spPr bwMode="auto">
            <a:xfrm>
              <a:off x="7178675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0" name="îṧľïdé">
              <a:extLst>
                <a:ext uri="{FF2B5EF4-FFF2-40B4-BE49-F238E27FC236}">
                  <a16:creationId xmlns:a16="http://schemas.microsoft.com/office/drawing/2014/main" id="{F880DF02-8966-4DD5-A126-1E143EE5454F}"/>
                </a:ext>
              </a:extLst>
            </p:cNvPr>
            <p:cNvSpPr/>
            <p:nvPr/>
          </p:nvSpPr>
          <p:spPr bwMode="auto">
            <a:xfrm>
              <a:off x="6875463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1" name="íṡ1íḓè">
              <a:extLst>
                <a:ext uri="{FF2B5EF4-FFF2-40B4-BE49-F238E27FC236}">
                  <a16:creationId xmlns:a16="http://schemas.microsoft.com/office/drawing/2014/main" id="{902F0C2E-DC16-4F25-A78E-E63C482C03F0}"/>
                </a:ext>
              </a:extLst>
            </p:cNvPr>
            <p:cNvSpPr/>
            <p:nvPr/>
          </p:nvSpPr>
          <p:spPr bwMode="auto">
            <a:xfrm>
              <a:off x="6854825" y="3248025"/>
              <a:ext cx="452438" cy="96838"/>
            </a:xfrm>
            <a:custGeom>
              <a:avLst/>
              <a:gdLst>
                <a:gd name="T0" fmla="*/ 161 w 171"/>
                <a:gd name="T1" fmla="*/ 0 h 37"/>
                <a:gd name="T2" fmla="*/ 0 w 171"/>
                <a:gd name="T3" fmla="*/ 0 h 37"/>
                <a:gd name="T4" fmla="*/ 160 w 171"/>
                <a:gd name="T5" fmla="*/ 4 h 37"/>
                <a:gd name="T6" fmla="*/ 165 w 171"/>
                <a:gd name="T7" fmla="*/ 9 h 37"/>
                <a:gd name="T8" fmla="*/ 165 w 171"/>
                <a:gd name="T9" fmla="*/ 37 h 37"/>
                <a:gd name="T10" fmla="*/ 171 w 171"/>
                <a:gd name="T11" fmla="*/ 37 h 37"/>
                <a:gd name="T12" fmla="*/ 171 w 171"/>
                <a:gd name="T13" fmla="*/ 9 h 37"/>
                <a:gd name="T14" fmla="*/ 161 w 171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37">
                  <a:moveTo>
                    <a:pt x="16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3" y="4"/>
                    <a:pt x="165" y="6"/>
                    <a:pt x="165" y="9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71" y="9"/>
                    <a:pt x="171" y="9"/>
                    <a:pt x="171" y="9"/>
                  </a:cubicBezTo>
                  <a:cubicBezTo>
                    <a:pt x="171" y="4"/>
                    <a:pt x="166" y="0"/>
                    <a:pt x="161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2" name="iślídê">
              <a:extLst>
                <a:ext uri="{FF2B5EF4-FFF2-40B4-BE49-F238E27FC236}">
                  <a16:creationId xmlns:a16="http://schemas.microsoft.com/office/drawing/2014/main" id="{2BD5387E-F147-4319-B830-E83AF8E1F299}"/>
                </a:ext>
              </a:extLst>
            </p:cNvPr>
            <p:cNvSpPr/>
            <p:nvPr/>
          </p:nvSpPr>
          <p:spPr bwMode="auto">
            <a:xfrm>
              <a:off x="6910388" y="3319463"/>
              <a:ext cx="23813" cy="25400"/>
            </a:xfrm>
            <a:custGeom>
              <a:avLst/>
              <a:gdLst>
                <a:gd name="T0" fmla="*/ 7 w 9"/>
                <a:gd name="T1" fmla="*/ 2 h 10"/>
                <a:gd name="T2" fmla="*/ 8 w 9"/>
                <a:gd name="T3" fmla="*/ 10 h 10"/>
                <a:gd name="T4" fmla="*/ 9 w 9"/>
                <a:gd name="T5" fmla="*/ 10 h 10"/>
                <a:gd name="T6" fmla="*/ 9 w 9"/>
                <a:gd name="T7" fmla="*/ 4 h 10"/>
                <a:gd name="T8" fmla="*/ 4 w 9"/>
                <a:gd name="T9" fmla="*/ 0 h 10"/>
                <a:gd name="T10" fmla="*/ 0 w 9"/>
                <a:gd name="T11" fmla="*/ 0 h 10"/>
                <a:gd name="T12" fmla="*/ 7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2"/>
                  </a:moveTo>
                  <a:cubicBezTo>
                    <a:pt x="8" y="3"/>
                    <a:pt x="8" y="5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1"/>
                    <a:pt x="7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1"/>
                    <a:pt x="7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3" name="íšḷíďe">
              <a:extLst>
                <a:ext uri="{FF2B5EF4-FFF2-40B4-BE49-F238E27FC236}">
                  <a16:creationId xmlns:a16="http://schemas.microsoft.com/office/drawing/2014/main" id="{2D5816A2-6B92-4781-AA47-3400DC18D885}"/>
                </a:ext>
              </a:extLst>
            </p:cNvPr>
            <p:cNvSpPr/>
            <p:nvPr/>
          </p:nvSpPr>
          <p:spPr bwMode="auto">
            <a:xfrm>
              <a:off x="7215188" y="3344863"/>
              <a:ext cx="20638" cy="26988"/>
            </a:xfrm>
            <a:custGeom>
              <a:avLst/>
              <a:gdLst>
                <a:gd name="T0" fmla="*/ 6 w 8"/>
                <a:gd name="T1" fmla="*/ 8 h 10"/>
                <a:gd name="T2" fmla="*/ 7 w 8"/>
                <a:gd name="T3" fmla="*/ 0 h 10"/>
                <a:gd name="T4" fmla="*/ 8 w 8"/>
                <a:gd name="T5" fmla="*/ 0 h 10"/>
                <a:gd name="T6" fmla="*/ 8 w 8"/>
                <a:gd name="T7" fmla="*/ 6 h 10"/>
                <a:gd name="T8" fmla="*/ 4 w 8"/>
                <a:gd name="T9" fmla="*/ 10 h 10"/>
                <a:gd name="T10" fmla="*/ 0 w 8"/>
                <a:gd name="T11" fmla="*/ 10 h 10"/>
                <a:gd name="T12" fmla="*/ 6 w 8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8"/>
                  </a:moveTo>
                  <a:cubicBezTo>
                    <a:pt x="7" y="7"/>
                    <a:pt x="7" y="5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9"/>
                    <a:pt x="6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5" y="9"/>
                    <a:pt x="6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4" name="íṧľíde">
              <a:extLst>
                <a:ext uri="{FF2B5EF4-FFF2-40B4-BE49-F238E27FC236}">
                  <a16:creationId xmlns:a16="http://schemas.microsoft.com/office/drawing/2014/main" id="{49A4A060-62AA-47A0-B672-F5C03DAD1E0E}"/>
                </a:ext>
              </a:extLst>
            </p:cNvPr>
            <p:cNvSpPr/>
            <p:nvPr/>
          </p:nvSpPr>
          <p:spPr bwMode="auto">
            <a:xfrm>
              <a:off x="7202488" y="3344863"/>
              <a:ext cx="33338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5" name="îṩ1ïḍè">
              <a:extLst>
                <a:ext uri="{FF2B5EF4-FFF2-40B4-BE49-F238E27FC236}">
                  <a16:creationId xmlns:a16="http://schemas.microsoft.com/office/drawing/2014/main" id="{B6BB2011-CE29-4CAF-BF6F-4D1579862D4A}"/>
                </a:ext>
              </a:extLst>
            </p:cNvPr>
            <p:cNvSpPr/>
            <p:nvPr/>
          </p:nvSpPr>
          <p:spPr bwMode="auto">
            <a:xfrm>
              <a:off x="7215188" y="3319463"/>
              <a:ext cx="20638" cy="25400"/>
            </a:xfrm>
            <a:custGeom>
              <a:avLst/>
              <a:gdLst>
                <a:gd name="T0" fmla="*/ 6 w 8"/>
                <a:gd name="T1" fmla="*/ 2 h 10"/>
                <a:gd name="T2" fmla="*/ 7 w 8"/>
                <a:gd name="T3" fmla="*/ 10 h 10"/>
                <a:gd name="T4" fmla="*/ 8 w 8"/>
                <a:gd name="T5" fmla="*/ 10 h 10"/>
                <a:gd name="T6" fmla="*/ 8 w 8"/>
                <a:gd name="T7" fmla="*/ 4 h 10"/>
                <a:gd name="T8" fmla="*/ 4 w 8"/>
                <a:gd name="T9" fmla="*/ 0 h 10"/>
                <a:gd name="T10" fmla="*/ 0 w 8"/>
                <a:gd name="T11" fmla="*/ 0 h 10"/>
                <a:gd name="T12" fmla="*/ 6 w 8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2"/>
                  </a:moveTo>
                  <a:cubicBezTo>
                    <a:pt x="7" y="3"/>
                    <a:pt x="7" y="5"/>
                    <a:pt x="7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6" name="ïṥ1íḋê">
              <a:extLst>
                <a:ext uri="{FF2B5EF4-FFF2-40B4-BE49-F238E27FC236}">
                  <a16:creationId xmlns:a16="http://schemas.microsoft.com/office/drawing/2014/main" id="{50B9730D-A355-4FBF-8AFD-4AAA92E99C6D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34925"/>
            </a:xfrm>
            <a:custGeom>
              <a:avLst/>
              <a:gdLst>
                <a:gd name="T0" fmla="*/ 54 w 65"/>
                <a:gd name="T1" fmla="*/ 0 h 13"/>
                <a:gd name="T2" fmla="*/ 11 w 65"/>
                <a:gd name="T3" fmla="*/ 0 h 13"/>
                <a:gd name="T4" fmla="*/ 0 w 65"/>
                <a:gd name="T5" fmla="*/ 11 h 13"/>
                <a:gd name="T6" fmla="*/ 0 w 65"/>
                <a:gd name="T7" fmla="*/ 13 h 13"/>
                <a:gd name="T8" fmla="*/ 10 w 65"/>
                <a:gd name="T9" fmla="*/ 3 h 13"/>
                <a:gd name="T10" fmla="*/ 55 w 65"/>
                <a:gd name="T11" fmla="*/ 3 h 13"/>
                <a:gd name="T12" fmla="*/ 65 w 65"/>
                <a:gd name="T13" fmla="*/ 13 h 13"/>
                <a:gd name="T14" fmla="*/ 65 w 65"/>
                <a:gd name="T15" fmla="*/ 11 h 13"/>
                <a:gd name="T16" fmla="*/ 54 w 65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3">
                  <a:moveTo>
                    <a:pt x="5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"/>
                    <a:pt x="5" y="3"/>
                    <a:pt x="10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61" y="3"/>
                    <a:pt x="65" y="8"/>
                    <a:pt x="65" y="13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5"/>
                    <a:pt x="60" y="0"/>
                    <a:pt x="54" y="0"/>
                  </a:cubicBez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7" name="îṣ1idé">
              <a:extLst>
                <a:ext uri="{FF2B5EF4-FFF2-40B4-BE49-F238E27FC236}">
                  <a16:creationId xmlns:a16="http://schemas.microsoft.com/office/drawing/2014/main" id="{492C446C-C357-44B6-924A-4C4C134F6FD1}"/>
                </a:ext>
              </a:extLst>
            </p:cNvPr>
            <p:cNvSpPr/>
            <p:nvPr/>
          </p:nvSpPr>
          <p:spPr bwMode="auto">
            <a:xfrm>
              <a:off x="6251575" y="1531938"/>
              <a:ext cx="25400" cy="12065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8" name="iśľïḑé">
              <a:extLst>
                <a:ext uri="{FF2B5EF4-FFF2-40B4-BE49-F238E27FC236}">
                  <a16:creationId xmlns:a16="http://schemas.microsoft.com/office/drawing/2014/main" id="{8C98EEBC-0B81-4A7B-988C-0D726DCCEFAA}"/>
                </a:ext>
              </a:extLst>
            </p:cNvPr>
            <p:cNvSpPr/>
            <p:nvPr/>
          </p:nvSpPr>
          <p:spPr bwMode="auto">
            <a:xfrm>
              <a:off x="5978525" y="1222375"/>
              <a:ext cx="2343150" cy="247650"/>
            </a:xfrm>
            <a:custGeom>
              <a:avLst/>
              <a:gdLst>
                <a:gd name="T0" fmla="*/ 1476 w 1476"/>
                <a:gd name="T1" fmla="*/ 156 h 156"/>
                <a:gd name="T2" fmla="*/ 0 w 1476"/>
                <a:gd name="T3" fmla="*/ 156 h 156"/>
                <a:gd name="T4" fmla="*/ 202 w 1476"/>
                <a:gd name="T5" fmla="*/ 0 h 156"/>
                <a:gd name="T6" fmla="*/ 1476 w 1476"/>
                <a:gd name="T7" fmla="*/ 0 h 156"/>
                <a:gd name="T8" fmla="*/ 1476 w 1476"/>
                <a:gd name="T9" fmla="*/ 156 h 156"/>
                <a:gd name="T10" fmla="*/ 50 w 1476"/>
                <a:gd name="T11" fmla="*/ 140 h 156"/>
                <a:gd name="T12" fmla="*/ 1460 w 1476"/>
                <a:gd name="T13" fmla="*/ 140 h 156"/>
                <a:gd name="T14" fmla="*/ 1460 w 1476"/>
                <a:gd name="T15" fmla="*/ 16 h 156"/>
                <a:gd name="T16" fmla="*/ 208 w 1476"/>
                <a:gd name="T17" fmla="*/ 16 h 156"/>
                <a:gd name="T18" fmla="*/ 50 w 1476"/>
                <a:gd name="T19" fmla="*/ 14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56">
                  <a:moveTo>
                    <a:pt x="1476" y="156"/>
                  </a:moveTo>
                  <a:lnTo>
                    <a:pt x="0" y="156"/>
                  </a:lnTo>
                  <a:lnTo>
                    <a:pt x="202" y="0"/>
                  </a:lnTo>
                  <a:lnTo>
                    <a:pt x="1476" y="0"/>
                  </a:lnTo>
                  <a:lnTo>
                    <a:pt x="1476" y="156"/>
                  </a:lnTo>
                  <a:close/>
                  <a:moveTo>
                    <a:pt x="50" y="140"/>
                  </a:moveTo>
                  <a:lnTo>
                    <a:pt x="1460" y="140"/>
                  </a:lnTo>
                  <a:lnTo>
                    <a:pt x="1460" y="16"/>
                  </a:lnTo>
                  <a:lnTo>
                    <a:pt x="208" y="16"/>
                  </a:lnTo>
                  <a:lnTo>
                    <a:pt x="50" y="14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9" name="iśḻíḍè">
              <a:extLst>
                <a:ext uri="{FF2B5EF4-FFF2-40B4-BE49-F238E27FC236}">
                  <a16:creationId xmlns:a16="http://schemas.microsoft.com/office/drawing/2014/main" id="{F68F5C6A-DA1B-4F68-B2DA-6648FE0C58EA}"/>
                </a:ext>
              </a:extLst>
            </p:cNvPr>
            <p:cNvSpPr/>
            <p:nvPr/>
          </p:nvSpPr>
          <p:spPr bwMode="auto">
            <a:xfrm>
              <a:off x="7535863" y="40497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1 h 150"/>
                <a:gd name="T12" fmla="*/ 297 w 315"/>
                <a:gd name="T13" fmla="*/ 131 h 150"/>
                <a:gd name="T14" fmla="*/ 297 w 315"/>
                <a:gd name="T15" fmla="*/ 16 h 150"/>
                <a:gd name="T16" fmla="*/ 17 w 315"/>
                <a:gd name="T17" fmla="*/ 16 h 150"/>
                <a:gd name="T18" fmla="*/ 17 w 315"/>
                <a:gd name="T19" fmla="*/ 1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1"/>
                  </a:moveTo>
                  <a:lnTo>
                    <a:pt x="297" y="131"/>
                  </a:lnTo>
                  <a:lnTo>
                    <a:pt x="297" y="16"/>
                  </a:lnTo>
                  <a:lnTo>
                    <a:pt x="17" y="16"/>
                  </a:lnTo>
                  <a:lnTo>
                    <a:pt x="17" y="131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0" name="išľïḓe">
              <a:extLst>
                <a:ext uri="{FF2B5EF4-FFF2-40B4-BE49-F238E27FC236}">
                  <a16:creationId xmlns:a16="http://schemas.microsoft.com/office/drawing/2014/main" id="{9C5264C4-1F6F-475F-8D5A-683715EB72CB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6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1" name="íṩḻîḍé">
              <a:extLst>
                <a:ext uri="{FF2B5EF4-FFF2-40B4-BE49-F238E27FC236}">
                  <a16:creationId xmlns:a16="http://schemas.microsoft.com/office/drawing/2014/main" id="{98DD7F63-21FD-404E-A7E1-631F274446F5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6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2" name="îşļïḑè">
              <a:extLst>
                <a:ext uri="{FF2B5EF4-FFF2-40B4-BE49-F238E27FC236}">
                  <a16:creationId xmlns:a16="http://schemas.microsoft.com/office/drawing/2014/main" id="{37F21F30-6CA2-4D8B-8DB3-6C90B484A75F}"/>
                </a:ext>
              </a:extLst>
            </p:cNvPr>
            <p:cNvSpPr/>
            <p:nvPr/>
          </p:nvSpPr>
          <p:spPr bwMode="auto">
            <a:xfrm>
              <a:off x="7535863" y="383698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4 h 150"/>
                <a:gd name="T12" fmla="*/ 297 w 315"/>
                <a:gd name="T13" fmla="*/ 134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4"/>
                  </a:moveTo>
                  <a:lnTo>
                    <a:pt x="297" y="134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3" name="ï$ḷïḍé">
              <a:extLst>
                <a:ext uri="{FF2B5EF4-FFF2-40B4-BE49-F238E27FC236}">
                  <a16:creationId xmlns:a16="http://schemas.microsoft.com/office/drawing/2014/main" id="{D2B49452-9FD8-4A09-B463-DC5AD1E422A3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4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4" name="îšḻíḑe">
              <a:extLst>
                <a:ext uri="{FF2B5EF4-FFF2-40B4-BE49-F238E27FC236}">
                  <a16:creationId xmlns:a16="http://schemas.microsoft.com/office/drawing/2014/main" id="{B3995B82-8FE2-4BE4-9BC7-51D6DFF6442C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4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5" name="îṥ1ïḋè">
              <a:extLst>
                <a:ext uri="{FF2B5EF4-FFF2-40B4-BE49-F238E27FC236}">
                  <a16:creationId xmlns:a16="http://schemas.microsoft.com/office/drawing/2014/main" id="{266DA65E-52F9-49AD-904A-7E500198A787}"/>
                </a:ext>
              </a:extLst>
            </p:cNvPr>
            <p:cNvSpPr/>
            <p:nvPr/>
          </p:nvSpPr>
          <p:spPr bwMode="auto">
            <a:xfrm>
              <a:off x="7535863" y="36258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6" name="îṧḻïďé">
              <a:extLst>
                <a:ext uri="{FF2B5EF4-FFF2-40B4-BE49-F238E27FC236}">
                  <a16:creationId xmlns:a16="http://schemas.microsoft.com/office/drawing/2014/main" id="{57EC744B-5EB6-45B0-8D2B-47A7D70E144F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7" name="îṡḻïḋé">
              <a:extLst>
                <a:ext uri="{FF2B5EF4-FFF2-40B4-BE49-F238E27FC236}">
                  <a16:creationId xmlns:a16="http://schemas.microsoft.com/office/drawing/2014/main" id="{EFB7552C-D207-4087-ABFB-9C8D09F38881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8" name="i$ḷîḍe">
              <a:extLst>
                <a:ext uri="{FF2B5EF4-FFF2-40B4-BE49-F238E27FC236}">
                  <a16:creationId xmlns:a16="http://schemas.microsoft.com/office/drawing/2014/main" id="{4CA6561D-7E59-43B6-9EAC-9D88AF653998}"/>
                </a:ext>
              </a:extLst>
            </p:cNvPr>
            <p:cNvSpPr/>
            <p:nvPr/>
          </p:nvSpPr>
          <p:spPr bwMode="auto">
            <a:xfrm>
              <a:off x="7535863" y="34163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9" name="íśļîḍê">
              <a:extLst>
                <a:ext uri="{FF2B5EF4-FFF2-40B4-BE49-F238E27FC236}">
                  <a16:creationId xmlns:a16="http://schemas.microsoft.com/office/drawing/2014/main" id="{C62F5C54-3C24-4ED9-8ED3-3CB49062CAFF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0" name="íšḷïdê">
              <a:extLst>
                <a:ext uri="{FF2B5EF4-FFF2-40B4-BE49-F238E27FC236}">
                  <a16:creationId xmlns:a16="http://schemas.microsoft.com/office/drawing/2014/main" id="{299E842A-4867-4A07-9605-7F141F09817B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1" name="íŝḷíḍê">
              <a:extLst>
                <a:ext uri="{FF2B5EF4-FFF2-40B4-BE49-F238E27FC236}">
                  <a16:creationId xmlns:a16="http://schemas.microsoft.com/office/drawing/2014/main" id="{E9E7BDDB-7B15-450F-B3CC-3BED0E9DC7F4}"/>
                </a:ext>
              </a:extLst>
            </p:cNvPr>
            <p:cNvSpPr/>
            <p:nvPr/>
          </p:nvSpPr>
          <p:spPr bwMode="auto">
            <a:xfrm>
              <a:off x="7535863" y="320516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2" name="íSliḋe">
              <a:extLst>
                <a:ext uri="{FF2B5EF4-FFF2-40B4-BE49-F238E27FC236}">
                  <a16:creationId xmlns:a16="http://schemas.microsoft.com/office/drawing/2014/main" id="{56E76DB4-1B6B-49EF-930F-6A3635FFDE83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3" name="ïṣļíḍè">
              <a:extLst>
                <a:ext uri="{FF2B5EF4-FFF2-40B4-BE49-F238E27FC236}">
                  <a16:creationId xmlns:a16="http://schemas.microsoft.com/office/drawing/2014/main" id="{1FAF872C-7CDF-4A6E-BCC6-CCA52E804F25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4" name="íş1ïḍê">
              <a:extLst>
                <a:ext uri="{FF2B5EF4-FFF2-40B4-BE49-F238E27FC236}">
                  <a16:creationId xmlns:a16="http://schemas.microsoft.com/office/drawing/2014/main" id="{538BBDBD-E780-44ED-8CD3-B249AF1F55E5}"/>
                </a:ext>
              </a:extLst>
            </p:cNvPr>
            <p:cNvSpPr/>
            <p:nvPr/>
          </p:nvSpPr>
          <p:spPr bwMode="auto">
            <a:xfrm>
              <a:off x="7535863" y="299402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5" name="ïšľïḑe">
              <a:extLst>
                <a:ext uri="{FF2B5EF4-FFF2-40B4-BE49-F238E27FC236}">
                  <a16:creationId xmlns:a16="http://schemas.microsoft.com/office/drawing/2014/main" id="{B51D1FE4-E848-47C0-B8F2-FA1536343551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6" name="îṧliḑé">
              <a:extLst>
                <a:ext uri="{FF2B5EF4-FFF2-40B4-BE49-F238E27FC236}">
                  <a16:creationId xmlns:a16="http://schemas.microsoft.com/office/drawing/2014/main" id="{6442ED25-6220-4F47-8BC1-91B7360C6D37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7" name="ïṧḻiḋè">
              <a:extLst>
                <a:ext uri="{FF2B5EF4-FFF2-40B4-BE49-F238E27FC236}">
                  <a16:creationId xmlns:a16="http://schemas.microsoft.com/office/drawing/2014/main" id="{6FD82E2E-3802-4A79-A973-A139F68F39D2}"/>
                </a:ext>
              </a:extLst>
            </p:cNvPr>
            <p:cNvSpPr/>
            <p:nvPr/>
          </p:nvSpPr>
          <p:spPr bwMode="auto">
            <a:xfrm>
              <a:off x="7535863" y="278447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8" name="ïśḻíḓê">
              <a:extLst>
                <a:ext uri="{FF2B5EF4-FFF2-40B4-BE49-F238E27FC236}">
                  <a16:creationId xmlns:a16="http://schemas.microsoft.com/office/drawing/2014/main" id="{7486AEDB-72F0-4ABC-A63F-8719B28C071A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9" name="íşľíḑe">
              <a:extLst>
                <a:ext uri="{FF2B5EF4-FFF2-40B4-BE49-F238E27FC236}">
                  <a16:creationId xmlns:a16="http://schemas.microsoft.com/office/drawing/2014/main" id="{9757F853-4BC5-43D1-8685-E8ACD40409B7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0" name="îṩľïḍè">
              <a:extLst>
                <a:ext uri="{FF2B5EF4-FFF2-40B4-BE49-F238E27FC236}">
                  <a16:creationId xmlns:a16="http://schemas.microsoft.com/office/drawing/2014/main" id="{FFC79EC3-62C3-44CB-9120-4A0FC38B0B69}"/>
                </a:ext>
              </a:extLst>
            </p:cNvPr>
            <p:cNvSpPr/>
            <p:nvPr/>
          </p:nvSpPr>
          <p:spPr bwMode="auto">
            <a:xfrm>
              <a:off x="7535863" y="257333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1" name="íṡļiḑè">
              <a:extLst>
                <a:ext uri="{FF2B5EF4-FFF2-40B4-BE49-F238E27FC236}">
                  <a16:creationId xmlns:a16="http://schemas.microsoft.com/office/drawing/2014/main" id="{E7B67540-80E8-4FBD-8D62-CB766D04D0E1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2" name="ïŝ1iḍé">
              <a:extLst>
                <a:ext uri="{FF2B5EF4-FFF2-40B4-BE49-F238E27FC236}">
                  <a16:creationId xmlns:a16="http://schemas.microsoft.com/office/drawing/2014/main" id="{48E1B3F8-7596-43C1-9F00-A5AB21481678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3" name="î$ḷïde">
              <a:extLst>
                <a:ext uri="{FF2B5EF4-FFF2-40B4-BE49-F238E27FC236}">
                  <a16:creationId xmlns:a16="http://schemas.microsoft.com/office/drawing/2014/main" id="{01B36387-0A18-4E19-8033-6F4948FAE008}"/>
                </a:ext>
              </a:extLst>
            </p:cNvPr>
            <p:cNvSpPr/>
            <p:nvPr/>
          </p:nvSpPr>
          <p:spPr bwMode="auto">
            <a:xfrm>
              <a:off x="7535863" y="23622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4" name="ïṡ1îḓé">
              <a:extLst>
                <a:ext uri="{FF2B5EF4-FFF2-40B4-BE49-F238E27FC236}">
                  <a16:creationId xmlns:a16="http://schemas.microsoft.com/office/drawing/2014/main" id="{EA56C0F1-696C-498E-9146-EBDEB0B6AC52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5 h 149"/>
                <a:gd name="T4" fmla="*/ 7 w 305"/>
                <a:gd name="T5" fmla="*/ 0 h 149"/>
                <a:gd name="T6" fmla="*/ 305 w 305"/>
                <a:gd name="T7" fmla="*/ 132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2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5" name="îśliḍe">
              <a:extLst>
                <a:ext uri="{FF2B5EF4-FFF2-40B4-BE49-F238E27FC236}">
                  <a16:creationId xmlns:a16="http://schemas.microsoft.com/office/drawing/2014/main" id="{3800661C-E486-4CB9-8C40-FC2C39520C6C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2 h 149"/>
                <a:gd name="T4" fmla="*/ 298 w 305"/>
                <a:gd name="T5" fmla="*/ 0 h 149"/>
                <a:gd name="T6" fmla="*/ 305 w 305"/>
                <a:gd name="T7" fmla="*/ 15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2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6" name="iSľíḓê">
              <a:extLst>
                <a:ext uri="{FF2B5EF4-FFF2-40B4-BE49-F238E27FC236}">
                  <a16:creationId xmlns:a16="http://schemas.microsoft.com/office/drawing/2014/main" id="{1CCE88FE-A292-4667-8DCD-DA2F8E7570B1}"/>
                </a:ext>
              </a:extLst>
            </p:cNvPr>
            <p:cNvSpPr/>
            <p:nvPr/>
          </p:nvSpPr>
          <p:spPr bwMode="auto">
            <a:xfrm>
              <a:off x="7535863" y="21526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7" name="ïṣḷîḓe">
              <a:extLst>
                <a:ext uri="{FF2B5EF4-FFF2-40B4-BE49-F238E27FC236}">
                  <a16:creationId xmlns:a16="http://schemas.microsoft.com/office/drawing/2014/main" id="{99182EA6-2640-425E-9C65-43A3E3C4099C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7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8" name="î$ļïďè">
              <a:extLst>
                <a:ext uri="{FF2B5EF4-FFF2-40B4-BE49-F238E27FC236}">
                  <a16:creationId xmlns:a16="http://schemas.microsoft.com/office/drawing/2014/main" id="{7B666BF0-ECB2-4423-A42C-A8E01155E537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7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9" name="íšliḓe">
              <a:extLst>
                <a:ext uri="{FF2B5EF4-FFF2-40B4-BE49-F238E27FC236}">
                  <a16:creationId xmlns:a16="http://schemas.microsoft.com/office/drawing/2014/main" id="{E3F2A0E8-ECAC-496B-9B21-B0FA66903A26}"/>
                </a:ext>
              </a:extLst>
            </p:cNvPr>
            <p:cNvSpPr/>
            <p:nvPr/>
          </p:nvSpPr>
          <p:spPr bwMode="auto">
            <a:xfrm>
              <a:off x="7535863" y="19415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0" name="íṧḷïḑe">
              <a:extLst>
                <a:ext uri="{FF2B5EF4-FFF2-40B4-BE49-F238E27FC236}">
                  <a16:creationId xmlns:a16="http://schemas.microsoft.com/office/drawing/2014/main" id="{D4D85031-F789-448A-96C3-37F2DADE6F79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6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1" name="iṧľiďè">
              <a:extLst>
                <a:ext uri="{FF2B5EF4-FFF2-40B4-BE49-F238E27FC236}">
                  <a16:creationId xmlns:a16="http://schemas.microsoft.com/office/drawing/2014/main" id="{9ECE2F13-8387-46F7-B6A0-6CDD3C11F412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6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2" name="íSļïďé">
              <a:extLst>
                <a:ext uri="{FF2B5EF4-FFF2-40B4-BE49-F238E27FC236}">
                  <a16:creationId xmlns:a16="http://schemas.microsoft.com/office/drawing/2014/main" id="{86E6E65E-D7C7-49D3-A1B6-CA356AD74424}"/>
                </a:ext>
              </a:extLst>
            </p:cNvPr>
            <p:cNvSpPr/>
            <p:nvPr/>
          </p:nvSpPr>
          <p:spPr bwMode="auto">
            <a:xfrm>
              <a:off x="7416800" y="1470025"/>
              <a:ext cx="736600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3" name="íṩļiďè">
              <a:extLst>
                <a:ext uri="{FF2B5EF4-FFF2-40B4-BE49-F238E27FC236}">
                  <a16:creationId xmlns:a16="http://schemas.microsoft.com/office/drawing/2014/main" id="{0CCC46F6-AD95-4E4C-8383-98FAD6E08E0A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4" name="iṧľïḑé">
              <a:extLst>
                <a:ext uri="{FF2B5EF4-FFF2-40B4-BE49-F238E27FC236}">
                  <a16:creationId xmlns:a16="http://schemas.microsoft.com/office/drawing/2014/main" id="{6A02C9ED-48D6-4CDE-B67D-371904FDDE21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custGeom>
              <a:avLst/>
              <a:gdLst>
                <a:gd name="T0" fmla="*/ 0 w 464"/>
                <a:gd name="T1" fmla="*/ 80 h 80"/>
                <a:gd name="T2" fmla="*/ 464 w 464"/>
                <a:gd name="T3" fmla="*/ 0 h 80"/>
                <a:gd name="T4" fmla="*/ 0 w 464"/>
                <a:gd name="T5" fmla="*/ 0 h 80"/>
                <a:gd name="T6" fmla="*/ 0 w 464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4" h="80">
                  <a:moveTo>
                    <a:pt x="0" y="80"/>
                  </a:moveTo>
                  <a:lnTo>
                    <a:pt x="464" y="0"/>
                  </a:lnTo>
                  <a:lnTo>
                    <a:pt x="0" y="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5" name="ïşlídê">
              <a:extLst>
                <a:ext uri="{FF2B5EF4-FFF2-40B4-BE49-F238E27FC236}">
                  <a16:creationId xmlns:a16="http://schemas.microsoft.com/office/drawing/2014/main" id="{F223A903-AD1D-4405-9AA9-54C2A84C2C47}"/>
                </a:ext>
              </a:extLst>
            </p:cNvPr>
            <p:cNvSpPr/>
            <p:nvPr/>
          </p:nvSpPr>
          <p:spPr bwMode="auto">
            <a:xfrm>
              <a:off x="7802563" y="1504950"/>
              <a:ext cx="350838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6" name="iš1îḋê">
              <a:extLst>
                <a:ext uri="{FF2B5EF4-FFF2-40B4-BE49-F238E27FC236}">
                  <a16:creationId xmlns:a16="http://schemas.microsoft.com/office/drawing/2014/main" id="{C67F7C49-AAE2-4D38-8908-9416B4F48ADB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7" name="îṥliḑê">
              <a:extLst>
                <a:ext uri="{FF2B5EF4-FFF2-40B4-BE49-F238E27FC236}">
                  <a16:creationId xmlns:a16="http://schemas.microsoft.com/office/drawing/2014/main" id="{3D8591D9-1C15-4B8E-90F5-655535FCF398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custGeom>
              <a:avLst/>
              <a:gdLst>
                <a:gd name="T0" fmla="*/ 215 w 215"/>
                <a:gd name="T1" fmla="*/ 45 h 203"/>
                <a:gd name="T2" fmla="*/ 57 w 215"/>
                <a:gd name="T3" fmla="*/ 203 h 203"/>
                <a:gd name="T4" fmla="*/ 0 w 215"/>
                <a:gd name="T5" fmla="*/ 203 h 203"/>
                <a:gd name="T6" fmla="*/ 204 w 215"/>
                <a:gd name="T7" fmla="*/ 0 h 203"/>
                <a:gd name="T8" fmla="*/ 215 w 215"/>
                <a:gd name="T9" fmla="*/ 0 h 203"/>
                <a:gd name="T10" fmla="*/ 215 w 215"/>
                <a:gd name="T11" fmla="*/ 4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03">
                  <a:moveTo>
                    <a:pt x="215" y="45"/>
                  </a:moveTo>
                  <a:lnTo>
                    <a:pt x="57" y="203"/>
                  </a:lnTo>
                  <a:lnTo>
                    <a:pt x="0" y="203"/>
                  </a:lnTo>
                  <a:lnTo>
                    <a:pt x="204" y="0"/>
                  </a:lnTo>
                  <a:lnTo>
                    <a:pt x="215" y="0"/>
                  </a:lnTo>
                  <a:lnTo>
                    <a:pt x="215" y="45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8" name="ïṣḻïďè">
              <a:extLst>
                <a:ext uri="{FF2B5EF4-FFF2-40B4-BE49-F238E27FC236}">
                  <a16:creationId xmlns:a16="http://schemas.microsoft.com/office/drawing/2014/main" id="{19027FB9-E9B7-4EDE-80FB-E51355BFBD96}"/>
                </a:ext>
              </a:extLst>
            </p:cNvPr>
            <p:cNvSpPr/>
            <p:nvPr/>
          </p:nvSpPr>
          <p:spPr bwMode="auto">
            <a:xfrm>
              <a:off x="7461250" y="1504950"/>
              <a:ext cx="300038" cy="298450"/>
            </a:xfrm>
            <a:custGeom>
              <a:avLst/>
              <a:gdLst>
                <a:gd name="T0" fmla="*/ 189 w 189"/>
                <a:gd name="T1" fmla="*/ 0 h 188"/>
                <a:gd name="T2" fmla="*/ 0 w 189"/>
                <a:gd name="T3" fmla="*/ 188 h 188"/>
                <a:gd name="T4" fmla="*/ 0 w 189"/>
                <a:gd name="T5" fmla="*/ 180 h 188"/>
                <a:gd name="T6" fmla="*/ 182 w 189"/>
                <a:gd name="T7" fmla="*/ 0 h 188"/>
                <a:gd name="T8" fmla="*/ 189 w 189"/>
                <a:gd name="T9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88">
                  <a:moveTo>
                    <a:pt x="189" y="0"/>
                  </a:moveTo>
                  <a:lnTo>
                    <a:pt x="0" y="188"/>
                  </a:lnTo>
                  <a:lnTo>
                    <a:pt x="0" y="180"/>
                  </a:lnTo>
                  <a:lnTo>
                    <a:pt x="182" y="0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9" name="í$ḷiďê">
              <a:extLst>
                <a:ext uri="{FF2B5EF4-FFF2-40B4-BE49-F238E27FC236}">
                  <a16:creationId xmlns:a16="http://schemas.microsoft.com/office/drawing/2014/main" id="{FCAD9548-8055-452A-A3E8-A66D3B4B7D96}"/>
                </a:ext>
              </a:extLst>
            </p:cNvPr>
            <p:cNvSpPr/>
            <p:nvPr/>
          </p:nvSpPr>
          <p:spPr bwMode="auto">
            <a:xfrm>
              <a:off x="8015288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0" name="ïṡlïḋê">
              <a:extLst>
                <a:ext uri="{FF2B5EF4-FFF2-40B4-BE49-F238E27FC236}">
                  <a16:creationId xmlns:a16="http://schemas.microsoft.com/office/drawing/2014/main" id="{9C5ACEBF-17D3-401B-9D1E-0D40901CD8E0}"/>
                </a:ext>
              </a:extLst>
            </p:cNvPr>
            <p:cNvSpPr/>
            <p:nvPr/>
          </p:nvSpPr>
          <p:spPr bwMode="auto">
            <a:xfrm>
              <a:off x="7726363" y="1223963"/>
              <a:ext cx="304800" cy="244475"/>
            </a:xfrm>
            <a:custGeom>
              <a:avLst/>
              <a:gdLst>
                <a:gd name="T0" fmla="*/ 12 w 192"/>
                <a:gd name="T1" fmla="*/ 154 h 154"/>
                <a:gd name="T2" fmla="*/ 0 w 192"/>
                <a:gd name="T3" fmla="*/ 140 h 154"/>
                <a:gd name="T4" fmla="*/ 182 w 192"/>
                <a:gd name="T5" fmla="*/ 0 h 154"/>
                <a:gd name="T6" fmla="*/ 192 w 192"/>
                <a:gd name="T7" fmla="*/ 14 h 154"/>
                <a:gd name="T8" fmla="*/ 12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2" y="154"/>
                  </a:moveTo>
                  <a:lnTo>
                    <a:pt x="0" y="140"/>
                  </a:lnTo>
                  <a:lnTo>
                    <a:pt x="182" y="0"/>
                  </a:lnTo>
                  <a:lnTo>
                    <a:pt x="192" y="14"/>
                  </a:lnTo>
                  <a:lnTo>
                    <a:pt x="12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1" name="iSḻîḓe">
              <a:extLst>
                <a:ext uri="{FF2B5EF4-FFF2-40B4-BE49-F238E27FC236}">
                  <a16:creationId xmlns:a16="http://schemas.microsoft.com/office/drawing/2014/main" id="{BA238390-AC66-4808-8775-A85D8B31B45D}"/>
                </a:ext>
              </a:extLst>
            </p:cNvPr>
            <p:cNvSpPr/>
            <p:nvPr/>
          </p:nvSpPr>
          <p:spPr bwMode="auto">
            <a:xfrm>
              <a:off x="7440613" y="1223963"/>
              <a:ext cx="304800" cy="244475"/>
            </a:xfrm>
            <a:custGeom>
              <a:avLst/>
              <a:gdLst>
                <a:gd name="T0" fmla="*/ 180 w 192"/>
                <a:gd name="T1" fmla="*/ 154 h 154"/>
                <a:gd name="T2" fmla="*/ 0 w 192"/>
                <a:gd name="T3" fmla="*/ 14 h 154"/>
                <a:gd name="T4" fmla="*/ 11 w 192"/>
                <a:gd name="T5" fmla="*/ 0 h 154"/>
                <a:gd name="T6" fmla="*/ 192 w 192"/>
                <a:gd name="T7" fmla="*/ 140 h 154"/>
                <a:gd name="T8" fmla="*/ 18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0" y="154"/>
                  </a:moveTo>
                  <a:lnTo>
                    <a:pt x="0" y="14"/>
                  </a:lnTo>
                  <a:lnTo>
                    <a:pt x="11" y="0"/>
                  </a:lnTo>
                  <a:lnTo>
                    <a:pt x="192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2" name="îšlîḍè">
              <a:extLst>
                <a:ext uri="{FF2B5EF4-FFF2-40B4-BE49-F238E27FC236}">
                  <a16:creationId xmlns:a16="http://schemas.microsoft.com/office/drawing/2014/main" id="{4AAD4801-3A27-4D27-BD5A-16B7034C9950}"/>
                </a:ext>
              </a:extLst>
            </p:cNvPr>
            <p:cNvSpPr/>
            <p:nvPr/>
          </p:nvSpPr>
          <p:spPr bwMode="auto">
            <a:xfrm>
              <a:off x="7154863" y="1223963"/>
              <a:ext cx="303213" cy="244475"/>
            </a:xfrm>
            <a:custGeom>
              <a:avLst/>
              <a:gdLst>
                <a:gd name="T0" fmla="*/ 11 w 191"/>
                <a:gd name="T1" fmla="*/ 154 h 154"/>
                <a:gd name="T2" fmla="*/ 0 w 191"/>
                <a:gd name="T3" fmla="*/ 140 h 154"/>
                <a:gd name="T4" fmla="*/ 180 w 191"/>
                <a:gd name="T5" fmla="*/ 0 h 154"/>
                <a:gd name="T6" fmla="*/ 191 w 191"/>
                <a:gd name="T7" fmla="*/ 14 h 154"/>
                <a:gd name="T8" fmla="*/ 11 w 191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54">
                  <a:moveTo>
                    <a:pt x="11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1" y="14"/>
                  </a:lnTo>
                  <a:lnTo>
                    <a:pt x="1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3" name="iSlîdê">
              <a:extLst>
                <a:ext uri="{FF2B5EF4-FFF2-40B4-BE49-F238E27FC236}">
                  <a16:creationId xmlns:a16="http://schemas.microsoft.com/office/drawing/2014/main" id="{29A9EAC8-02FA-4E62-A5D7-61B4F8CB55F3}"/>
                </a:ext>
              </a:extLst>
            </p:cNvPr>
            <p:cNvSpPr/>
            <p:nvPr/>
          </p:nvSpPr>
          <p:spPr bwMode="auto">
            <a:xfrm>
              <a:off x="6867525" y="1223963"/>
              <a:ext cx="304800" cy="244475"/>
            </a:xfrm>
            <a:custGeom>
              <a:avLst/>
              <a:gdLst>
                <a:gd name="T0" fmla="*/ 181 w 192"/>
                <a:gd name="T1" fmla="*/ 154 h 154"/>
                <a:gd name="T2" fmla="*/ 0 w 192"/>
                <a:gd name="T3" fmla="*/ 14 h 154"/>
                <a:gd name="T4" fmla="*/ 12 w 192"/>
                <a:gd name="T5" fmla="*/ 0 h 154"/>
                <a:gd name="T6" fmla="*/ 192 w 192"/>
                <a:gd name="T7" fmla="*/ 140 h 154"/>
                <a:gd name="T8" fmla="*/ 181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1" y="154"/>
                  </a:moveTo>
                  <a:lnTo>
                    <a:pt x="0" y="14"/>
                  </a:lnTo>
                  <a:lnTo>
                    <a:pt x="12" y="0"/>
                  </a:lnTo>
                  <a:lnTo>
                    <a:pt x="192" y="140"/>
                  </a:lnTo>
                  <a:lnTo>
                    <a:pt x="18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4" name="îS1iďê">
              <a:extLst>
                <a:ext uri="{FF2B5EF4-FFF2-40B4-BE49-F238E27FC236}">
                  <a16:creationId xmlns:a16="http://schemas.microsoft.com/office/drawing/2014/main" id="{B15A3770-A938-4A39-9353-CE01AA92E8F9}"/>
                </a:ext>
              </a:extLst>
            </p:cNvPr>
            <p:cNvSpPr/>
            <p:nvPr/>
          </p:nvSpPr>
          <p:spPr bwMode="auto">
            <a:xfrm>
              <a:off x="6581775" y="1223963"/>
              <a:ext cx="304800" cy="244475"/>
            </a:xfrm>
            <a:custGeom>
              <a:avLst/>
              <a:gdLst>
                <a:gd name="T0" fmla="*/ 10 w 192"/>
                <a:gd name="T1" fmla="*/ 154 h 154"/>
                <a:gd name="T2" fmla="*/ 0 w 192"/>
                <a:gd name="T3" fmla="*/ 140 h 154"/>
                <a:gd name="T4" fmla="*/ 180 w 192"/>
                <a:gd name="T5" fmla="*/ 0 h 154"/>
                <a:gd name="T6" fmla="*/ 192 w 192"/>
                <a:gd name="T7" fmla="*/ 14 h 154"/>
                <a:gd name="T8" fmla="*/ 1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2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5" name="işḻiḓê">
              <a:extLst>
                <a:ext uri="{FF2B5EF4-FFF2-40B4-BE49-F238E27FC236}">
                  <a16:creationId xmlns:a16="http://schemas.microsoft.com/office/drawing/2014/main" id="{F94B8D54-485A-4755-822C-067814DE4292}"/>
                </a:ext>
              </a:extLst>
            </p:cNvPr>
            <p:cNvSpPr/>
            <p:nvPr/>
          </p:nvSpPr>
          <p:spPr bwMode="auto">
            <a:xfrm>
              <a:off x="6296025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6" name="îšlíďè">
              <a:extLst>
                <a:ext uri="{FF2B5EF4-FFF2-40B4-BE49-F238E27FC236}">
                  <a16:creationId xmlns:a16="http://schemas.microsoft.com/office/drawing/2014/main" id="{1BED34F9-5A55-471F-8038-4F5ABE8A2E5F}"/>
                </a:ext>
              </a:extLst>
            </p:cNvPr>
            <p:cNvSpPr/>
            <p:nvPr/>
          </p:nvSpPr>
          <p:spPr bwMode="auto">
            <a:xfrm>
              <a:off x="6010275" y="1223963"/>
              <a:ext cx="301625" cy="244475"/>
            </a:xfrm>
            <a:custGeom>
              <a:avLst/>
              <a:gdLst>
                <a:gd name="T0" fmla="*/ 10 w 190"/>
                <a:gd name="T1" fmla="*/ 154 h 154"/>
                <a:gd name="T2" fmla="*/ 0 w 190"/>
                <a:gd name="T3" fmla="*/ 140 h 154"/>
                <a:gd name="T4" fmla="*/ 180 w 190"/>
                <a:gd name="T5" fmla="*/ 0 h 154"/>
                <a:gd name="T6" fmla="*/ 190 w 190"/>
                <a:gd name="T7" fmla="*/ 14 h 154"/>
                <a:gd name="T8" fmla="*/ 1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0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7" name="ï$ḻïḋê">
              <a:extLst>
                <a:ext uri="{FF2B5EF4-FFF2-40B4-BE49-F238E27FC236}">
                  <a16:creationId xmlns:a16="http://schemas.microsoft.com/office/drawing/2014/main" id="{792A4470-E248-4BE8-A9B0-0695C2C9C257}"/>
                </a:ext>
              </a:extLst>
            </p:cNvPr>
            <p:cNvSpPr/>
            <p:nvPr/>
          </p:nvSpPr>
          <p:spPr bwMode="auto">
            <a:xfrm>
              <a:off x="6070600" y="1470025"/>
              <a:ext cx="388938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8" name="iŝḷíďê">
              <a:extLst>
                <a:ext uri="{FF2B5EF4-FFF2-40B4-BE49-F238E27FC236}">
                  <a16:creationId xmlns:a16="http://schemas.microsoft.com/office/drawing/2014/main" id="{04F9C25A-8846-4FA3-ACDE-39E2A2A9A89B}"/>
                </a:ext>
              </a:extLst>
            </p:cNvPr>
            <p:cNvSpPr/>
            <p:nvPr/>
          </p:nvSpPr>
          <p:spPr bwMode="auto">
            <a:xfrm>
              <a:off x="6116638" y="1504950"/>
              <a:ext cx="295275" cy="52388"/>
            </a:xfrm>
            <a:custGeom>
              <a:avLst/>
              <a:gdLst>
                <a:gd name="T0" fmla="*/ 0 w 112"/>
                <a:gd name="T1" fmla="*/ 0 h 20"/>
                <a:gd name="T2" fmla="*/ 112 w 112"/>
                <a:gd name="T3" fmla="*/ 0 h 20"/>
                <a:gd name="T4" fmla="*/ 112 w 112"/>
                <a:gd name="T5" fmla="*/ 0 h 20"/>
                <a:gd name="T6" fmla="*/ 92 w 112"/>
                <a:gd name="T7" fmla="*/ 20 h 20"/>
                <a:gd name="T8" fmla="*/ 21 w 112"/>
                <a:gd name="T9" fmla="*/ 20 h 20"/>
                <a:gd name="T10" fmla="*/ 0 w 112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0">
                  <a:moveTo>
                    <a:pt x="0" y="0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11"/>
                    <a:pt x="103" y="20"/>
                    <a:pt x="92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0" y="20"/>
                    <a:pt x="0" y="11"/>
                    <a:pt x="0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9" name="í$ľíḋè">
              <a:extLst>
                <a:ext uri="{FF2B5EF4-FFF2-40B4-BE49-F238E27FC236}">
                  <a16:creationId xmlns:a16="http://schemas.microsoft.com/office/drawing/2014/main" id="{AA77412B-1DA0-44FF-9820-592048331877}"/>
                </a:ext>
              </a:extLst>
            </p:cNvPr>
            <p:cNvSpPr/>
            <p:nvPr/>
          </p:nvSpPr>
          <p:spPr bwMode="auto">
            <a:xfrm>
              <a:off x="6227763" y="1643063"/>
              <a:ext cx="73025" cy="71438"/>
            </a:xfrm>
            <a:prstGeom prst="ellipse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0" name="ïslïḑé">
              <a:extLst>
                <a:ext uri="{FF2B5EF4-FFF2-40B4-BE49-F238E27FC236}">
                  <a16:creationId xmlns:a16="http://schemas.microsoft.com/office/drawing/2014/main" id="{ED160E21-E440-4A54-A6BF-E5B5642AD9B6}"/>
                </a:ext>
              </a:extLst>
            </p:cNvPr>
            <p:cNvSpPr/>
            <p:nvPr/>
          </p:nvSpPr>
          <p:spPr bwMode="auto">
            <a:xfrm>
              <a:off x="6208713" y="1698625"/>
              <a:ext cx="127000" cy="200025"/>
            </a:xfrm>
            <a:custGeom>
              <a:avLst/>
              <a:gdLst>
                <a:gd name="T0" fmla="*/ 22 w 48"/>
                <a:gd name="T1" fmla="*/ 0 h 76"/>
                <a:gd name="T2" fmla="*/ 21 w 48"/>
                <a:gd name="T3" fmla="*/ 0 h 76"/>
                <a:gd name="T4" fmla="*/ 19 w 48"/>
                <a:gd name="T5" fmla="*/ 1 h 76"/>
                <a:gd name="T6" fmla="*/ 17 w 48"/>
                <a:gd name="T7" fmla="*/ 5 h 76"/>
                <a:gd name="T8" fmla="*/ 16 w 48"/>
                <a:gd name="T9" fmla="*/ 12 h 76"/>
                <a:gd name="T10" fmla="*/ 16 w 48"/>
                <a:gd name="T11" fmla="*/ 20 h 76"/>
                <a:gd name="T12" fmla="*/ 16 w 48"/>
                <a:gd name="T13" fmla="*/ 21 h 76"/>
                <a:gd name="T14" fmla="*/ 16 w 48"/>
                <a:gd name="T15" fmla="*/ 21 h 76"/>
                <a:gd name="T16" fmla="*/ 17 w 48"/>
                <a:gd name="T17" fmla="*/ 22 h 76"/>
                <a:gd name="T18" fmla="*/ 17 w 48"/>
                <a:gd name="T19" fmla="*/ 22 h 76"/>
                <a:gd name="T20" fmla="*/ 17 w 48"/>
                <a:gd name="T21" fmla="*/ 23 h 76"/>
                <a:gd name="T22" fmla="*/ 17 w 48"/>
                <a:gd name="T23" fmla="*/ 23 h 76"/>
                <a:gd name="T24" fmla="*/ 20 w 48"/>
                <a:gd name="T25" fmla="*/ 26 h 76"/>
                <a:gd name="T26" fmla="*/ 22 w 48"/>
                <a:gd name="T27" fmla="*/ 28 h 76"/>
                <a:gd name="T28" fmla="*/ 26 w 48"/>
                <a:gd name="T29" fmla="*/ 30 h 76"/>
                <a:gd name="T30" fmla="*/ 34 w 48"/>
                <a:gd name="T31" fmla="*/ 36 h 76"/>
                <a:gd name="T32" fmla="*/ 38 w 48"/>
                <a:gd name="T33" fmla="*/ 44 h 76"/>
                <a:gd name="T34" fmla="*/ 39 w 48"/>
                <a:gd name="T35" fmla="*/ 49 h 76"/>
                <a:gd name="T36" fmla="*/ 39 w 48"/>
                <a:gd name="T37" fmla="*/ 52 h 76"/>
                <a:gd name="T38" fmla="*/ 39 w 48"/>
                <a:gd name="T39" fmla="*/ 54 h 76"/>
                <a:gd name="T40" fmla="*/ 35 w 48"/>
                <a:gd name="T41" fmla="*/ 64 h 76"/>
                <a:gd name="T42" fmla="*/ 27 w 48"/>
                <a:gd name="T43" fmla="*/ 69 h 76"/>
                <a:gd name="T44" fmla="*/ 18 w 48"/>
                <a:gd name="T45" fmla="*/ 70 h 76"/>
                <a:gd name="T46" fmla="*/ 10 w 48"/>
                <a:gd name="T47" fmla="*/ 66 h 76"/>
                <a:gd name="T48" fmla="*/ 4 w 48"/>
                <a:gd name="T49" fmla="*/ 54 h 76"/>
                <a:gd name="T50" fmla="*/ 3 w 48"/>
                <a:gd name="T51" fmla="*/ 50 h 76"/>
                <a:gd name="T52" fmla="*/ 2 w 48"/>
                <a:gd name="T53" fmla="*/ 49 h 76"/>
                <a:gd name="T54" fmla="*/ 2 w 48"/>
                <a:gd name="T55" fmla="*/ 49 h 76"/>
                <a:gd name="T56" fmla="*/ 0 w 48"/>
                <a:gd name="T57" fmla="*/ 50 h 76"/>
                <a:gd name="T58" fmla="*/ 1 w 48"/>
                <a:gd name="T59" fmla="*/ 54 h 76"/>
                <a:gd name="T60" fmla="*/ 7 w 48"/>
                <a:gd name="T61" fmla="*/ 69 h 76"/>
                <a:gd name="T62" fmla="*/ 16 w 48"/>
                <a:gd name="T63" fmla="*/ 75 h 76"/>
                <a:gd name="T64" fmla="*/ 29 w 48"/>
                <a:gd name="T65" fmla="*/ 75 h 76"/>
                <a:gd name="T66" fmla="*/ 40 w 48"/>
                <a:gd name="T67" fmla="*/ 69 h 76"/>
                <a:gd name="T68" fmla="*/ 47 w 48"/>
                <a:gd name="T69" fmla="*/ 56 h 76"/>
                <a:gd name="T70" fmla="*/ 48 w 48"/>
                <a:gd name="T71" fmla="*/ 52 h 76"/>
                <a:gd name="T72" fmla="*/ 48 w 48"/>
                <a:gd name="T73" fmla="*/ 49 h 76"/>
                <a:gd name="T74" fmla="*/ 48 w 48"/>
                <a:gd name="T75" fmla="*/ 42 h 76"/>
                <a:gd name="T76" fmla="*/ 42 w 48"/>
                <a:gd name="T77" fmla="*/ 29 h 76"/>
                <a:gd name="T78" fmla="*/ 32 w 48"/>
                <a:gd name="T79" fmla="*/ 21 h 76"/>
                <a:gd name="T80" fmla="*/ 27 w 48"/>
                <a:gd name="T81" fmla="*/ 19 h 76"/>
                <a:gd name="T82" fmla="*/ 26 w 48"/>
                <a:gd name="T83" fmla="*/ 18 h 76"/>
                <a:gd name="T84" fmla="*/ 26 w 48"/>
                <a:gd name="T85" fmla="*/ 18 h 76"/>
                <a:gd name="T86" fmla="*/ 26 w 48"/>
                <a:gd name="T87" fmla="*/ 18 h 76"/>
                <a:gd name="T88" fmla="*/ 27 w 48"/>
                <a:gd name="T89" fmla="*/ 18 h 76"/>
                <a:gd name="T90" fmla="*/ 27 w 48"/>
                <a:gd name="T91" fmla="*/ 19 h 76"/>
                <a:gd name="T92" fmla="*/ 27 w 48"/>
                <a:gd name="T93" fmla="*/ 19 h 76"/>
                <a:gd name="T94" fmla="*/ 27 w 48"/>
                <a:gd name="T95" fmla="*/ 19 h 76"/>
                <a:gd name="T96" fmla="*/ 27 w 48"/>
                <a:gd name="T97" fmla="*/ 19 h 76"/>
                <a:gd name="T98" fmla="*/ 27 w 48"/>
                <a:gd name="T99" fmla="*/ 19 h 76"/>
                <a:gd name="T100" fmla="*/ 27 w 48"/>
                <a:gd name="T101" fmla="*/ 21 h 76"/>
                <a:gd name="T102" fmla="*/ 27 w 48"/>
                <a:gd name="T103" fmla="*/ 21 h 76"/>
                <a:gd name="T104" fmla="*/ 27 w 48"/>
                <a:gd name="T105" fmla="*/ 20 h 76"/>
                <a:gd name="T106" fmla="*/ 27 w 48"/>
                <a:gd name="T107" fmla="*/ 12 h 76"/>
                <a:gd name="T108" fmla="*/ 27 w 48"/>
                <a:gd name="T109" fmla="*/ 5 h 76"/>
                <a:gd name="T110" fmla="*/ 24 w 48"/>
                <a:gd name="T111" fmla="*/ 1 h 76"/>
                <a:gd name="T112" fmla="*/ 22 w 48"/>
                <a:gd name="T113" fmla="*/ 0 h 76"/>
                <a:gd name="T114" fmla="*/ 22 w 48"/>
                <a:gd name="T11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" h="76">
                  <a:moveTo>
                    <a:pt x="22" y="0"/>
                  </a:moveTo>
                  <a:cubicBezTo>
                    <a:pt x="22" y="0"/>
                    <a:pt x="21" y="0"/>
                    <a:pt x="21" y="0"/>
                  </a:cubicBezTo>
                  <a:cubicBezTo>
                    <a:pt x="21" y="0"/>
                    <a:pt x="20" y="1"/>
                    <a:pt x="19" y="1"/>
                  </a:cubicBezTo>
                  <a:cubicBezTo>
                    <a:pt x="18" y="2"/>
                    <a:pt x="17" y="3"/>
                    <a:pt x="17" y="5"/>
                  </a:cubicBezTo>
                  <a:cubicBezTo>
                    <a:pt x="16" y="7"/>
                    <a:pt x="16" y="9"/>
                    <a:pt x="16" y="12"/>
                  </a:cubicBezTo>
                  <a:cubicBezTo>
                    <a:pt x="16" y="14"/>
                    <a:pt x="16" y="17"/>
                    <a:pt x="16" y="20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7" y="24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4"/>
                    <a:pt x="19" y="26"/>
                    <a:pt x="20" y="26"/>
                  </a:cubicBezTo>
                  <a:cubicBezTo>
                    <a:pt x="21" y="27"/>
                    <a:pt x="21" y="27"/>
                    <a:pt x="22" y="28"/>
                  </a:cubicBezTo>
                  <a:cubicBezTo>
                    <a:pt x="24" y="29"/>
                    <a:pt x="25" y="29"/>
                    <a:pt x="26" y="30"/>
                  </a:cubicBezTo>
                  <a:cubicBezTo>
                    <a:pt x="29" y="32"/>
                    <a:pt x="32" y="34"/>
                    <a:pt x="34" y="36"/>
                  </a:cubicBezTo>
                  <a:cubicBezTo>
                    <a:pt x="36" y="38"/>
                    <a:pt x="38" y="41"/>
                    <a:pt x="38" y="44"/>
                  </a:cubicBezTo>
                  <a:cubicBezTo>
                    <a:pt x="39" y="46"/>
                    <a:pt x="39" y="48"/>
                    <a:pt x="39" y="49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8" y="58"/>
                    <a:pt x="37" y="61"/>
                    <a:pt x="35" y="64"/>
                  </a:cubicBezTo>
                  <a:cubicBezTo>
                    <a:pt x="33" y="66"/>
                    <a:pt x="30" y="68"/>
                    <a:pt x="27" y="69"/>
                  </a:cubicBezTo>
                  <a:cubicBezTo>
                    <a:pt x="24" y="70"/>
                    <a:pt x="20" y="70"/>
                    <a:pt x="18" y="70"/>
                  </a:cubicBezTo>
                  <a:cubicBezTo>
                    <a:pt x="15" y="69"/>
                    <a:pt x="12" y="68"/>
                    <a:pt x="10" y="66"/>
                  </a:cubicBezTo>
                  <a:cubicBezTo>
                    <a:pt x="6" y="62"/>
                    <a:pt x="4" y="57"/>
                    <a:pt x="4" y="54"/>
                  </a:cubicBezTo>
                  <a:cubicBezTo>
                    <a:pt x="3" y="52"/>
                    <a:pt x="3" y="51"/>
                    <a:pt x="3" y="50"/>
                  </a:cubicBezTo>
                  <a:cubicBezTo>
                    <a:pt x="3" y="49"/>
                    <a:pt x="2" y="49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1" y="49"/>
                    <a:pt x="0" y="49"/>
                    <a:pt x="0" y="50"/>
                  </a:cubicBezTo>
                  <a:cubicBezTo>
                    <a:pt x="0" y="51"/>
                    <a:pt x="0" y="53"/>
                    <a:pt x="1" y="54"/>
                  </a:cubicBezTo>
                  <a:cubicBezTo>
                    <a:pt x="1" y="58"/>
                    <a:pt x="2" y="64"/>
                    <a:pt x="7" y="69"/>
                  </a:cubicBezTo>
                  <a:cubicBezTo>
                    <a:pt x="9" y="71"/>
                    <a:pt x="12" y="74"/>
                    <a:pt x="16" y="75"/>
                  </a:cubicBezTo>
                  <a:cubicBezTo>
                    <a:pt x="20" y="76"/>
                    <a:pt x="24" y="76"/>
                    <a:pt x="29" y="75"/>
                  </a:cubicBezTo>
                  <a:cubicBezTo>
                    <a:pt x="33" y="74"/>
                    <a:pt x="37" y="72"/>
                    <a:pt x="40" y="69"/>
                  </a:cubicBezTo>
                  <a:cubicBezTo>
                    <a:pt x="44" y="65"/>
                    <a:pt x="46" y="61"/>
                    <a:pt x="47" y="56"/>
                  </a:cubicBezTo>
                  <a:cubicBezTo>
                    <a:pt x="47" y="55"/>
                    <a:pt x="48" y="54"/>
                    <a:pt x="48" y="52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47"/>
                    <a:pt x="48" y="45"/>
                    <a:pt x="48" y="42"/>
                  </a:cubicBezTo>
                  <a:cubicBezTo>
                    <a:pt x="47" y="37"/>
                    <a:pt x="44" y="33"/>
                    <a:pt x="42" y="29"/>
                  </a:cubicBezTo>
                  <a:cubicBezTo>
                    <a:pt x="39" y="26"/>
                    <a:pt x="35" y="23"/>
                    <a:pt x="32" y="21"/>
                  </a:cubicBezTo>
                  <a:cubicBezTo>
                    <a:pt x="30" y="20"/>
                    <a:pt x="29" y="19"/>
                    <a:pt x="27" y="19"/>
                  </a:cubicBezTo>
                  <a:cubicBezTo>
                    <a:pt x="27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7" y="18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20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7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7"/>
                    <a:pt x="27" y="14"/>
                    <a:pt x="27" y="12"/>
                  </a:cubicBezTo>
                  <a:cubicBezTo>
                    <a:pt x="27" y="9"/>
                    <a:pt x="27" y="7"/>
                    <a:pt x="27" y="5"/>
                  </a:cubicBezTo>
                  <a:cubicBezTo>
                    <a:pt x="27" y="3"/>
                    <a:pt x="25" y="2"/>
                    <a:pt x="24" y="1"/>
                  </a:cubicBezTo>
                  <a:cubicBezTo>
                    <a:pt x="23" y="1"/>
                    <a:pt x="23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1" name="iś1ídé">
              <a:extLst>
                <a:ext uri="{FF2B5EF4-FFF2-40B4-BE49-F238E27FC236}">
                  <a16:creationId xmlns:a16="http://schemas.microsoft.com/office/drawing/2014/main" id="{4A597953-C84B-4507-B0C0-361C5DE48008}"/>
                </a:ext>
              </a:extLst>
            </p:cNvPr>
            <p:cNvSpPr/>
            <p:nvPr/>
          </p:nvSpPr>
          <p:spPr bwMode="auto">
            <a:xfrm>
              <a:off x="7458075" y="4287838"/>
              <a:ext cx="695325" cy="1354138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2" name="íš1ïḑê">
              <a:extLst>
                <a:ext uri="{FF2B5EF4-FFF2-40B4-BE49-F238E27FC236}">
                  <a16:creationId xmlns:a16="http://schemas.microsoft.com/office/drawing/2014/main" id="{B6FF5E89-72B4-4B42-9522-76C9DB07F1BF}"/>
                </a:ext>
              </a:extLst>
            </p:cNvPr>
            <p:cNvSpPr/>
            <p:nvPr/>
          </p:nvSpPr>
          <p:spPr bwMode="auto">
            <a:xfrm>
              <a:off x="4614863" y="5381625"/>
              <a:ext cx="314325" cy="34925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3" name="ïṧḷiďe">
              <a:extLst>
                <a:ext uri="{FF2B5EF4-FFF2-40B4-BE49-F238E27FC236}">
                  <a16:creationId xmlns:a16="http://schemas.microsoft.com/office/drawing/2014/main" id="{92B67F61-34FB-42CD-B971-77DF883D7DB7}"/>
                </a:ext>
              </a:extLst>
            </p:cNvPr>
            <p:cNvSpPr/>
            <p:nvPr/>
          </p:nvSpPr>
          <p:spPr bwMode="auto">
            <a:xfrm>
              <a:off x="4548188" y="5000625"/>
              <a:ext cx="153988" cy="641350"/>
            </a:xfrm>
            <a:custGeom>
              <a:avLst/>
              <a:gdLst>
                <a:gd name="T0" fmla="*/ 68 w 97"/>
                <a:gd name="T1" fmla="*/ 0 h 404"/>
                <a:gd name="T2" fmla="*/ 0 w 97"/>
                <a:gd name="T3" fmla="*/ 404 h 404"/>
                <a:gd name="T4" fmla="*/ 28 w 97"/>
                <a:gd name="T5" fmla="*/ 404 h 404"/>
                <a:gd name="T6" fmla="*/ 97 w 97"/>
                <a:gd name="T7" fmla="*/ 2 h 404"/>
                <a:gd name="T8" fmla="*/ 68 w 97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04">
                  <a:moveTo>
                    <a:pt x="68" y="0"/>
                  </a:moveTo>
                  <a:lnTo>
                    <a:pt x="0" y="404"/>
                  </a:lnTo>
                  <a:lnTo>
                    <a:pt x="28" y="404"/>
                  </a:lnTo>
                  <a:lnTo>
                    <a:pt x="97" y="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4" name="iŝḻiḓé">
              <a:extLst>
                <a:ext uri="{FF2B5EF4-FFF2-40B4-BE49-F238E27FC236}">
                  <a16:creationId xmlns:a16="http://schemas.microsoft.com/office/drawing/2014/main" id="{361DD9D3-F4CF-4AC0-B934-977A85EF49C5}"/>
                </a:ext>
              </a:extLst>
            </p:cNvPr>
            <p:cNvSpPr/>
            <p:nvPr/>
          </p:nvSpPr>
          <p:spPr bwMode="auto">
            <a:xfrm>
              <a:off x="4838700" y="5000625"/>
              <a:ext cx="157163" cy="641350"/>
            </a:xfrm>
            <a:custGeom>
              <a:avLst/>
              <a:gdLst>
                <a:gd name="T0" fmla="*/ 29 w 99"/>
                <a:gd name="T1" fmla="*/ 0 h 404"/>
                <a:gd name="T2" fmla="*/ 99 w 99"/>
                <a:gd name="T3" fmla="*/ 404 h 404"/>
                <a:gd name="T4" fmla="*/ 70 w 99"/>
                <a:gd name="T5" fmla="*/ 404 h 404"/>
                <a:gd name="T6" fmla="*/ 0 w 99"/>
                <a:gd name="T7" fmla="*/ 2 h 404"/>
                <a:gd name="T8" fmla="*/ 29 w 99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404">
                  <a:moveTo>
                    <a:pt x="29" y="0"/>
                  </a:moveTo>
                  <a:lnTo>
                    <a:pt x="99" y="404"/>
                  </a:lnTo>
                  <a:lnTo>
                    <a:pt x="70" y="404"/>
                  </a:lnTo>
                  <a:lnTo>
                    <a:pt x="0" y="2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5" name="îṡļïḍê">
              <a:extLst>
                <a:ext uri="{FF2B5EF4-FFF2-40B4-BE49-F238E27FC236}">
                  <a16:creationId xmlns:a16="http://schemas.microsoft.com/office/drawing/2014/main" id="{B8DA3D4E-F10A-437E-92E9-5A83751B6A1E}"/>
                </a:ext>
              </a:extLst>
            </p:cNvPr>
            <p:cNvSpPr/>
            <p:nvPr/>
          </p:nvSpPr>
          <p:spPr bwMode="auto">
            <a:xfrm>
              <a:off x="4719638" y="5372100"/>
              <a:ext cx="103188" cy="55563"/>
            </a:xfrm>
            <a:custGeom>
              <a:avLst/>
              <a:gdLst>
                <a:gd name="T0" fmla="*/ 0 w 39"/>
                <a:gd name="T1" fmla="*/ 0 h 21"/>
                <a:gd name="T2" fmla="*/ 39 w 39"/>
                <a:gd name="T3" fmla="*/ 0 h 21"/>
                <a:gd name="T4" fmla="*/ 39 w 39"/>
                <a:gd name="T5" fmla="*/ 7 h 21"/>
                <a:gd name="T6" fmla="*/ 25 w 39"/>
                <a:gd name="T7" fmla="*/ 21 h 21"/>
                <a:gd name="T8" fmla="*/ 14 w 39"/>
                <a:gd name="T9" fmla="*/ 21 h 21"/>
                <a:gd name="T10" fmla="*/ 0 w 39"/>
                <a:gd name="T11" fmla="*/ 7 h 21"/>
                <a:gd name="T12" fmla="*/ 0 w 3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21">
                  <a:moveTo>
                    <a:pt x="0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15"/>
                    <a:pt x="33" y="21"/>
                    <a:pt x="25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6" y="21"/>
                    <a:pt x="0" y="15"/>
                    <a:pt x="0" y="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6" name="íSļiḑê">
              <a:extLst>
                <a:ext uri="{FF2B5EF4-FFF2-40B4-BE49-F238E27FC236}">
                  <a16:creationId xmlns:a16="http://schemas.microsoft.com/office/drawing/2014/main" id="{8948C0E0-89E2-42F4-826C-69DD00AD99AF}"/>
                </a:ext>
              </a:extLst>
            </p:cNvPr>
            <p:cNvSpPr/>
            <p:nvPr/>
          </p:nvSpPr>
          <p:spPr bwMode="auto">
            <a:xfrm>
              <a:off x="4757738" y="5384800"/>
              <a:ext cx="28575" cy="28575"/>
            </a:xfrm>
            <a:prstGeom prst="ellipse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7" name="ïṧļide">
              <a:extLst>
                <a:ext uri="{FF2B5EF4-FFF2-40B4-BE49-F238E27FC236}">
                  <a16:creationId xmlns:a16="http://schemas.microsoft.com/office/drawing/2014/main" id="{DC15C3C1-5695-4953-B0F3-DB431B259CDC}"/>
                </a:ext>
              </a:extLst>
            </p:cNvPr>
            <p:cNvSpPr/>
            <p:nvPr/>
          </p:nvSpPr>
          <p:spPr bwMode="auto">
            <a:xfrm>
              <a:off x="4595813" y="4968875"/>
              <a:ext cx="357188" cy="50800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8" name="ïṣļîḍè">
              <a:extLst>
                <a:ext uri="{FF2B5EF4-FFF2-40B4-BE49-F238E27FC236}">
                  <a16:creationId xmlns:a16="http://schemas.microsoft.com/office/drawing/2014/main" id="{CAD21CFD-1018-430C-9675-281342B77707}"/>
                </a:ext>
              </a:extLst>
            </p:cNvPr>
            <p:cNvSpPr/>
            <p:nvPr/>
          </p:nvSpPr>
          <p:spPr bwMode="auto">
            <a:xfrm>
              <a:off x="4841875" y="5019675"/>
              <a:ext cx="50800" cy="20638"/>
            </a:xfrm>
            <a:custGeom>
              <a:avLst/>
              <a:gdLst>
                <a:gd name="T0" fmla="*/ 0 w 32"/>
                <a:gd name="T1" fmla="*/ 0 h 13"/>
                <a:gd name="T2" fmla="*/ 28 w 32"/>
                <a:gd name="T3" fmla="*/ 0 h 13"/>
                <a:gd name="T4" fmla="*/ 32 w 32"/>
                <a:gd name="T5" fmla="*/ 13 h 13"/>
                <a:gd name="T6" fmla="*/ 3 w 32"/>
                <a:gd name="T7" fmla="*/ 13 h 13"/>
                <a:gd name="T8" fmla="*/ 0 w 3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3">
                  <a:moveTo>
                    <a:pt x="0" y="0"/>
                  </a:moveTo>
                  <a:lnTo>
                    <a:pt x="28" y="0"/>
                  </a:lnTo>
                  <a:lnTo>
                    <a:pt x="32" y="13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9" name="îŝliḓê">
              <a:extLst>
                <a:ext uri="{FF2B5EF4-FFF2-40B4-BE49-F238E27FC236}">
                  <a16:creationId xmlns:a16="http://schemas.microsoft.com/office/drawing/2014/main" id="{378C5809-CFB6-4AA7-A5E0-4EC9979A5DC7}"/>
                </a:ext>
              </a:extLst>
            </p:cNvPr>
            <p:cNvSpPr/>
            <p:nvPr/>
          </p:nvSpPr>
          <p:spPr bwMode="auto">
            <a:xfrm>
              <a:off x="4651375" y="5019675"/>
              <a:ext cx="47625" cy="20638"/>
            </a:xfrm>
            <a:custGeom>
              <a:avLst/>
              <a:gdLst>
                <a:gd name="T0" fmla="*/ 30 w 30"/>
                <a:gd name="T1" fmla="*/ 0 h 13"/>
                <a:gd name="T2" fmla="*/ 2 w 30"/>
                <a:gd name="T3" fmla="*/ 0 h 13"/>
                <a:gd name="T4" fmla="*/ 0 w 30"/>
                <a:gd name="T5" fmla="*/ 13 h 13"/>
                <a:gd name="T6" fmla="*/ 28 w 30"/>
                <a:gd name="T7" fmla="*/ 13 h 13"/>
                <a:gd name="T8" fmla="*/ 30 w 3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lnTo>
                    <a:pt x="2" y="0"/>
                  </a:lnTo>
                  <a:lnTo>
                    <a:pt x="0" y="13"/>
                  </a:lnTo>
                  <a:lnTo>
                    <a:pt x="28" y="13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0" name="ïSļîḑé">
              <a:extLst>
                <a:ext uri="{FF2B5EF4-FFF2-40B4-BE49-F238E27FC236}">
                  <a16:creationId xmlns:a16="http://schemas.microsoft.com/office/drawing/2014/main" id="{648CF7C2-3E8A-4DC1-8CCD-EC2B2AE9B1BB}"/>
                </a:ext>
              </a:extLst>
            </p:cNvPr>
            <p:cNvSpPr/>
            <p:nvPr/>
          </p:nvSpPr>
          <p:spPr bwMode="auto">
            <a:xfrm>
              <a:off x="4595813" y="4995863"/>
              <a:ext cx="357188" cy="23813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806" name="Group 805">
            <a:extLst>
              <a:ext uri="{FF2B5EF4-FFF2-40B4-BE49-F238E27FC236}">
                <a16:creationId xmlns:a16="http://schemas.microsoft.com/office/drawing/2014/main" id="{15E97AD9-3F8F-442B-8580-F6DE936498A0}"/>
              </a:ext>
            </a:extLst>
          </p:cNvPr>
          <p:cNvGrpSpPr/>
          <p:nvPr/>
        </p:nvGrpSpPr>
        <p:grpSpPr>
          <a:xfrm>
            <a:off x="2907165" y="1161722"/>
            <a:ext cx="1024614" cy="1024610"/>
            <a:chOff x="2907165" y="1161722"/>
            <a:chExt cx="1024614" cy="1024610"/>
          </a:xfrm>
        </p:grpSpPr>
        <p:sp>
          <p:nvSpPr>
            <p:cNvPr id="39" name="îšľîḍè">
              <a:extLst>
                <a:ext uri="{FF2B5EF4-FFF2-40B4-BE49-F238E27FC236}">
                  <a16:creationId xmlns:a16="http://schemas.microsoft.com/office/drawing/2014/main" id="{EE46BFD3-3656-45E3-A35D-DAC1BD0B5B7E}"/>
                </a:ext>
              </a:extLst>
            </p:cNvPr>
            <p:cNvSpPr/>
            <p:nvPr/>
          </p:nvSpPr>
          <p:spPr>
            <a:xfrm>
              <a:off x="2907165" y="1161722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22" name="iconfont-11244-5317052">
              <a:extLst>
                <a:ext uri="{FF2B5EF4-FFF2-40B4-BE49-F238E27FC236}">
                  <a16:creationId xmlns:a16="http://schemas.microsoft.com/office/drawing/2014/main" id="{1079FECC-3F1D-4B46-AF4D-AA514CEEA5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5776" y="1432988"/>
              <a:ext cx="609685" cy="398769"/>
            </a:xfrm>
            <a:custGeom>
              <a:avLst/>
              <a:gdLst>
                <a:gd name="T0" fmla="*/ 4499 w 12887"/>
                <a:gd name="T1" fmla="*/ 7938 h 8428"/>
                <a:gd name="T2" fmla="*/ 3677 w 12887"/>
                <a:gd name="T3" fmla="*/ 6020 h 8428"/>
                <a:gd name="T4" fmla="*/ 3676 w 12887"/>
                <a:gd name="T5" fmla="*/ 6018 h 8428"/>
                <a:gd name="T6" fmla="*/ 2579 w 12887"/>
                <a:gd name="T7" fmla="*/ 3458 h 8428"/>
                <a:gd name="T8" fmla="*/ 1990 w 12887"/>
                <a:gd name="T9" fmla="*/ 3458 h 8428"/>
                <a:gd name="T10" fmla="*/ 893 w 12887"/>
                <a:gd name="T11" fmla="*/ 6018 h 8428"/>
                <a:gd name="T12" fmla="*/ 892 w 12887"/>
                <a:gd name="T13" fmla="*/ 6020 h 8428"/>
                <a:gd name="T14" fmla="*/ 70 w 12887"/>
                <a:gd name="T15" fmla="*/ 7938 h 8428"/>
                <a:gd name="T16" fmla="*/ 238 w 12887"/>
                <a:gd name="T17" fmla="*/ 8358 h 8428"/>
                <a:gd name="T18" fmla="*/ 659 w 12887"/>
                <a:gd name="T19" fmla="*/ 8190 h 8428"/>
                <a:gd name="T20" fmla="*/ 1399 w 12887"/>
                <a:gd name="T21" fmla="*/ 6464 h 8428"/>
                <a:gd name="T22" fmla="*/ 3171 w 12887"/>
                <a:gd name="T23" fmla="*/ 6464 h 8428"/>
                <a:gd name="T24" fmla="*/ 3911 w 12887"/>
                <a:gd name="T25" fmla="*/ 8190 h 8428"/>
                <a:gd name="T26" fmla="*/ 4331 w 12887"/>
                <a:gd name="T27" fmla="*/ 8358 h 8428"/>
                <a:gd name="T28" fmla="*/ 4499 w 12887"/>
                <a:gd name="T29" fmla="*/ 7937 h 8428"/>
                <a:gd name="T30" fmla="*/ 4499 w 12887"/>
                <a:gd name="T31" fmla="*/ 7938 h 8428"/>
                <a:gd name="T32" fmla="*/ 1672 w 12887"/>
                <a:gd name="T33" fmla="*/ 5824 h 8428"/>
                <a:gd name="T34" fmla="*/ 2284 w 12887"/>
                <a:gd name="T35" fmla="*/ 4396 h 8428"/>
                <a:gd name="T36" fmla="*/ 2896 w 12887"/>
                <a:gd name="T37" fmla="*/ 5824 h 8428"/>
                <a:gd name="T38" fmla="*/ 1672 w 12887"/>
                <a:gd name="T39" fmla="*/ 5824 h 8428"/>
                <a:gd name="T40" fmla="*/ 12820 w 12887"/>
                <a:gd name="T41" fmla="*/ 7941 h 8428"/>
                <a:gd name="T42" fmla="*/ 11487 w 12887"/>
                <a:gd name="T43" fmla="*/ 4741 h 8428"/>
                <a:gd name="T44" fmla="*/ 11486 w 12887"/>
                <a:gd name="T45" fmla="*/ 4739 h 8428"/>
                <a:gd name="T46" fmla="*/ 9620 w 12887"/>
                <a:gd name="T47" fmla="*/ 261 h 8428"/>
                <a:gd name="T48" fmla="*/ 9029 w 12887"/>
                <a:gd name="T49" fmla="*/ 261 h 8428"/>
                <a:gd name="T50" fmla="*/ 7163 w 12887"/>
                <a:gd name="T51" fmla="*/ 4739 h 8428"/>
                <a:gd name="T52" fmla="*/ 7162 w 12887"/>
                <a:gd name="T53" fmla="*/ 4741 h 8428"/>
                <a:gd name="T54" fmla="*/ 5829 w 12887"/>
                <a:gd name="T55" fmla="*/ 7941 h 8428"/>
                <a:gd name="T56" fmla="*/ 6001 w 12887"/>
                <a:gd name="T57" fmla="*/ 8360 h 8428"/>
                <a:gd name="T58" fmla="*/ 6419 w 12887"/>
                <a:gd name="T59" fmla="*/ 8188 h 8428"/>
                <a:gd name="T60" fmla="*/ 7671 w 12887"/>
                <a:gd name="T61" fmla="*/ 5185 h 8428"/>
                <a:gd name="T62" fmla="*/ 10977 w 12887"/>
                <a:gd name="T63" fmla="*/ 5185 h 8428"/>
                <a:gd name="T64" fmla="*/ 12229 w 12887"/>
                <a:gd name="T65" fmla="*/ 8188 h 8428"/>
                <a:gd name="T66" fmla="*/ 12647 w 12887"/>
                <a:gd name="T67" fmla="*/ 8360 h 8428"/>
                <a:gd name="T68" fmla="*/ 12819 w 12887"/>
                <a:gd name="T69" fmla="*/ 7941 h 8428"/>
                <a:gd name="T70" fmla="*/ 12820 w 12887"/>
                <a:gd name="T71" fmla="*/ 7941 h 8428"/>
                <a:gd name="T72" fmla="*/ 7937 w 12887"/>
                <a:gd name="T73" fmla="*/ 4544 h 8428"/>
                <a:gd name="T74" fmla="*/ 9324 w 12887"/>
                <a:gd name="T75" fmla="*/ 1216 h 8428"/>
                <a:gd name="T76" fmla="*/ 10711 w 12887"/>
                <a:gd name="T77" fmla="*/ 4544 h 8428"/>
                <a:gd name="T78" fmla="*/ 7938 w 12887"/>
                <a:gd name="T79" fmla="*/ 4544 h 8428"/>
                <a:gd name="T80" fmla="*/ 7937 w 12887"/>
                <a:gd name="T81" fmla="*/ 4544 h 8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887" h="8428">
                  <a:moveTo>
                    <a:pt x="4499" y="7938"/>
                  </a:moveTo>
                  <a:lnTo>
                    <a:pt x="3677" y="6020"/>
                  </a:lnTo>
                  <a:lnTo>
                    <a:pt x="3676" y="6018"/>
                  </a:lnTo>
                  <a:lnTo>
                    <a:pt x="2579" y="3458"/>
                  </a:lnTo>
                  <a:cubicBezTo>
                    <a:pt x="2468" y="3198"/>
                    <a:pt x="2100" y="3198"/>
                    <a:pt x="1990" y="3458"/>
                  </a:cubicBezTo>
                  <a:lnTo>
                    <a:pt x="893" y="6018"/>
                  </a:lnTo>
                  <a:lnTo>
                    <a:pt x="892" y="6020"/>
                  </a:lnTo>
                  <a:lnTo>
                    <a:pt x="70" y="7938"/>
                  </a:lnTo>
                  <a:cubicBezTo>
                    <a:pt x="0" y="8101"/>
                    <a:pt x="76" y="8289"/>
                    <a:pt x="238" y="8358"/>
                  </a:cubicBezTo>
                  <a:cubicBezTo>
                    <a:pt x="401" y="8428"/>
                    <a:pt x="589" y="8353"/>
                    <a:pt x="659" y="8190"/>
                  </a:cubicBezTo>
                  <a:lnTo>
                    <a:pt x="1399" y="6464"/>
                  </a:lnTo>
                  <a:lnTo>
                    <a:pt x="3171" y="6464"/>
                  </a:lnTo>
                  <a:lnTo>
                    <a:pt x="3911" y="8190"/>
                  </a:lnTo>
                  <a:cubicBezTo>
                    <a:pt x="3980" y="8353"/>
                    <a:pt x="4169" y="8428"/>
                    <a:pt x="4331" y="8358"/>
                  </a:cubicBezTo>
                  <a:cubicBezTo>
                    <a:pt x="4493" y="8288"/>
                    <a:pt x="4569" y="8100"/>
                    <a:pt x="4499" y="7937"/>
                  </a:cubicBezTo>
                  <a:lnTo>
                    <a:pt x="4499" y="7938"/>
                  </a:lnTo>
                  <a:close/>
                  <a:moveTo>
                    <a:pt x="1672" y="5824"/>
                  </a:moveTo>
                  <a:lnTo>
                    <a:pt x="2284" y="4396"/>
                  </a:lnTo>
                  <a:lnTo>
                    <a:pt x="2896" y="5824"/>
                  </a:lnTo>
                  <a:lnTo>
                    <a:pt x="1672" y="5824"/>
                  </a:lnTo>
                  <a:close/>
                  <a:moveTo>
                    <a:pt x="12820" y="7941"/>
                  </a:moveTo>
                  <a:lnTo>
                    <a:pt x="11487" y="4741"/>
                  </a:lnTo>
                  <a:lnTo>
                    <a:pt x="11486" y="4739"/>
                  </a:lnTo>
                  <a:lnTo>
                    <a:pt x="9620" y="261"/>
                  </a:lnTo>
                  <a:cubicBezTo>
                    <a:pt x="9509" y="0"/>
                    <a:pt x="9139" y="0"/>
                    <a:pt x="9029" y="261"/>
                  </a:cubicBezTo>
                  <a:lnTo>
                    <a:pt x="7163" y="4739"/>
                  </a:lnTo>
                  <a:lnTo>
                    <a:pt x="7162" y="4741"/>
                  </a:lnTo>
                  <a:lnTo>
                    <a:pt x="5829" y="7941"/>
                  </a:lnTo>
                  <a:cubicBezTo>
                    <a:pt x="5761" y="8104"/>
                    <a:pt x="5838" y="8292"/>
                    <a:pt x="6001" y="8360"/>
                  </a:cubicBezTo>
                  <a:cubicBezTo>
                    <a:pt x="6164" y="8428"/>
                    <a:pt x="6351" y="8351"/>
                    <a:pt x="6419" y="8188"/>
                  </a:cubicBezTo>
                  <a:lnTo>
                    <a:pt x="7671" y="5185"/>
                  </a:lnTo>
                  <a:lnTo>
                    <a:pt x="10977" y="5185"/>
                  </a:lnTo>
                  <a:lnTo>
                    <a:pt x="12229" y="8188"/>
                  </a:lnTo>
                  <a:cubicBezTo>
                    <a:pt x="12297" y="8351"/>
                    <a:pt x="12484" y="8428"/>
                    <a:pt x="12647" y="8360"/>
                  </a:cubicBezTo>
                  <a:cubicBezTo>
                    <a:pt x="12810" y="8292"/>
                    <a:pt x="12887" y="8104"/>
                    <a:pt x="12819" y="7941"/>
                  </a:cubicBezTo>
                  <a:lnTo>
                    <a:pt x="12820" y="7941"/>
                  </a:lnTo>
                  <a:close/>
                  <a:moveTo>
                    <a:pt x="7937" y="4544"/>
                  </a:moveTo>
                  <a:lnTo>
                    <a:pt x="9324" y="1216"/>
                  </a:lnTo>
                  <a:lnTo>
                    <a:pt x="10711" y="4544"/>
                  </a:lnTo>
                  <a:lnTo>
                    <a:pt x="7938" y="4544"/>
                  </a:lnTo>
                  <a:lnTo>
                    <a:pt x="7937" y="45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805" name="Group 804">
            <a:extLst>
              <a:ext uri="{FF2B5EF4-FFF2-40B4-BE49-F238E27FC236}">
                <a16:creationId xmlns:a16="http://schemas.microsoft.com/office/drawing/2014/main" id="{0A4CCE0B-06F0-46A7-A64E-F5693939BD70}"/>
              </a:ext>
            </a:extLst>
          </p:cNvPr>
          <p:cNvGrpSpPr/>
          <p:nvPr/>
        </p:nvGrpSpPr>
        <p:grpSpPr>
          <a:xfrm>
            <a:off x="4098084" y="2173905"/>
            <a:ext cx="1024614" cy="1024610"/>
            <a:chOff x="4098084" y="2173905"/>
            <a:chExt cx="1024614" cy="1024610"/>
          </a:xfrm>
        </p:grpSpPr>
        <p:sp>
          <p:nvSpPr>
            <p:cNvPr id="42" name="îṥļïḑè">
              <a:extLst>
                <a:ext uri="{FF2B5EF4-FFF2-40B4-BE49-F238E27FC236}">
                  <a16:creationId xmlns:a16="http://schemas.microsoft.com/office/drawing/2014/main" id="{299B99E0-FB95-4623-88B1-6057CBBE2BDC}"/>
                </a:ext>
              </a:extLst>
            </p:cNvPr>
            <p:cNvSpPr/>
            <p:nvPr/>
          </p:nvSpPr>
          <p:spPr>
            <a:xfrm>
              <a:off x="4098084" y="2173905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68" name="daisy_67547">
              <a:extLst>
                <a:ext uri="{FF2B5EF4-FFF2-40B4-BE49-F238E27FC236}">
                  <a16:creationId xmlns:a16="http://schemas.microsoft.com/office/drawing/2014/main" id="{A6882F4D-60E2-40CF-A5F0-8705284571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09627" y="2381368"/>
              <a:ext cx="401529" cy="609685"/>
            </a:xfrm>
            <a:custGeom>
              <a:avLst/>
              <a:gdLst>
                <a:gd name="connsiteX0" fmla="*/ 327641 w 398630"/>
                <a:gd name="connsiteY0" fmla="*/ 397283 h 605283"/>
                <a:gd name="connsiteX1" fmla="*/ 398630 w 398630"/>
                <a:gd name="connsiteY1" fmla="*/ 410763 h 605283"/>
                <a:gd name="connsiteX2" fmla="*/ 352104 w 398630"/>
                <a:gd name="connsiteY2" fmla="*/ 420499 h 605283"/>
                <a:gd name="connsiteX3" fmla="*/ 338747 w 398630"/>
                <a:gd name="connsiteY3" fmla="*/ 407019 h 605283"/>
                <a:gd name="connsiteX4" fmla="*/ 327641 w 398630"/>
                <a:gd name="connsiteY4" fmla="*/ 397283 h 605283"/>
                <a:gd name="connsiteX5" fmla="*/ 271400 w 398630"/>
                <a:gd name="connsiteY5" fmla="*/ 386346 h 605283"/>
                <a:gd name="connsiteX6" fmla="*/ 311774 w 398630"/>
                <a:gd name="connsiteY6" fmla="*/ 393698 h 605283"/>
                <a:gd name="connsiteX7" fmla="*/ 331436 w 398630"/>
                <a:gd name="connsiteY7" fmla="*/ 414405 h 605283"/>
                <a:gd name="connsiteX8" fmla="*/ 338790 w 398630"/>
                <a:gd name="connsiteY8" fmla="*/ 422958 h 605283"/>
                <a:gd name="connsiteX9" fmla="*/ 297065 w 398630"/>
                <a:gd name="connsiteY9" fmla="*/ 426709 h 605283"/>
                <a:gd name="connsiteX10" fmla="*/ 284908 w 398630"/>
                <a:gd name="connsiteY10" fmla="*/ 410804 h 605283"/>
                <a:gd name="connsiteX11" fmla="*/ 271400 w 398630"/>
                <a:gd name="connsiteY11" fmla="*/ 386346 h 605283"/>
                <a:gd name="connsiteX12" fmla="*/ 223628 w 398630"/>
                <a:gd name="connsiteY12" fmla="*/ 379007 h 605283"/>
                <a:gd name="connsiteX13" fmla="*/ 262817 w 398630"/>
                <a:gd name="connsiteY13" fmla="*/ 385007 h 605283"/>
                <a:gd name="connsiteX14" fmla="*/ 283538 w 398630"/>
                <a:gd name="connsiteY14" fmla="*/ 426709 h 605283"/>
                <a:gd name="connsiteX15" fmla="*/ 245550 w 398630"/>
                <a:gd name="connsiteY15" fmla="*/ 420559 h 605283"/>
                <a:gd name="connsiteX16" fmla="*/ 223628 w 398630"/>
                <a:gd name="connsiteY16" fmla="*/ 379007 h 605283"/>
                <a:gd name="connsiteX17" fmla="*/ 200426 w 398630"/>
                <a:gd name="connsiteY17" fmla="*/ 376466 h 605283"/>
                <a:gd name="connsiteX18" fmla="*/ 214986 w 398630"/>
                <a:gd name="connsiteY18" fmla="*/ 377664 h 605283"/>
                <a:gd name="connsiteX19" fmla="*/ 213785 w 398630"/>
                <a:gd name="connsiteY19" fmla="*/ 381409 h 605283"/>
                <a:gd name="connsiteX20" fmla="*/ 229696 w 398630"/>
                <a:gd name="connsiteY20" fmla="*/ 415559 h 605283"/>
                <a:gd name="connsiteX21" fmla="*/ 194272 w 398630"/>
                <a:gd name="connsiteY21" fmla="*/ 389946 h 605283"/>
                <a:gd name="connsiteX22" fmla="*/ 196674 w 398630"/>
                <a:gd name="connsiteY22" fmla="*/ 381409 h 605283"/>
                <a:gd name="connsiteX23" fmla="*/ 200426 w 398630"/>
                <a:gd name="connsiteY23" fmla="*/ 376466 h 605283"/>
                <a:gd name="connsiteX24" fmla="*/ 371778 w 398630"/>
                <a:gd name="connsiteY24" fmla="*/ 367928 h 605283"/>
                <a:gd name="connsiteX25" fmla="*/ 390092 w 398630"/>
                <a:gd name="connsiteY25" fmla="*/ 389944 h 605283"/>
                <a:gd name="connsiteX26" fmla="*/ 358267 w 398630"/>
                <a:gd name="connsiteY26" fmla="*/ 380209 h 605283"/>
                <a:gd name="connsiteX27" fmla="*/ 371778 w 398630"/>
                <a:gd name="connsiteY27" fmla="*/ 367928 h 605283"/>
                <a:gd name="connsiteX28" fmla="*/ 344759 w 398630"/>
                <a:gd name="connsiteY28" fmla="*/ 344712 h 605283"/>
                <a:gd name="connsiteX29" fmla="*/ 363206 w 398630"/>
                <a:gd name="connsiteY29" fmla="*/ 359392 h 605283"/>
                <a:gd name="connsiteX30" fmla="*/ 344759 w 398630"/>
                <a:gd name="connsiteY30" fmla="*/ 377666 h 605283"/>
                <a:gd name="connsiteX31" fmla="*/ 310564 w 398630"/>
                <a:gd name="connsiteY31" fmla="*/ 370326 h 605283"/>
                <a:gd name="connsiteX32" fmla="*/ 344759 w 398630"/>
                <a:gd name="connsiteY32" fmla="*/ 344712 h 605283"/>
                <a:gd name="connsiteX33" fmla="*/ 308125 w 398630"/>
                <a:gd name="connsiteY33" fmla="*/ 331234 h 605283"/>
                <a:gd name="connsiteX34" fmla="*/ 332581 w 398630"/>
                <a:gd name="connsiteY34" fmla="*/ 338573 h 605283"/>
                <a:gd name="connsiteX35" fmla="*/ 293421 w 398630"/>
                <a:gd name="connsiteY35" fmla="*/ 369127 h 605283"/>
                <a:gd name="connsiteX36" fmla="*/ 262814 w 398630"/>
                <a:gd name="connsiteY36" fmla="*/ 366731 h 605283"/>
                <a:gd name="connsiteX37" fmla="*/ 292221 w 398630"/>
                <a:gd name="connsiteY37" fmla="*/ 341119 h 605283"/>
                <a:gd name="connsiteX38" fmla="*/ 286069 w 398630"/>
                <a:gd name="connsiteY38" fmla="*/ 333780 h 605283"/>
                <a:gd name="connsiteX39" fmla="*/ 248110 w 398630"/>
                <a:gd name="connsiteY39" fmla="*/ 366731 h 605283"/>
                <a:gd name="connsiteX40" fmla="*/ 208950 w 398630"/>
                <a:gd name="connsiteY40" fmla="*/ 365532 h 605283"/>
                <a:gd name="connsiteX41" fmla="*/ 308125 w 398630"/>
                <a:gd name="connsiteY41" fmla="*/ 331234 h 605283"/>
                <a:gd name="connsiteX42" fmla="*/ 124832 w 398630"/>
                <a:gd name="connsiteY42" fmla="*/ 269541 h 605283"/>
                <a:gd name="connsiteX43" fmla="*/ 130460 w 398630"/>
                <a:gd name="connsiteY43" fmla="*/ 270121 h 605283"/>
                <a:gd name="connsiteX44" fmla="*/ 124456 w 398630"/>
                <a:gd name="connsiteY44" fmla="*/ 602697 h 605283"/>
                <a:gd name="connsiteX45" fmla="*/ 110947 w 398630"/>
                <a:gd name="connsiteY45" fmla="*/ 591612 h 605283"/>
                <a:gd name="connsiteX46" fmla="*/ 159880 w 398630"/>
                <a:gd name="connsiteY46" fmla="*/ 427870 h 605283"/>
                <a:gd name="connsiteX47" fmla="*/ 121905 w 398630"/>
                <a:gd name="connsiteY47" fmla="*/ 276264 h 605283"/>
                <a:gd name="connsiteX48" fmla="*/ 124832 w 398630"/>
                <a:gd name="connsiteY48" fmla="*/ 269541 h 605283"/>
                <a:gd name="connsiteX49" fmla="*/ 131809 w 398630"/>
                <a:gd name="connsiteY49" fmla="*/ 166323 h 605283"/>
                <a:gd name="connsiteX50" fmla="*/ 150128 w 398630"/>
                <a:gd name="connsiteY50" fmla="*/ 185794 h 605283"/>
                <a:gd name="connsiteX51" fmla="*/ 142770 w 398630"/>
                <a:gd name="connsiteY51" fmla="*/ 257989 h 605283"/>
                <a:gd name="connsiteX52" fmla="*/ 110937 w 398630"/>
                <a:gd name="connsiteY52" fmla="*/ 213953 h 605283"/>
                <a:gd name="connsiteX53" fmla="*/ 113340 w 398630"/>
                <a:gd name="connsiteY53" fmla="*/ 171116 h 605283"/>
                <a:gd name="connsiteX54" fmla="*/ 131809 w 398630"/>
                <a:gd name="connsiteY54" fmla="*/ 166323 h 605283"/>
                <a:gd name="connsiteX55" fmla="*/ 86503 w 398630"/>
                <a:gd name="connsiteY55" fmla="*/ 156373 h 605283"/>
                <a:gd name="connsiteX56" fmla="*/ 96257 w 398630"/>
                <a:gd name="connsiteY56" fmla="*/ 165067 h 605283"/>
                <a:gd name="connsiteX57" fmla="*/ 91305 w 398630"/>
                <a:gd name="connsiteY57" fmla="*/ 204192 h 605283"/>
                <a:gd name="connsiteX58" fmla="*/ 76600 w 398630"/>
                <a:gd name="connsiteY58" fmla="*/ 226228 h 605283"/>
                <a:gd name="connsiteX59" fmla="*/ 50940 w 398630"/>
                <a:gd name="connsiteY59" fmla="*/ 237171 h 605283"/>
                <a:gd name="connsiteX60" fmla="*/ 32634 w 398630"/>
                <a:gd name="connsiteY60" fmla="*/ 233573 h 605283"/>
                <a:gd name="connsiteX61" fmla="*/ 86503 w 398630"/>
                <a:gd name="connsiteY61" fmla="*/ 156373 h 605283"/>
                <a:gd name="connsiteX62" fmla="*/ 175767 w 398630"/>
                <a:gd name="connsiteY62" fmla="*/ 131958 h 605283"/>
                <a:gd name="connsiteX63" fmla="*/ 222298 w 398630"/>
                <a:gd name="connsiteY63" fmla="*/ 140506 h 605283"/>
                <a:gd name="connsiteX64" fmla="*/ 241961 w 398630"/>
                <a:gd name="connsiteY64" fmla="*/ 158953 h 605283"/>
                <a:gd name="connsiteX65" fmla="*/ 246914 w 398630"/>
                <a:gd name="connsiteY65" fmla="*/ 179799 h 605283"/>
                <a:gd name="connsiteX66" fmla="*/ 190477 w 398630"/>
                <a:gd name="connsiteY66" fmla="*/ 179799 h 605283"/>
                <a:gd name="connsiteX67" fmla="*/ 147699 w 398630"/>
                <a:gd name="connsiteY67" fmla="*/ 154004 h 605283"/>
                <a:gd name="connsiteX68" fmla="*/ 159857 w 398630"/>
                <a:gd name="connsiteY68" fmla="*/ 135707 h 605283"/>
                <a:gd name="connsiteX69" fmla="*/ 175767 w 398630"/>
                <a:gd name="connsiteY69" fmla="*/ 131958 h 605283"/>
                <a:gd name="connsiteX70" fmla="*/ 120708 w 398630"/>
                <a:gd name="connsiteY70" fmla="*/ 100203 h 605283"/>
                <a:gd name="connsiteX71" fmla="*/ 123107 w 398630"/>
                <a:gd name="connsiteY71" fmla="*/ 101403 h 605283"/>
                <a:gd name="connsiteX72" fmla="*/ 140352 w 398630"/>
                <a:gd name="connsiteY72" fmla="*/ 105152 h 605283"/>
                <a:gd name="connsiteX73" fmla="*/ 150098 w 398630"/>
                <a:gd name="connsiteY73" fmla="*/ 124649 h 605283"/>
                <a:gd name="connsiteX74" fmla="*/ 148899 w 398630"/>
                <a:gd name="connsiteY74" fmla="*/ 130798 h 605283"/>
                <a:gd name="connsiteX75" fmla="*/ 135403 w 398630"/>
                <a:gd name="connsiteY75" fmla="*/ 147895 h 605283"/>
                <a:gd name="connsiteX76" fmla="*/ 126856 w 398630"/>
                <a:gd name="connsiteY76" fmla="*/ 152844 h 605283"/>
                <a:gd name="connsiteX77" fmla="*/ 109761 w 398630"/>
                <a:gd name="connsiteY77" fmla="*/ 155244 h 605283"/>
                <a:gd name="connsiteX78" fmla="*/ 104813 w 398630"/>
                <a:gd name="connsiteY78" fmla="*/ 154044 h 605283"/>
                <a:gd name="connsiteX79" fmla="*/ 93866 w 398630"/>
                <a:gd name="connsiteY79" fmla="*/ 122249 h 605283"/>
                <a:gd name="connsiteX80" fmla="*/ 120708 w 398630"/>
                <a:gd name="connsiteY80" fmla="*/ 100203 h 605283"/>
                <a:gd name="connsiteX81" fmla="*/ 28419 w 398630"/>
                <a:gd name="connsiteY81" fmla="*/ 77585 h 605283"/>
                <a:gd name="connsiteX82" fmla="*/ 48536 w 398630"/>
                <a:gd name="connsiteY82" fmla="*/ 79382 h 605283"/>
                <a:gd name="connsiteX83" fmla="*/ 87719 w 398630"/>
                <a:gd name="connsiteY83" fmla="*/ 101400 h 605283"/>
                <a:gd name="connsiteX84" fmla="*/ 76610 w 398630"/>
                <a:gd name="connsiteY84" fmla="*/ 122221 h 605283"/>
                <a:gd name="connsiteX85" fmla="*/ 77961 w 398630"/>
                <a:gd name="connsiteY85" fmla="*/ 143041 h 605283"/>
                <a:gd name="connsiteX86" fmla="*/ 66851 w 398630"/>
                <a:gd name="connsiteY86" fmla="*/ 147834 h 605283"/>
                <a:gd name="connsiteX87" fmla="*/ 20312 w 398630"/>
                <a:gd name="connsiteY87" fmla="*/ 134503 h 605283"/>
                <a:gd name="connsiteX88" fmla="*/ 1996 w 398630"/>
                <a:gd name="connsiteY88" fmla="*/ 83127 h 605283"/>
                <a:gd name="connsiteX89" fmla="*/ 1996 w 398630"/>
                <a:gd name="connsiteY89" fmla="*/ 79382 h 605283"/>
                <a:gd name="connsiteX90" fmla="*/ 28419 w 398630"/>
                <a:gd name="connsiteY90" fmla="*/ 77585 h 605283"/>
                <a:gd name="connsiteX91" fmla="*/ 217517 w 398630"/>
                <a:gd name="connsiteY91" fmla="*/ 45231 h 605283"/>
                <a:gd name="connsiteX92" fmla="*/ 219919 w 398630"/>
                <a:gd name="connsiteY92" fmla="*/ 46429 h 605283"/>
                <a:gd name="connsiteX93" fmla="*/ 216316 w 398630"/>
                <a:gd name="connsiteY93" fmla="*/ 84323 h 605283"/>
                <a:gd name="connsiteX94" fmla="*/ 195446 w 398630"/>
                <a:gd name="connsiteY94" fmla="*/ 102596 h 605283"/>
                <a:gd name="connsiteX95" fmla="*/ 161064 w 398630"/>
                <a:gd name="connsiteY95" fmla="*/ 119820 h 605283"/>
                <a:gd name="connsiteX96" fmla="*/ 146500 w 398630"/>
                <a:gd name="connsiteY96" fmla="*/ 96605 h 605283"/>
                <a:gd name="connsiteX97" fmla="*/ 217517 w 398630"/>
                <a:gd name="connsiteY97" fmla="*/ 45231 h 605283"/>
                <a:gd name="connsiteX98" fmla="*/ 125689 w 398630"/>
                <a:gd name="connsiteY98" fmla="*/ 0 h 605283"/>
                <a:gd name="connsiteX99" fmla="*/ 134245 w 398630"/>
                <a:gd name="connsiteY99" fmla="*/ 90465 h 605283"/>
                <a:gd name="connsiteX100" fmla="*/ 133044 w 398630"/>
                <a:gd name="connsiteY100" fmla="*/ 90465 h 605283"/>
                <a:gd name="connsiteX101" fmla="*/ 131843 w 398630"/>
                <a:gd name="connsiteY101" fmla="*/ 89267 h 605283"/>
                <a:gd name="connsiteX102" fmla="*/ 108578 w 398630"/>
                <a:gd name="connsiteY102" fmla="*/ 90465 h 605283"/>
                <a:gd name="connsiteX103" fmla="*/ 125689 w 398630"/>
                <a:gd name="connsiteY103" fmla="*/ 0 h 60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98630" h="605283">
                  <a:moveTo>
                    <a:pt x="327641" y="397283"/>
                  </a:moveTo>
                  <a:cubicBezTo>
                    <a:pt x="352104" y="402226"/>
                    <a:pt x="375367" y="405820"/>
                    <a:pt x="398630" y="410763"/>
                  </a:cubicBezTo>
                  <a:cubicBezTo>
                    <a:pt x="384072" y="414358"/>
                    <a:pt x="368013" y="418103"/>
                    <a:pt x="352104" y="420499"/>
                  </a:cubicBezTo>
                  <a:cubicBezTo>
                    <a:pt x="348502" y="415556"/>
                    <a:pt x="343550" y="411962"/>
                    <a:pt x="338747" y="407019"/>
                  </a:cubicBezTo>
                  <a:cubicBezTo>
                    <a:pt x="334995" y="403424"/>
                    <a:pt x="331393" y="400878"/>
                    <a:pt x="327641" y="397283"/>
                  </a:cubicBezTo>
                  <a:close/>
                  <a:moveTo>
                    <a:pt x="271400" y="386346"/>
                  </a:moveTo>
                  <a:cubicBezTo>
                    <a:pt x="284908" y="388747"/>
                    <a:pt x="298266" y="391148"/>
                    <a:pt x="311774" y="393698"/>
                  </a:cubicBezTo>
                  <a:cubicBezTo>
                    <a:pt x="317928" y="400901"/>
                    <a:pt x="324081" y="408253"/>
                    <a:pt x="331436" y="414405"/>
                  </a:cubicBezTo>
                  <a:cubicBezTo>
                    <a:pt x="333837" y="416956"/>
                    <a:pt x="336239" y="420557"/>
                    <a:pt x="338790" y="422958"/>
                  </a:cubicBezTo>
                  <a:cubicBezTo>
                    <a:pt x="324081" y="425509"/>
                    <a:pt x="310573" y="426709"/>
                    <a:pt x="297065" y="426709"/>
                  </a:cubicBezTo>
                  <a:cubicBezTo>
                    <a:pt x="292262" y="421757"/>
                    <a:pt x="288510" y="416956"/>
                    <a:pt x="284908" y="410804"/>
                  </a:cubicBezTo>
                  <a:cubicBezTo>
                    <a:pt x="279955" y="403452"/>
                    <a:pt x="275002" y="394899"/>
                    <a:pt x="271400" y="386346"/>
                  </a:cubicBezTo>
                  <a:close/>
                  <a:moveTo>
                    <a:pt x="223628" y="379007"/>
                  </a:moveTo>
                  <a:cubicBezTo>
                    <a:pt x="236991" y="380207"/>
                    <a:pt x="249304" y="382607"/>
                    <a:pt x="262817" y="385007"/>
                  </a:cubicBezTo>
                  <a:cubicBezTo>
                    <a:pt x="267622" y="399708"/>
                    <a:pt x="273778" y="414408"/>
                    <a:pt x="283538" y="426709"/>
                  </a:cubicBezTo>
                  <a:cubicBezTo>
                    <a:pt x="270175" y="425509"/>
                    <a:pt x="257862" y="424309"/>
                    <a:pt x="245550" y="420559"/>
                  </a:cubicBezTo>
                  <a:cubicBezTo>
                    <a:pt x="238343" y="405858"/>
                    <a:pt x="229634" y="393708"/>
                    <a:pt x="223628" y="379007"/>
                  </a:cubicBezTo>
                  <a:close/>
                  <a:moveTo>
                    <a:pt x="200426" y="376466"/>
                  </a:moveTo>
                  <a:cubicBezTo>
                    <a:pt x="205229" y="376466"/>
                    <a:pt x="210183" y="377664"/>
                    <a:pt x="214986" y="377664"/>
                  </a:cubicBezTo>
                  <a:cubicBezTo>
                    <a:pt x="214986" y="379012"/>
                    <a:pt x="214986" y="379012"/>
                    <a:pt x="213785" y="381409"/>
                  </a:cubicBezTo>
                  <a:cubicBezTo>
                    <a:pt x="218739" y="392343"/>
                    <a:pt x="223692" y="404625"/>
                    <a:pt x="229696" y="415559"/>
                  </a:cubicBezTo>
                  <a:cubicBezTo>
                    <a:pt x="216337" y="410766"/>
                    <a:pt x="204029" y="402228"/>
                    <a:pt x="194272" y="389946"/>
                  </a:cubicBezTo>
                  <a:cubicBezTo>
                    <a:pt x="195473" y="386352"/>
                    <a:pt x="195473" y="383805"/>
                    <a:pt x="196674" y="381409"/>
                  </a:cubicBezTo>
                  <a:cubicBezTo>
                    <a:pt x="197874" y="379012"/>
                    <a:pt x="199075" y="377664"/>
                    <a:pt x="200426" y="376466"/>
                  </a:cubicBezTo>
                  <a:close/>
                  <a:moveTo>
                    <a:pt x="371778" y="367928"/>
                  </a:moveTo>
                  <a:cubicBezTo>
                    <a:pt x="377932" y="375267"/>
                    <a:pt x="384087" y="382605"/>
                    <a:pt x="390092" y="389944"/>
                  </a:cubicBezTo>
                  <a:cubicBezTo>
                    <a:pt x="380334" y="386350"/>
                    <a:pt x="369376" y="383803"/>
                    <a:pt x="358267" y="380209"/>
                  </a:cubicBezTo>
                  <a:cubicBezTo>
                    <a:pt x="363221" y="376465"/>
                    <a:pt x="368025" y="372870"/>
                    <a:pt x="371778" y="367928"/>
                  </a:cubicBezTo>
                  <a:close/>
                  <a:moveTo>
                    <a:pt x="344759" y="344712"/>
                  </a:moveTo>
                  <a:cubicBezTo>
                    <a:pt x="350908" y="349655"/>
                    <a:pt x="357057" y="354448"/>
                    <a:pt x="363206" y="359392"/>
                  </a:cubicBezTo>
                  <a:lnTo>
                    <a:pt x="344759" y="377666"/>
                  </a:lnTo>
                  <a:cubicBezTo>
                    <a:pt x="332611" y="375269"/>
                    <a:pt x="320313" y="372873"/>
                    <a:pt x="310564" y="370326"/>
                  </a:cubicBezTo>
                  <a:cubicBezTo>
                    <a:pt x="321512" y="363136"/>
                    <a:pt x="333810" y="354448"/>
                    <a:pt x="344759" y="344712"/>
                  </a:cubicBezTo>
                  <a:close/>
                  <a:moveTo>
                    <a:pt x="308125" y="331234"/>
                  </a:moveTo>
                  <a:cubicBezTo>
                    <a:pt x="317877" y="332582"/>
                    <a:pt x="325229" y="334978"/>
                    <a:pt x="332581" y="338573"/>
                  </a:cubicBezTo>
                  <a:cubicBezTo>
                    <a:pt x="319078" y="348458"/>
                    <a:pt x="305574" y="358193"/>
                    <a:pt x="293421" y="369127"/>
                  </a:cubicBezTo>
                  <a:cubicBezTo>
                    <a:pt x="283519" y="367929"/>
                    <a:pt x="272566" y="366731"/>
                    <a:pt x="262814" y="366731"/>
                  </a:cubicBezTo>
                  <a:cubicBezTo>
                    <a:pt x="272566" y="359392"/>
                    <a:pt x="282318" y="350854"/>
                    <a:pt x="292221" y="341119"/>
                  </a:cubicBezTo>
                  <a:cubicBezTo>
                    <a:pt x="295822" y="337375"/>
                    <a:pt x="290871" y="331234"/>
                    <a:pt x="286069" y="333780"/>
                  </a:cubicBezTo>
                  <a:cubicBezTo>
                    <a:pt x="272566" y="343516"/>
                    <a:pt x="260263" y="354449"/>
                    <a:pt x="248110" y="366731"/>
                  </a:cubicBezTo>
                  <a:cubicBezTo>
                    <a:pt x="234606" y="366731"/>
                    <a:pt x="221103" y="366731"/>
                    <a:pt x="208950" y="365532"/>
                  </a:cubicBezTo>
                  <a:cubicBezTo>
                    <a:pt x="234606" y="338573"/>
                    <a:pt x="268965" y="323895"/>
                    <a:pt x="308125" y="331234"/>
                  </a:cubicBezTo>
                  <a:close/>
                  <a:moveTo>
                    <a:pt x="124832" y="269541"/>
                  </a:moveTo>
                  <a:cubicBezTo>
                    <a:pt x="126820" y="268324"/>
                    <a:pt x="129259" y="268324"/>
                    <a:pt x="130460" y="270121"/>
                  </a:cubicBezTo>
                  <a:cubicBezTo>
                    <a:pt x="206410" y="353265"/>
                    <a:pt x="201607" y="520752"/>
                    <a:pt x="124456" y="602697"/>
                  </a:cubicBezTo>
                  <a:cubicBezTo>
                    <a:pt x="117101" y="610038"/>
                    <a:pt x="107195" y="600300"/>
                    <a:pt x="110947" y="591612"/>
                  </a:cubicBezTo>
                  <a:cubicBezTo>
                    <a:pt x="136614" y="536632"/>
                    <a:pt x="159880" y="490191"/>
                    <a:pt x="159880" y="427870"/>
                  </a:cubicBezTo>
                  <a:cubicBezTo>
                    <a:pt x="159880" y="372890"/>
                    <a:pt x="140367" y="326450"/>
                    <a:pt x="121905" y="276264"/>
                  </a:cubicBezTo>
                  <a:cubicBezTo>
                    <a:pt x="121304" y="273193"/>
                    <a:pt x="122843" y="270758"/>
                    <a:pt x="124832" y="269541"/>
                  </a:cubicBezTo>
                  <a:close/>
                  <a:moveTo>
                    <a:pt x="131809" y="166323"/>
                  </a:moveTo>
                  <a:cubicBezTo>
                    <a:pt x="136614" y="173662"/>
                    <a:pt x="142770" y="181002"/>
                    <a:pt x="150128" y="185794"/>
                  </a:cubicBezTo>
                  <a:cubicBezTo>
                    <a:pt x="162440" y="210359"/>
                    <a:pt x="167245" y="235971"/>
                    <a:pt x="142770" y="257989"/>
                  </a:cubicBezTo>
                  <a:cubicBezTo>
                    <a:pt x="121899" y="255442"/>
                    <a:pt x="113340" y="231028"/>
                    <a:pt x="110937" y="213953"/>
                  </a:cubicBezTo>
                  <a:cubicBezTo>
                    <a:pt x="108535" y="199275"/>
                    <a:pt x="112139" y="185794"/>
                    <a:pt x="113340" y="171116"/>
                  </a:cubicBezTo>
                  <a:cubicBezTo>
                    <a:pt x="119496" y="171116"/>
                    <a:pt x="125653" y="168719"/>
                    <a:pt x="131809" y="166323"/>
                  </a:cubicBezTo>
                  <a:close/>
                  <a:moveTo>
                    <a:pt x="86503" y="156373"/>
                  </a:moveTo>
                  <a:cubicBezTo>
                    <a:pt x="88904" y="160121"/>
                    <a:pt x="92506" y="163718"/>
                    <a:pt x="96257" y="165067"/>
                  </a:cubicBezTo>
                  <a:cubicBezTo>
                    <a:pt x="91305" y="176010"/>
                    <a:pt x="90105" y="189502"/>
                    <a:pt x="91305" y="204192"/>
                  </a:cubicBezTo>
                  <a:cubicBezTo>
                    <a:pt x="87704" y="212737"/>
                    <a:pt x="82752" y="220082"/>
                    <a:pt x="76600" y="226228"/>
                  </a:cubicBezTo>
                  <a:cubicBezTo>
                    <a:pt x="70598" y="232224"/>
                    <a:pt x="59493" y="237171"/>
                    <a:pt x="50940" y="237171"/>
                  </a:cubicBezTo>
                  <a:cubicBezTo>
                    <a:pt x="44788" y="238370"/>
                    <a:pt x="38636" y="234772"/>
                    <a:pt x="32634" y="233573"/>
                  </a:cubicBezTo>
                  <a:cubicBezTo>
                    <a:pt x="20329" y="201644"/>
                    <a:pt x="66846" y="178409"/>
                    <a:pt x="86503" y="156373"/>
                  </a:cubicBezTo>
                  <a:close/>
                  <a:moveTo>
                    <a:pt x="175767" y="131958"/>
                  </a:moveTo>
                  <a:cubicBezTo>
                    <a:pt x="191678" y="129558"/>
                    <a:pt x="207738" y="131958"/>
                    <a:pt x="222298" y="140506"/>
                  </a:cubicBezTo>
                  <a:cubicBezTo>
                    <a:pt x="229653" y="145455"/>
                    <a:pt x="237008" y="151604"/>
                    <a:pt x="241961" y="158953"/>
                  </a:cubicBezTo>
                  <a:cubicBezTo>
                    <a:pt x="245563" y="166302"/>
                    <a:pt x="245563" y="172451"/>
                    <a:pt x="246914" y="179799"/>
                  </a:cubicBezTo>
                  <a:cubicBezTo>
                    <a:pt x="228452" y="186998"/>
                    <a:pt x="208939" y="186998"/>
                    <a:pt x="190477" y="179799"/>
                  </a:cubicBezTo>
                  <a:cubicBezTo>
                    <a:pt x="173366" y="173650"/>
                    <a:pt x="161058" y="163752"/>
                    <a:pt x="147699" y="154004"/>
                  </a:cubicBezTo>
                  <a:cubicBezTo>
                    <a:pt x="153703" y="149205"/>
                    <a:pt x="157455" y="143056"/>
                    <a:pt x="159857" y="135707"/>
                  </a:cubicBezTo>
                  <a:cubicBezTo>
                    <a:pt x="166011" y="135707"/>
                    <a:pt x="170964" y="133157"/>
                    <a:pt x="175767" y="131958"/>
                  </a:cubicBezTo>
                  <a:close/>
                  <a:moveTo>
                    <a:pt x="120708" y="100203"/>
                  </a:moveTo>
                  <a:cubicBezTo>
                    <a:pt x="121907" y="100203"/>
                    <a:pt x="121907" y="101403"/>
                    <a:pt x="123107" y="101403"/>
                  </a:cubicBezTo>
                  <a:cubicBezTo>
                    <a:pt x="129255" y="102603"/>
                    <a:pt x="135403" y="101403"/>
                    <a:pt x="140352" y="105152"/>
                  </a:cubicBezTo>
                  <a:cubicBezTo>
                    <a:pt x="147699" y="108752"/>
                    <a:pt x="151298" y="117300"/>
                    <a:pt x="150098" y="124649"/>
                  </a:cubicBezTo>
                  <a:cubicBezTo>
                    <a:pt x="148899" y="127199"/>
                    <a:pt x="148899" y="128398"/>
                    <a:pt x="148899" y="130798"/>
                  </a:cubicBezTo>
                  <a:cubicBezTo>
                    <a:pt x="146500" y="136947"/>
                    <a:pt x="141551" y="143096"/>
                    <a:pt x="135403" y="147895"/>
                  </a:cubicBezTo>
                  <a:cubicBezTo>
                    <a:pt x="131804" y="146695"/>
                    <a:pt x="128055" y="149245"/>
                    <a:pt x="126856" y="152844"/>
                  </a:cubicBezTo>
                  <a:cubicBezTo>
                    <a:pt x="120708" y="154044"/>
                    <a:pt x="115909" y="155244"/>
                    <a:pt x="109761" y="155244"/>
                  </a:cubicBezTo>
                  <a:cubicBezTo>
                    <a:pt x="108562" y="154044"/>
                    <a:pt x="106013" y="154044"/>
                    <a:pt x="104813" y="154044"/>
                  </a:cubicBezTo>
                  <a:cubicBezTo>
                    <a:pt x="93866" y="147895"/>
                    <a:pt x="88918" y="133198"/>
                    <a:pt x="93866" y="122249"/>
                  </a:cubicBezTo>
                  <a:cubicBezTo>
                    <a:pt x="98665" y="111301"/>
                    <a:pt x="109761" y="103952"/>
                    <a:pt x="120708" y="100203"/>
                  </a:cubicBezTo>
                  <a:close/>
                  <a:moveTo>
                    <a:pt x="28419" y="77585"/>
                  </a:moveTo>
                  <a:cubicBezTo>
                    <a:pt x="38365" y="77884"/>
                    <a:pt x="47260" y="78783"/>
                    <a:pt x="48536" y="79382"/>
                  </a:cubicBezTo>
                  <a:cubicBezTo>
                    <a:pt x="64449" y="84325"/>
                    <a:pt x="75409" y="92863"/>
                    <a:pt x="87719" y="101400"/>
                  </a:cubicBezTo>
                  <a:cubicBezTo>
                    <a:pt x="82765" y="106343"/>
                    <a:pt x="77961" y="113683"/>
                    <a:pt x="76610" y="122221"/>
                  </a:cubicBezTo>
                  <a:cubicBezTo>
                    <a:pt x="75409" y="129560"/>
                    <a:pt x="75409" y="136900"/>
                    <a:pt x="77961" y="143041"/>
                  </a:cubicBezTo>
                  <a:cubicBezTo>
                    <a:pt x="75409" y="144239"/>
                    <a:pt x="71805" y="146636"/>
                    <a:pt x="66851" y="147834"/>
                  </a:cubicBezTo>
                  <a:cubicBezTo>
                    <a:pt x="50938" y="147834"/>
                    <a:pt x="33823" y="144239"/>
                    <a:pt x="20312" y="134503"/>
                  </a:cubicBezTo>
                  <a:cubicBezTo>
                    <a:pt x="645" y="121022"/>
                    <a:pt x="-2958" y="105145"/>
                    <a:pt x="1996" y="83127"/>
                  </a:cubicBezTo>
                  <a:cubicBezTo>
                    <a:pt x="3197" y="81928"/>
                    <a:pt x="1996" y="80730"/>
                    <a:pt x="1996" y="79382"/>
                  </a:cubicBezTo>
                  <a:cubicBezTo>
                    <a:pt x="7476" y="77585"/>
                    <a:pt x="18473" y="77285"/>
                    <a:pt x="28419" y="77585"/>
                  </a:cubicBezTo>
                  <a:close/>
                  <a:moveTo>
                    <a:pt x="217517" y="45231"/>
                  </a:moveTo>
                  <a:cubicBezTo>
                    <a:pt x="218718" y="45231"/>
                    <a:pt x="218718" y="46429"/>
                    <a:pt x="219919" y="46429"/>
                  </a:cubicBezTo>
                  <a:cubicBezTo>
                    <a:pt x="237035" y="53768"/>
                    <a:pt x="224874" y="74587"/>
                    <a:pt x="216316" y="84323"/>
                  </a:cubicBezTo>
                  <a:cubicBezTo>
                    <a:pt x="210160" y="91662"/>
                    <a:pt x="202803" y="97803"/>
                    <a:pt x="195446" y="102596"/>
                  </a:cubicBezTo>
                  <a:cubicBezTo>
                    <a:pt x="184336" y="109935"/>
                    <a:pt x="173375" y="114877"/>
                    <a:pt x="161064" y="119820"/>
                  </a:cubicBezTo>
                  <a:cubicBezTo>
                    <a:pt x="159863" y="111283"/>
                    <a:pt x="153707" y="101397"/>
                    <a:pt x="146500" y="96605"/>
                  </a:cubicBezTo>
                  <a:cubicBezTo>
                    <a:pt x="161064" y="70843"/>
                    <a:pt x="186888" y="44033"/>
                    <a:pt x="217517" y="45231"/>
                  </a:cubicBezTo>
                  <a:close/>
                  <a:moveTo>
                    <a:pt x="125689" y="0"/>
                  </a:moveTo>
                  <a:cubicBezTo>
                    <a:pt x="155109" y="22017"/>
                    <a:pt x="140399" y="59911"/>
                    <a:pt x="134245" y="90465"/>
                  </a:cubicBezTo>
                  <a:lnTo>
                    <a:pt x="133044" y="90465"/>
                  </a:lnTo>
                  <a:cubicBezTo>
                    <a:pt x="133044" y="90465"/>
                    <a:pt x="133044" y="89267"/>
                    <a:pt x="131843" y="89267"/>
                  </a:cubicBezTo>
                  <a:cubicBezTo>
                    <a:pt x="124488" y="88069"/>
                    <a:pt x="117134" y="88069"/>
                    <a:pt x="108578" y="90465"/>
                  </a:cubicBezTo>
                  <a:cubicBezTo>
                    <a:pt x="102424" y="66051"/>
                    <a:pt x="92517" y="3595"/>
                    <a:pt x="12568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804" name="Group 803">
            <a:extLst>
              <a:ext uri="{FF2B5EF4-FFF2-40B4-BE49-F238E27FC236}">
                <a16:creationId xmlns:a16="http://schemas.microsoft.com/office/drawing/2014/main" id="{97E33835-1953-4C7F-A6A3-FEE3DF5196B1}"/>
              </a:ext>
            </a:extLst>
          </p:cNvPr>
          <p:cNvGrpSpPr/>
          <p:nvPr/>
        </p:nvGrpSpPr>
        <p:grpSpPr>
          <a:xfrm>
            <a:off x="4098084" y="3898841"/>
            <a:ext cx="1024614" cy="1024610"/>
            <a:chOff x="4098084" y="3898841"/>
            <a:chExt cx="1024614" cy="1024610"/>
          </a:xfrm>
        </p:grpSpPr>
        <p:sp>
          <p:nvSpPr>
            <p:cNvPr id="721" name="îṥļïḑè">
              <a:extLst>
                <a:ext uri="{FF2B5EF4-FFF2-40B4-BE49-F238E27FC236}">
                  <a16:creationId xmlns:a16="http://schemas.microsoft.com/office/drawing/2014/main" id="{0BD2C000-7FCE-4C20-84A9-684C23B3E8B4}"/>
                </a:ext>
              </a:extLst>
            </p:cNvPr>
            <p:cNvSpPr/>
            <p:nvPr/>
          </p:nvSpPr>
          <p:spPr>
            <a:xfrm>
              <a:off x="4098084" y="3898841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75" name="dollar-symbol-on-poker-piece_105761">
              <a:extLst>
                <a:ext uri="{FF2B5EF4-FFF2-40B4-BE49-F238E27FC236}">
                  <a16:creationId xmlns:a16="http://schemas.microsoft.com/office/drawing/2014/main" id="{D9EB1011-A02A-4CEC-935B-95EA8FDD423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05549" y="4106764"/>
              <a:ext cx="609684" cy="608764"/>
            </a:xfrm>
            <a:custGeom>
              <a:avLst/>
              <a:gdLst>
                <a:gd name="T0" fmla="*/ 600116 w 606244"/>
                <a:gd name="T1" fmla="*/ 600116 w 606244"/>
                <a:gd name="T2" fmla="*/ 600116 w 606244"/>
                <a:gd name="T3" fmla="*/ 600116 w 606244"/>
                <a:gd name="T4" fmla="*/ 455839 w 606244"/>
                <a:gd name="T5" fmla="*/ 455839 w 606244"/>
                <a:gd name="T6" fmla="*/ 600116 w 606244"/>
                <a:gd name="T7" fmla="*/ 600116 w 606244"/>
                <a:gd name="T8" fmla="*/ 600116 w 606244"/>
                <a:gd name="T9" fmla="*/ 600116 w 606244"/>
                <a:gd name="T10" fmla="*/ 600116 w 606244"/>
                <a:gd name="T11" fmla="*/ 600116 w 606244"/>
                <a:gd name="T12" fmla="*/ 600116 w 606244"/>
                <a:gd name="T13" fmla="*/ 600116 w 606244"/>
                <a:gd name="T14" fmla="*/ 600116 w 606244"/>
                <a:gd name="T15" fmla="*/ 600116 w 606244"/>
                <a:gd name="T16" fmla="*/ 600116 w 606244"/>
                <a:gd name="T17" fmla="*/ 600116 w 606244"/>
                <a:gd name="T18" fmla="*/ 600116 w 606244"/>
                <a:gd name="T19" fmla="*/ 600116 w 606244"/>
                <a:gd name="T20" fmla="*/ 600116 w 606244"/>
                <a:gd name="T21" fmla="*/ 600116 w 606244"/>
                <a:gd name="T22" fmla="*/ 600116 w 606244"/>
                <a:gd name="T23" fmla="*/ 600116 w 606244"/>
                <a:gd name="T24" fmla="*/ 600116 w 606244"/>
                <a:gd name="T25" fmla="*/ 600116 w 606244"/>
                <a:gd name="T26" fmla="*/ 600116 w 606244"/>
                <a:gd name="T27" fmla="*/ 600116 w 606244"/>
                <a:gd name="T28" fmla="*/ 600116 w 606244"/>
                <a:gd name="T29" fmla="*/ 600116 w 606244"/>
                <a:gd name="T30" fmla="*/ 600116 w 606244"/>
                <a:gd name="T31" fmla="*/ 600116 w 606244"/>
                <a:gd name="T32" fmla="*/ 600116 w 606244"/>
                <a:gd name="T33" fmla="*/ 600116 w 606244"/>
                <a:gd name="T34" fmla="*/ 600116 w 606244"/>
                <a:gd name="T35" fmla="*/ 600116 w 606244"/>
                <a:gd name="T36" fmla="*/ 600116 w 606244"/>
                <a:gd name="T37" fmla="*/ 600116 w 606244"/>
                <a:gd name="T38" fmla="*/ 600116 w 606244"/>
                <a:gd name="T39" fmla="*/ 600116 w 606244"/>
                <a:gd name="T40" fmla="*/ 600116 w 606244"/>
                <a:gd name="T41" fmla="*/ 600116 w 606244"/>
                <a:gd name="T42" fmla="*/ 600116 w 606244"/>
                <a:gd name="T43" fmla="*/ 600116 w 606244"/>
                <a:gd name="T44" fmla="*/ 455839 w 606244"/>
                <a:gd name="T45" fmla="*/ 455839 w 606244"/>
                <a:gd name="T46" fmla="*/ 600116 w 606244"/>
                <a:gd name="T47" fmla="*/ 600116 w 606244"/>
                <a:gd name="T48" fmla="*/ 600116 w 606244"/>
                <a:gd name="T49" fmla="*/ 600116 w 606244"/>
                <a:gd name="T50" fmla="*/ 600116 w 606244"/>
                <a:gd name="T51" fmla="*/ 600116 w 606244"/>
                <a:gd name="T52" fmla="*/ 600116 w 606244"/>
                <a:gd name="T53" fmla="*/ 600116 w 606244"/>
                <a:gd name="T54" fmla="*/ 455839 w 606244"/>
                <a:gd name="T55" fmla="*/ 455839 w 606244"/>
                <a:gd name="T56" fmla="*/ 600116 w 606244"/>
                <a:gd name="T57" fmla="*/ 600116 w 606244"/>
                <a:gd name="T58" fmla="*/ 600116 w 606244"/>
                <a:gd name="T59" fmla="*/ 600116 w 606244"/>
                <a:gd name="T60" fmla="*/ 600116 w 606244"/>
                <a:gd name="T61" fmla="*/ 600116 w 606244"/>
                <a:gd name="T62" fmla="*/ 600116 w 606244"/>
                <a:gd name="T63" fmla="*/ 600116 w 606244"/>
                <a:gd name="T64" fmla="*/ 455839 w 606244"/>
                <a:gd name="T65" fmla="*/ 455839 w 606244"/>
                <a:gd name="T66" fmla="*/ 600116 w 606244"/>
                <a:gd name="T67" fmla="*/ 600116 w 606244"/>
                <a:gd name="T68" fmla="*/ 600116 w 606244"/>
                <a:gd name="T69" fmla="*/ 600116 w 606244"/>
                <a:gd name="T70" fmla="*/ 600116 w 606244"/>
                <a:gd name="T71" fmla="*/ 600116 w 606244"/>
                <a:gd name="T72" fmla="*/ 600116 w 606244"/>
                <a:gd name="T73" fmla="*/ 600116 w 606244"/>
                <a:gd name="T74" fmla="*/ 455839 w 606244"/>
                <a:gd name="T75" fmla="*/ 455839 w 606244"/>
                <a:gd name="T76" fmla="*/ 600116 w 606244"/>
                <a:gd name="T77" fmla="*/ 600116 w 606244"/>
                <a:gd name="T78" fmla="*/ 600116 w 606244"/>
                <a:gd name="T79" fmla="*/ 600116 w 606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53" h="3953">
                  <a:moveTo>
                    <a:pt x="1976" y="0"/>
                  </a:moveTo>
                  <a:cubicBezTo>
                    <a:pt x="885" y="0"/>
                    <a:pt x="0" y="885"/>
                    <a:pt x="0" y="1976"/>
                  </a:cubicBezTo>
                  <a:cubicBezTo>
                    <a:pt x="0" y="3068"/>
                    <a:pt x="885" y="3953"/>
                    <a:pt x="1976" y="3953"/>
                  </a:cubicBezTo>
                  <a:cubicBezTo>
                    <a:pt x="3068" y="3953"/>
                    <a:pt x="3953" y="3068"/>
                    <a:pt x="3953" y="1976"/>
                  </a:cubicBezTo>
                  <a:cubicBezTo>
                    <a:pt x="3953" y="885"/>
                    <a:pt x="3068" y="0"/>
                    <a:pt x="1976" y="0"/>
                  </a:cubicBezTo>
                  <a:close/>
                  <a:moveTo>
                    <a:pt x="2961" y="513"/>
                  </a:moveTo>
                  <a:lnTo>
                    <a:pt x="2835" y="699"/>
                  </a:lnTo>
                  <a:cubicBezTo>
                    <a:pt x="2667" y="587"/>
                    <a:pt x="2476" y="506"/>
                    <a:pt x="2271" y="466"/>
                  </a:cubicBezTo>
                  <a:lnTo>
                    <a:pt x="2315" y="246"/>
                  </a:lnTo>
                  <a:cubicBezTo>
                    <a:pt x="2547" y="290"/>
                    <a:pt x="2766" y="381"/>
                    <a:pt x="2961" y="513"/>
                  </a:cubicBezTo>
                  <a:close/>
                  <a:moveTo>
                    <a:pt x="2079" y="2854"/>
                  </a:moveTo>
                  <a:lnTo>
                    <a:pt x="2079" y="3083"/>
                  </a:lnTo>
                  <a:lnTo>
                    <a:pt x="1892" y="3083"/>
                  </a:lnTo>
                  <a:lnTo>
                    <a:pt x="1892" y="2855"/>
                  </a:lnTo>
                  <a:cubicBezTo>
                    <a:pt x="1759" y="2840"/>
                    <a:pt x="1634" y="2789"/>
                    <a:pt x="1540" y="2702"/>
                  </a:cubicBezTo>
                  <a:cubicBezTo>
                    <a:pt x="1445" y="2614"/>
                    <a:pt x="1402" y="2485"/>
                    <a:pt x="1405" y="2316"/>
                  </a:cubicBezTo>
                  <a:lnTo>
                    <a:pt x="1410" y="2310"/>
                  </a:lnTo>
                  <a:lnTo>
                    <a:pt x="1740" y="2310"/>
                  </a:lnTo>
                  <a:cubicBezTo>
                    <a:pt x="1740" y="2416"/>
                    <a:pt x="1764" y="2487"/>
                    <a:pt x="1811" y="2532"/>
                  </a:cubicBezTo>
                  <a:cubicBezTo>
                    <a:pt x="1858" y="2577"/>
                    <a:pt x="1919" y="2599"/>
                    <a:pt x="1992" y="2599"/>
                  </a:cubicBezTo>
                  <a:cubicBezTo>
                    <a:pt x="2062" y="2599"/>
                    <a:pt x="2116" y="2580"/>
                    <a:pt x="2153" y="2543"/>
                  </a:cubicBezTo>
                  <a:cubicBezTo>
                    <a:pt x="2191" y="2506"/>
                    <a:pt x="2210" y="2455"/>
                    <a:pt x="2210" y="2392"/>
                  </a:cubicBezTo>
                  <a:cubicBezTo>
                    <a:pt x="2210" y="2330"/>
                    <a:pt x="2192" y="2279"/>
                    <a:pt x="2156" y="2239"/>
                  </a:cubicBezTo>
                  <a:cubicBezTo>
                    <a:pt x="2120" y="2200"/>
                    <a:pt x="2058" y="2163"/>
                    <a:pt x="1971" y="2130"/>
                  </a:cubicBezTo>
                  <a:cubicBezTo>
                    <a:pt x="1800" y="2067"/>
                    <a:pt x="1673" y="1997"/>
                    <a:pt x="1590" y="1921"/>
                  </a:cubicBezTo>
                  <a:cubicBezTo>
                    <a:pt x="1507" y="1844"/>
                    <a:pt x="1466" y="1736"/>
                    <a:pt x="1466" y="1596"/>
                  </a:cubicBezTo>
                  <a:cubicBezTo>
                    <a:pt x="1466" y="1467"/>
                    <a:pt x="1504" y="1360"/>
                    <a:pt x="1587" y="1278"/>
                  </a:cubicBezTo>
                  <a:cubicBezTo>
                    <a:pt x="1670" y="1195"/>
                    <a:pt x="1785" y="1146"/>
                    <a:pt x="1919" y="1131"/>
                  </a:cubicBezTo>
                  <a:lnTo>
                    <a:pt x="1919" y="883"/>
                  </a:lnTo>
                  <a:lnTo>
                    <a:pt x="2105" y="883"/>
                  </a:lnTo>
                  <a:lnTo>
                    <a:pt x="2105" y="1134"/>
                  </a:lnTo>
                  <a:cubicBezTo>
                    <a:pt x="2239" y="1154"/>
                    <a:pt x="2349" y="1210"/>
                    <a:pt x="2427" y="1304"/>
                  </a:cubicBezTo>
                  <a:cubicBezTo>
                    <a:pt x="2504" y="1397"/>
                    <a:pt x="2543" y="1517"/>
                    <a:pt x="2542" y="1665"/>
                  </a:cubicBezTo>
                  <a:lnTo>
                    <a:pt x="2539" y="1670"/>
                  </a:lnTo>
                  <a:lnTo>
                    <a:pt x="2210" y="1670"/>
                  </a:lnTo>
                  <a:cubicBezTo>
                    <a:pt x="2210" y="1576"/>
                    <a:pt x="2191" y="1510"/>
                    <a:pt x="2153" y="1461"/>
                  </a:cubicBezTo>
                  <a:cubicBezTo>
                    <a:pt x="2116" y="1411"/>
                    <a:pt x="2065" y="1387"/>
                    <a:pt x="2000" y="1387"/>
                  </a:cubicBezTo>
                  <a:cubicBezTo>
                    <a:pt x="1934" y="1387"/>
                    <a:pt x="1885" y="1407"/>
                    <a:pt x="1852" y="1445"/>
                  </a:cubicBezTo>
                  <a:cubicBezTo>
                    <a:pt x="1820" y="1483"/>
                    <a:pt x="1804" y="1534"/>
                    <a:pt x="1804" y="1597"/>
                  </a:cubicBezTo>
                  <a:cubicBezTo>
                    <a:pt x="1804" y="1657"/>
                    <a:pt x="1821" y="1706"/>
                    <a:pt x="1855" y="1744"/>
                  </a:cubicBezTo>
                  <a:cubicBezTo>
                    <a:pt x="1889" y="1781"/>
                    <a:pt x="1952" y="1818"/>
                    <a:pt x="2044" y="1854"/>
                  </a:cubicBezTo>
                  <a:cubicBezTo>
                    <a:pt x="2215" y="1921"/>
                    <a:pt x="2341" y="1993"/>
                    <a:pt x="2423" y="2069"/>
                  </a:cubicBezTo>
                  <a:cubicBezTo>
                    <a:pt x="2505" y="2146"/>
                    <a:pt x="2546" y="2253"/>
                    <a:pt x="2546" y="2390"/>
                  </a:cubicBezTo>
                  <a:cubicBezTo>
                    <a:pt x="2546" y="2524"/>
                    <a:pt x="2501" y="2631"/>
                    <a:pt x="2419" y="2711"/>
                  </a:cubicBezTo>
                  <a:cubicBezTo>
                    <a:pt x="2336" y="2792"/>
                    <a:pt x="2225" y="2839"/>
                    <a:pt x="2079" y="2854"/>
                  </a:cubicBezTo>
                  <a:close/>
                  <a:moveTo>
                    <a:pt x="1638" y="246"/>
                  </a:moveTo>
                  <a:lnTo>
                    <a:pt x="1681" y="466"/>
                  </a:lnTo>
                  <a:cubicBezTo>
                    <a:pt x="1475" y="506"/>
                    <a:pt x="1284" y="587"/>
                    <a:pt x="1117" y="700"/>
                  </a:cubicBezTo>
                  <a:lnTo>
                    <a:pt x="992" y="513"/>
                  </a:lnTo>
                  <a:cubicBezTo>
                    <a:pt x="1187" y="381"/>
                    <a:pt x="1406" y="290"/>
                    <a:pt x="1638" y="246"/>
                  </a:cubicBezTo>
                  <a:close/>
                  <a:moveTo>
                    <a:pt x="513" y="992"/>
                  </a:moveTo>
                  <a:lnTo>
                    <a:pt x="699" y="1118"/>
                  </a:lnTo>
                  <a:cubicBezTo>
                    <a:pt x="587" y="1285"/>
                    <a:pt x="506" y="1477"/>
                    <a:pt x="466" y="1682"/>
                  </a:cubicBezTo>
                  <a:lnTo>
                    <a:pt x="246" y="1638"/>
                  </a:lnTo>
                  <a:cubicBezTo>
                    <a:pt x="290" y="1406"/>
                    <a:pt x="381" y="1187"/>
                    <a:pt x="513" y="992"/>
                  </a:cubicBezTo>
                  <a:close/>
                  <a:moveTo>
                    <a:pt x="513" y="2961"/>
                  </a:moveTo>
                  <a:cubicBezTo>
                    <a:pt x="381" y="2766"/>
                    <a:pt x="290" y="2547"/>
                    <a:pt x="246" y="2315"/>
                  </a:cubicBezTo>
                  <a:lnTo>
                    <a:pt x="466" y="2272"/>
                  </a:lnTo>
                  <a:cubicBezTo>
                    <a:pt x="506" y="2478"/>
                    <a:pt x="587" y="2669"/>
                    <a:pt x="700" y="2836"/>
                  </a:cubicBezTo>
                  <a:lnTo>
                    <a:pt x="513" y="2961"/>
                  </a:lnTo>
                  <a:close/>
                  <a:moveTo>
                    <a:pt x="992" y="3440"/>
                  </a:moveTo>
                  <a:lnTo>
                    <a:pt x="1118" y="3254"/>
                  </a:lnTo>
                  <a:cubicBezTo>
                    <a:pt x="1285" y="3366"/>
                    <a:pt x="1477" y="3447"/>
                    <a:pt x="1682" y="3487"/>
                  </a:cubicBezTo>
                  <a:lnTo>
                    <a:pt x="1638" y="3707"/>
                  </a:lnTo>
                  <a:cubicBezTo>
                    <a:pt x="1406" y="3662"/>
                    <a:pt x="1187" y="3572"/>
                    <a:pt x="992" y="3440"/>
                  </a:cubicBezTo>
                  <a:close/>
                  <a:moveTo>
                    <a:pt x="2315" y="3707"/>
                  </a:moveTo>
                  <a:lnTo>
                    <a:pt x="2272" y="3487"/>
                  </a:lnTo>
                  <a:cubicBezTo>
                    <a:pt x="2478" y="3447"/>
                    <a:pt x="2669" y="3366"/>
                    <a:pt x="2836" y="3253"/>
                  </a:cubicBezTo>
                  <a:lnTo>
                    <a:pt x="2961" y="3440"/>
                  </a:lnTo>
                  <a:cubicBezTo>
                    <a:pt x="2766" y="3572"/>
                    <a:pt x="2547" y="3663"/>
                    <a:pt x="2315" y="3707"/>
                  </a:cubicBezTo>
                  <a:close/>
                  <a:moveTo>
                    <a:pt x="3440" y="2961"/>
                  </a:moveTo>
                  <a:lnTo>
                    <a:pt x="3254" y="2835"/>
                  </a:lnTo>
                  <a:cubicBezTo>
                    <a:pt x="3366" y="2667"/>
                    <a:pt x="3447" y="2476"/>
                    <a:pt x="3487" y="2271"/>
                  </a:cubicBezTo>
                  <a:lnTo>
                    <a:pt x="3707" y="2315"/>
                  </a:lnTo>
                  <a:cubicBezTo>
                    <a:pt x="3662" y="2547"/>
                    <a:pt x="3572" y="2766"/>
                    <a:pt x="3440" y="2961"/>
                  </a:cubicBezTo>
                  <a:close/>
                  <a:moveTo>
                    <a:pt x="3487" y="1681"/>
                  </a:moveTo>
                  <a:cubicBezTo>
                    <a:pt x="3447" y="1475"/>
                    <a:pt x="3366" y="1284"/>
                    <a:pt x="3253" y="1117"/>
                  </a:cubicBezTo>
                  <a:lnTo>
                    <a:pt x="3440" y="992"/>
                  </a:lnTo>
                  <a:cubicBezTo>
                    <a:pt x="3572" y="1187"/>
                    <a:pt x="3662" y="1406"/>
                    <a:pt x="3707" y="1638"/>
                  </a:cubicBezTo>
                  <a:lnTo>
                    <a:pt x="3487" y="16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803" name="Group 802">
            <a:extLst>
              <a:ext uri="{FF2B5EF4-FFF2-40B4-BE49-F238E27FC236}">
                <a16:creationId xmlns:a16="http://schemas.microsoft.com/office/drawing/2014/main" id="{CA406A03-D4B9-4D74-8BD2-1F7E4F852487}"/>
              </a:ext>
            </a:extLst>
          </p:cNvPr>
          <p:cNvGrpSpPr/>
          <p:nvPr/>
        </p:nvGrpSpPr>
        <p:grpSpPr>
          <a:xfrm>
            <a:off x="3407697" y="5767974"/>
            <a:ext cx="0" cy="0"/>
            <a:chOff x="2907165" y="5052011"/>
            <a:chExt cx="1024614" cy="1024610"/>
          </a:xfrm>
        </p:grpSpPr>
        <p:sp>
          <p:nvSpPr>
            <p:cNvPr id="36" name="iSḷiďê">
              <a:extLst>
                <a:ext uri="{FF2B5EF4-FFF2-40B4-BE49-F238E27FC236}">
                  <a16:creationId xmlns:a16="http://schemas.microsoft.com/office/drawing/2014/main" id="{9B73D5D5-198B-4787-ACF4-C5D7C55AB3A8}"/>
                </a:ext>
              </a:extLst>
            </p:cNvPr>
            <p:cNvSpPr/>
            <p:nvPr/>
          </p:nvSpPr>
          <p:spPr>
            <a:xfrm>
              <a:off x="2907165" y="5052011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 dirty="0"/>
            </a:p>
          </p:txBody>
        </p:sp>
        <p:sp>
          <p:nvSpPr>
            <p:cNvPr id="777" name="broom_120157">
              <a:extLst>
                <a:ext uri="{FF2B5EF4-FFF2-40B4-BE49-F238E27FC236}">
                  <a16:creationId xmlns:a16="http://schemas.microsoft.com/office/drawing/2014/main" id="{0BB86856-5955-4F6A-B6DC-8DF5E70D8A7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14630" y="5260606"/>
              <a:ext cx="609685" cy="607421"/>
            </a:xfrm>
            <a:custGeom>
              <a:avLst/>
              <a:gdLst>
                <a:gd name="T0" fmla="*/ 5934 w 6127"/>
                <a:gd name="T1" fmla="*/ 485 h 6113"/>
                <a:gd name="T2" fmla="*/ 3594 w 6127"/>
                <a:gd name="T3" fmla="*/ 2240 h 6113"/>
                <a:gd name="T4" fmla="*/ 5642 w 6127"/>
                <a:gd name="T5" fmla="*/ 41 h 6113"/>
                <a:gd name="T6" fmla="*/ 3443 w 6127"/>
                <a:gd name="T7" fmla="*/ 2089 h 6113"/>
                <a:gd name="T8" fmla="*/ 3061 w 6127"/>
                <a:gd name="T9" fmla="*/ 1840 h 6113"/>
                <a:gd name="T10" fmla="*/ 2760 w 6127"/>
                <a:gd name="T11" fmla="*/ 2009 h 6113"/>
                <a:gd name="T12" fmla="*/ 81 w 6127"/>
                <a:gd name="T13" fmla="*/ 3494 h 6113"/>
                <a:gd name="T14" fmla="*/ 971 w 6127"/>
                <a:gd name="T15" fmla="*/ 5155 h 6113"/>
                <a:gd name="T16" fmla="*/ 2533 w 6127"/>
                <a:gd name="T17" fmla="*/ 6113 h 6113"/>
                <a:gd name="T18" fmla="*/ 3785 w 6127"/>
                <a:gd name="T19" fmla="*/ 3443 h 6113"/>
                <a:gd name="T20" fmla="*/ 4117 w 6127"/>
                <a:gd name="T21" fmla="*/ 3367 h 6113"/>
                <a:gd name="T22" fmla="*/ 4193 w 6127"/>
                <a:gd name="T23" fmla="*/ 2839 h 6113"/>
                <a:gd name="T24" fmla="*/ 6085 w 6127"/>
                <a:gd name="T25" fmla="*/ 635 h 6113"/>
                <a:gd name="T26" fmla="*/ 2813 w 6127"/>
                <a:gd name="T27" fmla="*/ 2515 h 6113"/>
                <a:gd name="T28" fmla="*/ 2034 w 6127"/>
                <a:gd name="T29" fmla="*/ 3199 h 6113"/>
                <a:gd name="T30" fmla="*/ 2095 w 6127"/>
                <a:gd name="T31" fmla="*/ 3393 h 6113"/>
                <a:gd name="T32" fmla="*/ 3049 w 6127"/>
                <a:gd name="T33" fmla="*/ 2751 h 6113"/>
                <a:gd name="T34" fmla="*/ 1048 w 6127"/>
                <a:gd name="T35" fmla="*/ 4928 h 6113"/>
                <a:gd name="T36" fmla="*/ 1778 w 6127"/>
                <a:gd name="T37" fmla="*/ 3638 h 6113"/>
                <a:gd name="T38" fmla="*/ 1656 w 6127"/>
                <a:gd name="T39" fmla="*/ 3463 h 6113"/>
                <a:gd name="T40" fmla="*/ 255 w 6127"/>
                <a:gd name="T41" fmla="*/ 3655 h 6113"/>
                <a:gd name="T42" fmla="*/ 2471 w 6127"/>
                <a:gd name="T43" fmla="*/ 5871 h 6113"/>
                <a:gd name="T44" fmla="*/ 2083 w 6127"/>
                <a:gd name="T45" fmla="*/ 5303 h 6113"/>
                <a:gd name="T46" fmla="*/ 1908 w 6127"/>
                <a:gd name="T47" fmla="*/ 5181 h 6113"/>
                <a:gd name="T48" fmla="*/ 1199 w 6127"/>
                <a:gd name="T49" fmla="*/ 5078 h 6113"/>
                <a:gd name="T50" fmla="*/ 3375 w 6127"/>
                <a:gd name="T51" fmla="*/ 3077 h 6113"/>
                <a:gd name="T52" fmla="*/ 2213 w 6127"/>
                <a:gd name="T53" fmla="*/ 4930 h 6113"/>
                <a:gd name="T54" fmla="*/ 2362 w 6127"/>
                <a:gd name="T55" fmla="*/ 4904 h 6113"/>
                <a:gd name="T56" fmla="*/ 3611 w 6127"/>
                <a:gd name="T57" fmla="*/ 3313 h 6113"/>
                <a:gd name="T58" fmla="*/ 4042 w 6127"/>
                <a:gd name="T59" fmla="*/ 3141 h 6113"/>
                <a:gd name="T60" fmla="*/ 3891 w 6127"/>
                <a:gd name="T61" fmla="*/ 3247 h 6113"/>
                <a:gd name="T62" fmla="*/ 3363 w 6127"/>
                <a:gd name="T63" fmla="*/ 2764 h 6113"/>
                <a:gd name="T64" fmla="*/ 3363 w 6127"/>
                <a:gd name="T65" fmla="*/ 2763 h 6113"/>
                <a:gd name="T66" fmla="*/ 2910 w 6127"/>
                <a:gd name="T67" fmla="*/ 2160 h 6113"/>
                <a:gd name="T68" fmla="*/ 3061 w 6127"/>
                <a:gd name="T69" fmla="*/ 2054 h 6113"/>
                <a:gd name="T70" fmla="*/ 4042 w 6127"/>
                <a:gd name="T71" fmla="*/ 2990 h 6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127" h="6113">
                  <a:moveTo>
                    <a:pt x="6085" y="485"/>
                  </a:moveTo>
                  <a:cubicBezTo>
                    <a:pt x="6044" y="443"/>
                    <a:pt x="5976" y="443"/>
                    <a:pt x="5934" y="485"/>
                  </a:cubicBezTo>
                  <a:lnTo>
                    <a:pt x="3886" y="2533"/>
                  </a:lnTo>
                  <a:lnTo>
                    <a:pt x="3594" y="2240"/>
                  </a:lnTo>
                  <a:lnTo>
                    <a:pt x="5642" y="192"/>
                  </a:lnTo>
                  <a:cubicBezTo>
                    <a:pt x="5683" y="150"/>
                    <a:pt x="5683" y="83"/>
                    <a:pt x="5642" y="41"/>
                  </a:cubicBezTo>
                  <a:cubicBezTo>
                    <a:pt x="5600" y="0"/>
                    <a:pt x="5533" y="0"/>
                    <a:pt x="5491" y="41"/>
                  </a:cubicBezTo>
                  <a:lnTo>
                    <a:pt x="3443" y="2089"/>
                  </a:lnTo>
                  <a:lnTo>
                    <a:pt x="3288" y="1934"/>
                  </a:lnTo>
                  <a:cubicBezTo>
                    <a:pt x="3227" y="1874"/>
                    <a:pt x="3147" y="1840"/>
                    <a:pt x="3061" y="1840"/>
                  </a:cubicBezTo>
                  <a:cubicBezTo>
                    <a:pt x="2976" y="1840"/>
                    <a:pt x="2895" y="1874"/>
                    <a:pt x="2835" y="1934"/>
                  </a:cubicBezTo>
                  <a:lnTo>
                    <a:pt x="2760" y="2009"/>
                  </a:lnTo>
                  <a:cubicBezTo>
                    <a:pt x="2670" y="2099"/>
                    <a:pt x="2645" y="2229"/>
                    <a:pt x="2684" y="2341"/>
                  </a:cubicBezTo>
                  <a:cubicBezTo>
                    <a:pt x="1676" y="2828"/>
                    <a:pt x="778" y="3225"/>
                    <a:pt x="81" y="3494"/>
                  </a:cubicBezTo>
                  <a:cubicBezTo>
                    <a:pt x="28" y="3514"/>
                    <a:pt x="0" y="3573"/>
                    <a:pt x="19" y="3628"/>
                  </a:cubicBezTo>
                  <a:cubicBezTo>
                    <a:pt x="215" y="4200"/>
                    <a:pt x="544" y="4728"/>
                    <a:pt x="971" y="5155"/>
                  </a:cubicBezTo>
                  <a:cubicBezTo>
                    <a:pt x="1399" y="5582"/>
                    <a:pt x="1927" y="5912"/>
                    <a:pt x="2499" y="6108"/>
                  </a:cubicBezTo>
                  <a:cubicBezTo>
                    <a:pt x="2510" y="6112"/>
                    <a:pt x="2522" y="6113"/>
                    <a:pt x="2533" y="6113"/>
                  </a:cubicBezTo>
                  <a:cubicBezTo>
                    <a:pt x="2576" y="6113"/>
                    <a:pt x="2617" y="6087"/>
                    <a:pt x="2633" y="6045"/>
                  </a:cubicBezTo>
                  <a:cubicBezTo>
                    <a:pt x="2901" y="5348"/>
                    <a:pt x="3299" y="4450"/>
                    <a:pt x="3785" y="3443"/>
                  </a:cubicBezTo>
                  <a:cubicBezTo>
                    <a:pt x="3819" y="3454"/>
                    <a:pt x="3854" y="3460"/>
                    <a:pt x="3891" y="3460"/>
                  </a:cubicBezTo>
                  <a:cubicBezTo>
                    <a:pt x="3977" y="3460"/>
                    <a:pt x="4057" y="3427"/>
                    <a:pt x="4117" y="3367"/>
                  </a:cubicBezTo>
                  <a:lnTo>
                    <a:pt x="4193" y="3291"/>
                  </a:lnTo>
                  <a:cubicBezTo>
                    <a:pt x="4317" y="3167"/>
                    <a:pt x="4317" y="2964"/>
                    <a:pt x="4193" y="2839"/>
                  </a:cubicBezTo>
                  <a:lnTo>
                    <a:pt x="4037" y="2683"/>
                  </a:lnTo>
                  <a:lnTo>
                    <a:pt x="6085" y="635"/>
                  </a:lnTo>
                  <a:cubicBezTo>
                    <a:pt x="6127" y="594"/>
                    <a:pt x="6127" y="526"/>
                    <a:pt x="6085" y="485"/>
                  </a:cubicBezTo>
                  <a:close/>
                  <a:moveTo>
                    <a:pt x="2813" y="2515"/>
                  </a:moveTo>
                  <a:lnTo>
                    <a:pt x="2896" y="2598"/>
                  </a:lnTo>
                  <a:lnTo>
                    <a:pt x="2034" y="3199"/>
                  </a:lnTo>
                  <a:cubicBezTo>
                    <a:pt x="1986" y="3233"/>
                    <a:pt x="1974" y="3299"/>
                    <a:pt x="2007" y="3348"/>
                  </a:cubicBezTo>
                  <a:cubicBezTo>
                    <a:pt x="2028" y="3377"/>
                    <a:pt x="2061" y="3393"/>
                    <a:pt x="2095" y="3393"/>
                  </a:cubicBezTo>
                  <a:cubicBezTo>
                    <a:pt x="2116" y="3393"/>
                    <a:pt x="2137" y="3387"/>
                    <a:pt x="2156" y="3374"/>
                  </a:cubicBezTo>
                  <a:lnTo>
                    <a:pt x="3049" y="2751"/>
                  </a:lnTo>
                  <a:lnTo>
                    <a:pt x="3137" y="2839"/>
                  </a:lnTo>
                  <a:lnTo>
                    <a:pt x="1048" y="4928"/>
                  </a:lnTo>
                  <a:cubicBezTo>
                    <a:pt x="901" y="4772"/>
                    <a:pt x="768" y="4603"/>
                    <a:pt x="649" y="4425"/>
                  </a:cubicBezTo>
                  <a:lnTo>
                    <a:pt x="1778" y="3638"/>
                  </a:lnTo>
                  <a:cubicBezTo>
                    <a:pt x="1826" y="3604"/>
                    <a:pt x="1838" y="3537"/>
                    <a:pt x="1805" y="3489"/>
                  </a:cubicBezTo>
                  <a:cubicBezTo>
                    <a:pt x="1771" y="3441"/>
                    <a:pt x="1704" y="3429"/>
                    <a:pt x="1656" y="3463"/>
                  </a:cubicBezTo>
                  <a:lnTo>
                    <a:pt x="536" y="4244"/>
                  </a:lnTo>
                  <a:cubicBezTo>
                    <a:pt x="426" y="4056"/>
                    <a:pt x="331" y="3859"/>
                    <a:pt x="255" y="3655"/>
                  </a:cubicBezTo>
                  <a:cubicBezTo>
                    <a:pt x="951" y="3382"/>
                    <a:pt x="1832" y="2990"/>
                    <a:pt x="2813" y="2515"/>
                  </a:cubicBezTo>
                  <a:close/>
                  <a:moveTo>
                    <a:pt x="2471" y="5871"/>
                  </a:moveTo>
                  <a:cubicBezTo>
                    <a:pt x="2268" y="5795"/>
                    <a:pt x="2071" y="5701"/>
                    <a:pt x="1883" y="5591"/>
                  </a:cubicBezTo>
                  <a:lnTo>
                    <a:pt x="2083" y="5303"/>
                  </a:lnTo>
                  <a:cubicBezTo>
                    <a:pt x="2116" y="5255"/>
                    <a:pt x="2105" y="5189"/>
                    <a:pt x="2056" y="5155"/>
                  </a:cubicBezTo>
                  <a:cubicBezTo>
                    <a:pt x="2008" y="5121"/>
                    <a:pt x="1942" y="5133"/>
                    <a:pt x="1908" y="5181"/>
                  </a:cubicBezTo>
                  <a:lnTo>
                    <a:pt x="1701" y="5477"/>
                  </a:lnTo>
                  <a:cubicBezTo>
                    <a:pt x="1523" y="5359"/>
                    <a:pt x="1354" y="5225"/>
                    <a:pt x="1199" y="5078"/>
                  </a:cubicBezTo>
                  <a:lnTo>
                    <a:pt x="3288" y="2990"/>
                  </a:lnTo>
                  <a:lnTo>
                    <a:pt x="3375" y="3077"/>
                  </a:lnTo>
                  <a:lnTo>
                    <a:pt x="2187" y="4782"/>
                  </a:lnTo>
                  <a:cubicBezTo>
                    <a:pt x="2153" y="4830"/>
                    <a:pt x="2165" y="4896"/>
                    <a:pt x="2213" y="4930"/>
                  </a:cubicBezTo>
                  <a:cubicBezTo>
                    <a:pt x="2232" y="4943"/>
                    <a:pt x="2253" y="4949"/>
                    <a:pt x="2274" y="4949"/>
                  </a:cubicBezTo>
                  <a:cubicBezTo>
                    <a:pt x="2308" y="4949"/>
                    <a:pt x="2341" y="4933"/>
                    <a:pt x="2362" y="4904"/>
                  </a:cubicBezTo>
                  <a:lnTo>
                    <a:pt x="3528" y="3231"/>
                  </a:lnTo>
                  <a:lnTo>
                    <a:pt x="3611" y="3313"/>
                  </a:lnTo>
                  <a:cubicBezTo>
                    <a:pt x="3136" y="4295"/>
                    <a:pt x="2744" y="5175"/>
                    <a:pt x="2471" y="5871"/>
                  </a:cubicBezTo>
                  <a:close/>
                  <a:moveTo>
                    <a:pt x="4042" y="3141"/>
                  </a:moveTo>
                  <a:lnTo>
                    <a:pt x="3966" y="3216"/>
                  </a:lnTo>
                  <a:cubicBezTo>
                    <a:pt x="3946" y="3236"/>
                    <a:pt x="3920" y="3247"/>
                    <a:pt x="3891" y="3247"/>
                  </a:cubicBezTo>
                  <a:cubicBezTo>
                    <a:pt x="3862" y="3247"/>
                    <a:pt x="3835" y="3236"/>
                    <a:pt x="3816" y="3216"/>
                  </a:cubicBezTo>
                  <a:lnTo>
                    <a:pt x="3363" y="2764"/>
                  </a:lnTo>
                  <a:cubicBezTo>
                    <a:pt x="3363" y="2764"/>
                    <a:pt x="3363" y="2763"/>
                    <a:pt x="3363" y="2763"/>
                  </a:cubicBezTo>
                  <a:cubicBezTo>
                    <a:pt x="3363" y="2763"/>
                    <a:pt x="3363" y="2763"/>
                    <a:pt x="3363" y="2763"/>
                  </a:cubicBezTo>
                  <a:lnTo>
                    <a:pt x="2910" y="2311"/>
                  </a:lnTo>
                  <a:cubicBezTo>
                    <a:pt x="2869" y="2269"/>
                    <a:pt x="2869" y="2202"/>
                    <a:pt x="2910" y="2160"/>
                  </a:cubicBezTo>
                  <a:lnTo>
                    <a:pt x="2986" y="2085"/>
                  </a:lnTo>
                  <a:cubicBezTo>
                    <a:pt x="3006" y="2065"/>
                    <a:pt x="3033" y="2054"/>
                    <a:pt x="3061" y="2054"/>
                  </a:cubicBezTo>
                  <a:cubicBezTo>
                    <a:pt x="3090" y="2054"/>
                    <a:pt x="3117" y="2065"/>
                    <a:pt x="3137" y="2085"/>
                  </a:cubicBezTo>
                  <a:lnTo>
                    <a:pt x="4042" y="2990"/>
                  </a:lnTo>
                  <a:cubicBezTo>
                    <a:pt x="4083" y="3031"/>
                    <a:pt x="4083" y="3099"/>
                    <a:pt x="4042" y="314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791" name="Group 790">
            <a:extLst>
              <a:ext uri="{FF2B5EF4-FFF2-40B4-BE49-F238E27FC236}">
                <a16:creationId xmlns:a16="http://schemas.microsoft.com/office/drawing/2014/main" id="{2746DDD6-55DD-4235-ADE6-64AD9C6962F9}"/>
              </a:ext>
            </a:extLst>
          </p:cNvPr>
          <p:cNvGrpSpPr/>
          <p:nvPr/>
        </p:nvGrpSpPr>
        <p:grpSpPr>
          <a:xfrm>
            <a:off x="5326293" y="3712957"/>
            <a:ext cx="2715364" cy="732574"/>
            <a:chOff x="5286022" y="3436436"/>
            <a:chExt cx="2715364" cy="732574"/>
          </a:xfrm>
        </p:grpSpPr>
        <p:sp>
          <p:nvSpPr>
            <p:cNvPr id="778" name="iṧlïďe">
              <a:extLst>
                <a:ext uri="{FF2B5EF4-FFF2-40B4-BE49-F238E27FC236}">
                  <a16:creationId xmlns:a16="http://schemas.microsoft.com/office/drawing/2014/main" id="{F1352C4B-7DF3-4B72-B31A-A4A65F887025}"/>
                </a:ext>
              </a:extLst>
            </p:cNvPr>
            <p:cNvSpPr txBox="1"/>
            <p:nvPr/>
          </p:nvSpPr>
          <p:spPr bwMode="auto">
            <a:xfrm>
              <a:off x="5286022" y="3436436"/>
              <a:ext cx="2715364" cy="36933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3.  Tokenize</a:t>
              </a:r>
            </a:p>
          </p:txBody>
        </p:sp>
        <p:sp>
          <p:nvSpPr>
            <p:cNvPr id="779" name="Rectangle 778">
              <a:extLst>
                <a:ext uri="{FF2B5EF4-FFF2-40B4-BE49-F238E27FC236}">
                  <a16:creationId xmlns:a16="http://schemas.microsoft.com/office/drawing/2014/main" id="{A95B18B0-A16F-44EA-8C74-1742B363E58A}"/>
                </a:ext>
              </a:extLst>
            </p:cNvPr>
            <p:cNvSpPr/>
            <p:nvPr/>
          </p:nvSpPr>
          <p:spPr>
            <a:xfrm>
              <a:off x="5286022" y="3799678"/>
              <a:ext cx="2715364" cy="369332"/>
            </a:xfrm>
            <a:prstGeom prst="rect">
              <a:avLst/>
            </a:prstGeom>
            <a:solidFill>
              <a:schemeClr val="accent6"/>
            </a:solidFill>
          </p:spPr>
          <p:txBody>
            <a:bodyPr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Use </a:t>
              </a:r>
              <a:r>
                <a:rPr lang="en-US" altLang="zh-TW" dirty="0" err="1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TweetTokenizer</a:t>
              </a:r>
              <a:endParaRPr lang="en-US" altLang="zh-TW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grpSp>
        <p:nvGrpSpPr>
          <p:cNvPr id="793" name="îSľíḍé">
            <a:extLst>
              <a:ext uri="{FF2B5EF4-FFF2-40B4-BE49-F238E27FC236}">
                <a16:creationId xmlns:a16="http://schemas.microsoft.com/office/drawing/2014/main" id="{8BBE2A94-E5C8-49BD-8E16-433DD93064C0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794" name="ïṧlîḓe">
              <a:extLst>
                <a:ext uri="{FF2B5EF4-FFF2-40B4-BE49-F238E27FC236}">
                  <a16:creationId xmlns:a16="http://schemas.microsoft.com/office/drawing/2014/main" id="{912768B2-683F-4FCE-9E49-8863B46565A1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795" name="iṡliḓè">
              <a:extLst>
                <a:ext uri="{FF2B5EF4-FFF2-40B4-BE49-F238E27FC236}">
                  <a16:creationId xmlns:a16="http://schemas.microsoft.com/office/drawing/2014/main" id="{99C8D79C-C8A6-40B5-8906-BE9BFAA7EAB0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796" name="íšḻíḋè">
                <a:extLst>
                  <a:ext uri="{FF2B5EF4-FFF2-40B4-BE49-F238E27FC236}">
                    <a16:creationId xmlns:a16="http://schemas.microsoft.com/office/drawing/2014/main" id="{826319EE-14CC-4072-B52E-2116A3E71BFA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797" name="îS1iḓé">
                <a:extLst>
                  <a:ext uri="{FF2B5EF4-FFF2-40B4-BE49-F238E27FC236}">
                    <a16:creationId xmlns:a16="http://schemas.microsoft.com/office/drawing/2014/main" id="{E7B29E2B-D721-4A2D-A00E-1F9CE428BF86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817" name="Rectangle 816">
            <a:extLst>
              <a:ext uri="{FF2B5EF4-FFF2-40B4-BE49-F238E27FC236}">
                <a16:creationId xmlns:a16="http://schemas.microsoft.com/office/drawing/2014/main" id="{446B869F-E4BE-430F-AFA1-6C44DA91F067}"/>
              </a:ext>
            </a:extLst>
          </p:cNvPr>
          <p:cNvSpPr/>
          <p:nvPr/>
        </p:nvSpPr>
        <p:spPr>
          <a:xfrm>
            <a:off x="682627" y="35286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ahnschrift SemiCondensed" panose="020B0502040204020203" pitchFamily="34" charset="0"/>
              </a:rPr>
              <a:t>Pre-Processing</a:t>
            </a:r>
          </a:p>
        </p:txBody>
      </p:sp>
      <p:sp>
        <p:nvSpPr>
          <p:cNvPr id="819" name="Rectangle 818">
            <a:extLst>
              <a:ext uri="{FF2B5EF4-FFF2-40B4-BE49-F238E27FC236}">
                <a16:creationId xmlns:a16="http://schemas.microsoft.com/office/drawing/2014/main" id="{8704C69A-A599-463C-A98F-37C2670146EC}"/>
              </a:ext>
            </a:extLst>
          </p:cNvPr>
          <p:cNvSpPr/>
          <p:nvPr/>
        </p:nvSpPr>
        <p:spPr>
          <a:xfrm>
            <a:off x="682627" y="-619109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Bahnschrift SemiCondensed" panose="020B0502040204020203" pitchFamily="34" charset="0"/>
              </a:rPr>
              <a:t>Emojis</a:t>
            </a:r>
          </a:p>
        </p:txBody>
      </p:sp>
      <p:grpSp>
        <p:nvGrpSpPr>
          <p:cNvPr id="335" name="Group 334">
            <a:extLst>
              <a:ext uri="{FF2B5EF4-FFF2-40B4-BE49-F238E27FC236}">
                <a16:creationId xmlns:a16="http://schemas.microsoft.com/office/drawing/2014/main" id="{0D1FA1AB-9B77-4F78-9238-DCE7FAC5FB89}"/>
              </a:ext>
            </a:extLst>
          </p:cNvPr>
          <p:cNvGrpSpPr/>
          <p:nvPr/>
        </p:nvGrpSpPr>
        <p:grpSpPr>
          <a:xfrm>
            <a:off x="5315898" y="7215121"/>
            <a:ext cx="2715364" cy="2117568"/>
            <a:chOff x="5286022" y="4290474"/>
            <a:chExt cx="2715364" cy="2117568"/>
          </a:xfrm>
        </p:grpSpPr>
        <p:sp>
          <p:nvSpPr>
            <p:cNvPr id="336" name="iṧlïďe">
              <a:extLst>
                <a:ext uri="{FF2B5EF4-FFF2-40B4-BE49-F238E27FC236}">
                  <a16:creationId xmlns:a16="http://schemas.microsoft.com/office/drawing/2014/main" id="{287FE493-B92D-445D-8EC1-46730059DD06}"/>
                </a:ext>
              </a:extLst>
            </p:cNvPr>
            <p:cNvSpPr txBox="1"/>
            <p:nvPr/>
          </p:nvSpPr>
          <p:spPr bwMode="auto">
            <a:xfrm>
              <a:off x="5286022" y="4290474"/>
              <a:ext cx="2715364" cy="3632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4. Cleaning</a:t>
              </a:r>
            </a:p>
          </p:txBody>
        </p:sp>
        <p:sp>
          <p:nvSpPr>
            <p:cNvPr id="337" name="Rectangle 336">
              <a:extLst>
                <a:ext uri="{FF2B5EF4-FFF2-40B4-BE49-F238E27FC236}">
                  <a16:creationId xmlns:a16="http://schemas.microsoft.com/office/drawing/2014/main" id="{62782BF4-4666-4DF7-995C-1FE77C9CBC91}"/>
                </a:ext>
              </a:extLst>
            </p:cNvPr>
            <p:cNvSpPr/>
            <p:nvPr/>
          </p:nvSpPr>
          <p:spPr>
            <a:xfrm>
              <a:off x="5286022" y="4653716"/>
              <a:ext cx="2715364" cy="1754326"/>
            </a:xfrm>
            <a:prstGeom prst="rect">
              <a:avLst/>
            </a:prstGeom>
            <a:solidFill>
              <a:schemeClr val="accent6"/>
            </a:solidFill>
          </p:spPr>
          <p:txBody>
            <a:bodyPr>
              <a:spAutoFit/>
            </a:bodyPr>
            <a:lstStyle/>
            <a:p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Remove: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Punctuation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Number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#hashtag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@tag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URL</a:t>
              </a:r>
            </a:p>
          </p:txBody>
        </p:sp>
      </p:grpSp>
      <p:sp>
        <p:nvSpPr>
          <p:cNvPr id="338" name="iṧlïďe">
            <a:extLst>
              <a:ext uri="{FF2B5EF4-FFF2-40B4-BE49-F238E27FC236}">
                <a16:creationId xmlns:a16="http://schemas.microsoft.com/office/drawing/2014/main" id="{A6E7E0FD-5847-4D98-8D39-8EFB5C09F5B1}"/>
              </a:ext>
            </a:extLst>
          </p:cNvPr>
          <p:cNvSpPr txBox="1"/>
          <p:nvPr/>
        </p:nvSpPr>
        <p:spPr bwMode="auto">
          <a:xfrm>
            <a:off x="5326293" y="1411469"/>
            <a:ext cx="2715364" cy="4418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600" b="1" dirty="0"/>
              <a:t>Step 1.  Lower case</a:t>
            </a:r>
          </a:p>
        </p:txBody>
      </p: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01829DB7-6724-4B94-9B03-7B4011C69BC2}"/>
              </a:ext>
            </a:extLst>
          </p:cNvPr>
          <p:cNvGrpSpPr/>
          <p:nvPr/>
        </p:nvGrpSpPr>
        <p:grpSpPr>
          <a:xfrm>
            <a:off x="5326293" y="2289329"/>
            <a:ext cx="4004589" cy="1009573"/>
            <a:chOff x="5286021" y="1952067"/>
            <a:chExt cx="4004589" cy="1009573"/>
          </a:xfrm>
        </p:grpSpPr>
        <p:sp>
          <p:nvSpPr>
            <p:cNvPr id="340" name="iṧlïďe">
              <a:extLst>
                <a:ext uri="{FF2B5EF4-FFF2-40B4-BE49-F238E27FC236}">
                  <a16:creationId xmlns:a16="http://schemas.microsoft.com/office/drawing/2014/main" id="{63810603-666A-43DA-A1DB-CC422701C8AA}"/>
                </a:ext>
              </a:extLst>
            </p:cNvPr>
            <p:cNvSpPr txBox="1"/>
            <p:nvPr/>
          </p:nvSpPr>
          <p:spPr bwMode="auto">
            <a:xfrm>
              <a:off x="5286021" y="1952067"/>
              <a:ext cx="4004589" cy="38565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2.  Stemming</a:t>
              </a:r>
            </a:p>
          </p:txBody>
        </p:sp>
        <p:sp>
          <p:nvSpPr>
            <p:cNvPr id="341" name="Rectangle 340">
              <a:extLst>
                <a:ext uri="{FF2B5EF4-FFF2-40B4-BE49-F238E27FC236}">
                  <a16:creationId xmlns:a16="http://schemas.microsoft.com/office/drawing/2014/main" id="{9DEB8E2F-815D-456A-8DEA-1D1024777A06}"/>
                </a:ext>
              </a:extLst>
            </p:cNvPr>
            <p:cNvSpPr/>
            <p:nvPr/>
          </p:nvSpPr>
          <p:spPr>
            <a:xfrm>
              <a:off x="5286021" y="2315309"/>
              <a:ext cx="4004589" cy="646331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Stop words, e.g. : I’ve 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→ 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I have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Weird words, e.g.: </a:t>
              </a:r>
              <a:r>
                <a:rPr lang="en-US" altLang="zh-TW" dirty="0" err="1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yeeeessss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 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→ 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yes</a:t>
              </a:r>
            </a:p>
          </p:txBody>
        </p:sp>
      </p:grpSp>
      <p:sp>
        <p:nvSpPr>
          <p:cNvPr id="342" name="Rectangle 341">
            <a:extLst>
              <a:ext uri="{FF2B5EF4-FFF2-40B4-BE49-F238E27FC236}">
                <a16:creationId xmlns:a16="http://schemas.microsoft.com/office/drawing/2014/main" id="{A0BC0029-6852-4F12-BA3A-CF0D8B90B575}"/>
              </a:ext>
            </a:extLst>
          </p:cNvPr>
          <p:cNvSpPr/>
          <p:nvPr/>
        </p:nvSpPr>
        <p:spPr>
          <a:xfrm>
            <a:off x="5326293" y="3334172"/>
            <a:ext cx="5667729" cy="323165"/>
          </a:xfrm>
          <a:prstGeom prst="rect">
            <a:avLst/>
          </a:prstGeom>
        </p:spPr>
        <p:txBody>
          <a:bodyPr wrap="square" lIns="0" tIns="0" rIns="91440" bIns="45720">
            <a:spAutoFit/>
          </a:bodyPr>
          <a:lstStyle/>
          <a:p>
            <a:pPr algn="ctr"/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we are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team delta! we love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</a:t>
            </a:r>
            <a:r>
              <a:rPr lang="en-US" altLang="zh-TW" dirty="0">
                <a:solidFill>
                  <a:schemeClr val="accent3"/>
                </a:solidFill>
                <a:latin typeface="Tw Cen MT" panose="020B0602020104020603" pitchFamily="34" charset="0"/>
              </a:rPr>
              <a:t>so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much ❤</a:t>
            </a:r>
            <a:r>
              <a:rPr lang="zh-TW" altLang="en-US" dirty="0">
                <a:solidFill>
                  <a:schemeClr val="accent5"/>
                </a:solidFill>
                <a:latin typeface="Tw Cen MT" panose="020B0602020104020603" pitchFamily="34" charset="0"/>
              </a:rPr>
              <a:t>😂 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#nlpthebest</a:t>
            </a:r>
            <a:endParaRPr lang="en-US" altLang="zh-TW" sz="1600" dirty="0">
              <a:solidFill>
                <a:schemeClr val="accent5"/>
              </a:solidFill>
              <a:latin typeface="Tw Cen MT" panose="020B0602020104020603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662E6E37-0FB9-4BD8-9FCD-A6774B23030B}"/>
              </a:ext>
            </a:extLst>
          </p:cNvPr>
          <p:cNvSpPr/>
          <p:nvPr/>
        </p:nvSpPr>
        <p:spPr>
          <a:xfrm>
            <a:off x="4591268" y="630180"/>
            <a:ext cx="69007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We’re Team Delta! We love NLP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sooooo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much </a:t>
            </a:r>
            <a:r>
              <a:rPr lang="zh-TW" altLang="zh-TW" sz="16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❤😂</a:t>
            </a:r>
            <a:r>
              <a:rPr lang="zh-TW" altLang="zh-TW" sz="1600" dirty="0">
                <a:solidFill>
                  <a:schemeClr val="accent5"/>
                </a:solidFill>
              </a:rPr>
              <a:t> </a:t>
            </a:r>
            <a:r>
              <a:rPr lang="en-US" altLang="zh-TW" dirty="0">
                <a:solidFill>
                  <a:schemeClr val="accent5"/>
                </a:solidFill>
              </a:rPr>
              <a:t>#NLPTHEBEST</a:t>
            </a:r>
            <a:endParaRPr lang="en-US" altLang="zh-TW" sz="1600" dirty="0">
              <a:solidFill>
                <a:schemeClr val="accent5"/>
              </a:solidFill>
              <a:latin typeface="Tw Cen MT" panose="020B06020201040206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27707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B5C2C9-7B3E-47B0-801C-C00DD7FEF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7" name="ïšlï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hidden="1" title="iSlide™ 版权声明  COPYRIGHT NOTICE">
            <a:extLst>
              <a:ext uri="{FF2B5EF4-FFF2-40B4-BE49-F238E27FC236}">
                <a16:creationId xmlns:a16="http://schemas.microsoft.com/office/drawing/2014/main" id="{B330D365-5F4F-40C8-8925-C17F9275C003}"/>
              </a:ext>
            </a:extLst>
          </p:cNvPr>
          <p:cNvGrpSpPr>
            <a:grpSpLocks noChangeAspect="1"/>
          </p:cNvGrpSpPr>
          <p:nvPr/>
        </p:nvGrpSpPr>
        <p:grpSpPr>
          <a:xfrm>
            <a:off x="390007" y="2653887"/>
            <a:ext cx="3409531" cy="2384210"/>
            <a:chOff x="3951288" y="2505075"/>
            <a:chExt cx="4397375" cy="3074988"/>
          </a:xfrm>
        </p:grpSpPr>
        <p:sp>
          <p:nvSpPr>
            <p:cNvPr id="45" name="íşľiďê">
              <a:extLst>
                <a:ext uri="{FF2B5EF4-FFF2-40B4-BE49-F238E27FC236}">
                  <a16:creationId xmlns:a16="http://schemas.microsoft.com/office/drawing/2014/main" id="{89D8F306-DCBF-4C36-B21C-654D222DF399}"/>
                </a:ext>
              </a:extLst>
            </p:cNvPr>
            <p:cNvSpPr/>
            <p:nvPr/>
          </p:nvSpPr>
          <p:spPr bwMode="auto">
            <a:xfrm>
              <a:off x="3951288" y="4794250"/>
              <a:ext cx="4397375" cy="701675"/>
            </a:xfrm>
            <a:custGeom>
              <a:avLst/>
              <a:gdLst>
                <a:gd name="T0" fmla="*/ 3047 w 3645"/>
                <a:gd name="T1" fmla="*/ 0 h 582"/>
                <a:gd name="T2" fmla="*/ 1271 w 3645"/>
                <a:gd name="T3" fmla="*/ 17 h 582"/>
                <a:gd name="T4" fmla="*/ 1118 w 3645"/>
                <a:gd name="T5" fmla="*/ 452 h 582"/>
                <a:gd name="T6" fmla="*/ 1019 w 3645"/>
                <a:gd name="T7" fmla="*/ 452 h 582"/>
                <a:gd name="T8" fmla="*/ 1083 w 3645"/>
                <a:gd name="T9" fmla="*/ 19 h 582"/>
                <a:gd name="T10" fmla="*/ 63 w 3645"/>
                <a:gd name="T11" fmla="*/ 29 h 582"/>
                <a:gd name="T12" fmla="*/ 31 w 3645"/>
                <a:gd name="T13" fmla="*/ 103 h 582"/>
                <a:gd name="T14" fmla="*/ 469 w 3645"/>
                <a:gd name="T15" fmla="*/ 485 h 582"/>
                <a:gd name="T16" fmla="*/ 732 w 3645"/>
                <a:gd name="T17" fmla="*/ 582 h 582"/>
                <a:gd name="T18" fmla="*/ 3244 w 3645"/>
                <a:gd name="T19" fmla="*/ 582 h 582"/>
                <a:gd name="T20" fmla="*/ 3463 w 3645"/>
                <a:gd name="T21" fmla="*/ 254 h 582"/>
                <a:gd name="T22" fmla="*/ 3047 w 3645"/>
                <a:gd name="T23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45" h="582">
                  <a:moveTo>
                    <a:pt x="3047" y="0"/>
                  </a:moveTo>
                  <a:cubicBezTo>
                    <a:pt x="1271" y="17"/>
                    <a:pt x="1271" y="17"/>
                    <a:pt x="1271" y="17"/>
                  </a:cubicBezTo>
                  <a:cubicBezTo>
                    <a:pt x="1118" y="452"/>
                    <a:pt x="1118" y="452"/>
                    <a:pt x="1118" y="452"/>
                  </a:cubicBezTo>
                  <a:cubicBezTo>
                    <a:pt x="1019" y="452"/>
                    <a:pt x="1019" y="452"/>
                    <a:pt x="1019" y="452"/>
                  </a:cubicBezTo>
                  <a:cubicBezTo>
                    <a:pt x="1083" y="19"/>
                    <a:pt x="1083" y="19"/>
                    <a:pt x="1083" y="1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20" y="29"/>
                    <a:pt x="0" y="77"/>
                    <a:pt x="31" y="103"/>
                  </a:cubicBezTo>
                  <a:cubicBezTo>
                    <a:pt x="469" y="485"/>
                    <a:pt x="469" y="485"/>
                    <a:pt x="469" y="485"/>
                  </a:cubicBezTo>
                  <a:cubicBezTo>
                    <a:pt x="540" y="547"/>
                    <a:pt x="634" y="582"/>
                    <a:pt x="732" y="582"/>
                  </a:cubicBezTo>
                  <a:cubicBezTo>
                    <a:pt x="3244" y="582"/>
                    <a:pt x="3244" y="582"/>
                    <a:pt x="3244" y="582"/>
                  </a:cubicBezTo>
                  <a:cubicBezTo>
                    <a:pt x="3469" y="582"/>
                    <a:pt x="3645" y="373"/>
                    <a:pt x="3463" y="254"/>
                  </a:cubicBezTo>
                  <a:cubicBezTo>
                    <a:pt x="3047" y="0"/>
                    <a:pt x="3047" y="0"/>
                    <a:pt x="3047" y="0"/>
                  </a:cubicBezTo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šļídè">
              <a:extLst>
                <a:ext uri="{FF2B5EF4-FFF2-40B4-BE49-F238E27FC236}">
                  <a16:creationId xmlns:a16="http://schemas.microsoft.com/office/drawing/2014/main" id="{B0B9B306-34E6-453E-9682-FFC33BB997D3}"/>
                </a:ext>
              </a:extLst>
            </p:cNvPr>
            <p:cNvSpPr/>
            <p:nvPr/>
          </p:nvSpPr>
          <p:spPr bwMode="auto">
            <a:xfrm>
              <a:off x="4156075" y="3217863"/>
              <a:ext cx="1736725" cy="1066800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ṧḻîďé">
              <a:extLst>
                <a:ext uri="{FF2B5EF4-FFF2-40B4-BE49-F238E27FC236}">
                  <a16:creationId xmlns:a16="http://schemas.microsoft.com/office/drawing/2014/main" id="{4B1FC5EC-E1EB-4376-A235-4B22530EDB1A}"/>
                </a:ext>
              </a:extLst>
            </p:cNvPr>
            <p:cNvSpPr/>
            <p:nvPr/>
          </p:nvSpPr>
          <p:spPr bwMode="auto">
            <a:xfrm>
              <a:off x="5892800" y="3217863"/>
              <a:ext cx="1736725" cy="1069975"/>
            </a:xfrm>
            <a:custGeom>
              <a:avLst/>
              <a:gdLst>
                <a:gd name="T0" fmla="*/ 0 w 1440"/>
                <a:gd name="T1" fmla="*/ 888 h 888"/>
                <a:gd name="T2" fmla="*/ 0 w 1440"/>
                <a:gd name="T3" fmla="*/ 174 h 888"/>
                <a:gd name="T4" fmla="*/ 174 w 1440"/>
                <a:gd name="T5" fmla="*/ 0 h 888"/>
                <a:gd name="T6" fmla="*/ 1266 w 1440"/>
                <a:gd name="T7" fmla="*/ 0 h 888"/>
                <a:gd name="T8" fmla="*/ 1440 w 1440"/>
                <a:gd name="T9" fmla="*/ 174 h 888"/>
                <a:gd name="T10" fmla="*/ 1440 w 1440"/>
                <a:gd name="T11" fmla="*/ 886 h 888"/>
                <a:gd name="T12" fmla="*/ 0 w 1440"/>
                <a:gd name="T13" fmla="*/ 88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0" h="888">
                  <a:moveTo>
                    <a:pt x="0" y="888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6" y="0"/>
                    <a:pt x="1266" y="0"/>
                    <a:pt x="1266" y="0"/>
                  </a:cubicBezTo>
                  <a:cubicBezTo>
                    <a:pt x="1362" y="0"/>
                    <a:pt x="1440" y="78"/>
                    <a:pt x="1440" y="174"/>
                  </a:cubicBezTo>
                  <a:cubicBezTo>
                    <a:pt x="1440" y="886"/>
                    <a:pt x="1440" y="886"/>
                    <a:pt x="1440" y="886"/>
                  </a:cubicBezTo>
                  <a:cubicBezTo>
                    <a:pt x="0" y="888"/>
                    <a:pt x="0" y="888"/>
                    <a:pt x="0" y="888"/>
                  </a:cubicBezTo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śḻíḋê">
              <a:extLst>
                <a:ext uri="{FF2B5EF4-FFF2-40B4-BE49-F238E27FC236}">
                  <a16:creationId xmlns:a16="http://schemas.microsoft.com/office/drawing/2014/main" id="{947E837F-88AE-4548-9432-98D523E882A9}"/>
                </a:ext>
              </a:extLst>
            </p:cNvPr>
            <p:cNvSpPr/>
            <p:nvPr/>
          </p:nvSpPr>
          <p:spPr bwMode="auto">
            <a:xfrm>
              <a:off x="5892800" y="3263900"/>
              <a:ext cx="1735138" cy="1023938"/>
            </a:xfrm>
            <a:custGeom>
              <a:avLst/>
              <a:gdLst>
                <a:gd name="T0" fmla="*/ 1375 w 1439"/>
                <a:gd name="T1" fmla="*/ 0 h 849"/>
                <a:gd name="T2" fmla="*/ 0 w 1439"/>
                <a:gd name="T3" fmla="*/ 849 h 849"/>
                <a:gd name="T4" fmla="*/ 1439 w 1439"/>
                <a:gd name="T5" fmla="*/ 847 h 849"/>
                <a:gd name="T6" fmla="*/ 1439 w 1439"/>
                <a:gd name="T7" fmla="*/ 135 h 849"/>
                <a:gd name="T8" fmla="*/ 1375 w 1439"/>
                <a:gd name="T9" fmla="*/ 0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9" h="849">
                  <a:moveTo>
                    <a:pt x="1375" y="0"/>
                  </a:moveTo>
                  <a:cubicBezTo>
                    <a:pt x="0" y="849"/>
                    <a:pt x="0" y="849"/>
                    <a:pt x="0" y="849"/>
                  </a:cubicBezTo>
                  <a:cubicBezTo>
                    <a:pt x="1439" y="847"/>
                    <a:pt x="1439" y="847"/>
                    <a:pt x="1439" y="847"/>
                  </a:cubicBezTo>
                  <a:cubicBezTo>
                    <a:pt x="1439" y="135"/>
                    <a:pt x="1439" y="135"/>
                    <a:pt x="1439" y="135"/>
                  </a:cubicBezTo>
                  <a:cubicBezTo>
                    <a:pt x="1439" y="81"/>
                    <a:pt x="1414" y="32"/>
                    <a:pt x="1375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ïś1ide">
              <a:extLst>
                <a:ext uri="{FF2B5EF4-FFF2-40B4-BE49-F238E27FC236}">
                  <a16:creationId xmlns:a16="http://schemas.microsoft.com/office/drawing/2014/main" id="{8E358758-E0BA-4531-A352-7C247580CA28}"/>
                </a:ext>
              </a:extLst>
            </p:cNvPr>
            <p:cNvSpPr/>
            <p:nvPr/>
          </p:nvSpPr>
          <p:spPr bwMode="auto">
            <a:xfrm>
              <a:off x="4156075" y="3259138"/>
              <a:ext cx="1736725" cy="1025525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ŝḻide">
              <a:extLst>
                <a:ext uri="{FF2B5EF4-FFF2-40B4-BE49-F238E27FC236}">
                  <a16:creationId xmlns:a16="http://schemas.microsoft.com/office/drawing/2014/main" id="{07072112-6490-40A6-B078-53AB0C48AD61}"/>
                </a:ext>
              </a:extLst>
            </p:cNvPr>
            <p:cNvSpPr/>
            <p:nvPr/>
          </p:nvSpPr>
          <p:spPr bwMode="auto">
            <a:xfrm>
              <a:off x="4318000" y="4718050"/>
              <a:ext cx="180975" cy="322263"/>
            </a:xfrm>
            <a:custGeom>
              <a:avLst/>
              <a:gdLst>
                <a:gd name="T0" fmla="*/ 57 w 114"/>
                <a:gd name="T1" fmla="*/ 1 h 203"/>
                <a:gd name="T2" fmla="*/ 0 w 114"/>
                <a:gd name="T3" fmla="*/ 0 h 203"/>
                <a:gd name="T4" fmla="*/ 23 w 114"/>
                <a:gd name="T5" fmla="*/ 203 h 203"/>
                <a:gd name="T6" fmla="*/ 53 w 114"/>
                <a:gd name="T7" fmla="*/ 203 h 203"/>
                <a:gd name="T8" fmla="*/ 61 w 114"/>
                <a:gd name="T9" fmla="*/ 203 h 203"/>
                <a:gd name="T10" fmla="*/ 91 w 114"/>
                <a:gd name="T11" fmla="*/ 203 h 203"/>
                <a:gd name="T12" fmla="*/ 114 w 114"/>
                <a:gd name="T13" fmla="*/ 0 h 203"/>
                <a:gd name="T14" fmla="*/ 57 w 114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203">
                  <a:moveTo>
                    <a:pt x="57" y="1"/>
                  </a:moveTo>
                  <a:lnTo>
                    <a:pt x="0" y="0"/>
                  </a:lnTo>
                  <a:lnTo>
                    <a:pt x="23" y="203"/>
                  </a:lnTo>
                  <a:lnTo>
                    <a:pt x="53" y="203"/>
                  </a:lnTo>
                  <a:lnTo>
                    <a:pt x="61" y="203"/>
                  </a:lnTo>
                  <a:lnTo>
                    <a:pt x="91" y="203"/>
                  </a:lnTo>
                  <a:lnTo>
                    <a:pt x="114" y="0"/>
                  </a:lnTo>
                  <a:lnTo>
                    <a:pt x="57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ľïďè">
              <a:extLst>
                <a:ext uri="{FF2B5EF4-FFF2-40B4-BE49-F238E27FC236}">
                  <a16:creationId xmlns:a16="http://schemas.microsoft.com/office/drawing/2014/main" id="{F9465839-55E5-46EB-9EDA-17935A929D08}"/>
                </a:ext>
              </a:extLst>
            </p:cNvPr>
            <p:cNvSpPr/>
            <p:nvPr/>
          </p:nvSpPr>
          <p:spPr bwMode="auto">
            <a:xfrm>
              <a:off x="7285038" y="4718050"/>
              <a:ext cx="182563" cy="322263"/>
            </a:xfrm>
            <a:custGeom>
              <a:avLst/>
              <a:gdLst>
                <a:gd name="T0" fmla="*/ 58 w 115"/>
                <a:gd name="T1" fmla="*/ 1 h 203"/>
                <a:gd name="T2" fmla="*/ 0 w 115"/>
                <a:gd name="T3" fmla="*/ 0 h 203"/>
                <a:gd name="T4" fmla="*/ 24 w 115"/>
                <a:gd name="T5" fmla="*/ 203 h 203"/>
                <a:gd name="T6" fmla="*/ 54 w 115"/>
                <a:gd name="T7" fmla="*/ 203 h 203"/>
                <a:gd name="T8" fmla="*/ 62 w 115"/>
                <a:gd name="T9" fmla="*/ 203 h 203"/>
                <a:gd name="T10" fmla="*/ 92 w 115"/>
                <a:gd name="T11" fmla="*/ 203 h 203"/>
                <a:gd name="T12" fmla="*/ 115 w 115"/>
                <a:gd name="T13" fmla="*/ 0 h 203"/>
                <a:gd name="T14" fmla="*/ 58 w 115"/>
                <a:gd name="T15" fmla="*/ 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203">
                  <a:moveTo>
                    <a:pt x="58" y="1"/>
                  </a:moveTo>
                  <a:lnTo>
                    <a:pt x="0" y="0"/>
                  </a:lnTo>
                  <a:lnTo>
                    <a:pt x="24" y="203"/>
                  </a:lnTo>
                  <a:lnTo>
                    <a:pt x="54" y="203"/>
                  </a:lnTo>
                  <a:lnTo>
                    <a:pt x="62" y="203"/>
                  </a:lnTo>
                  <a:lnTo>
                    <a:pt x="92" y="203"/>
                  </a:lnTo>
                  <a:lnTo>
                    <a:pt x="115" y="0"/>
                  </a:lnTo>
                  <a:lnTo>
                    <a:pt x="58" y="1"/>
                  </a:lnTo>
                  <a:close/>
                </a:path>
              </a:pathLst>
            </a:cu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$1íďe">
              <a:extLst>
                <a:ext uri="{FF2B5EF4-FFF2-40B4-BE49-F238E27FC236}">
                  <a16:creationId xmlns:a16="http://schemas.microsoft.com/office/drawing/2014/main" id="{337E0033-2AD9-4F19-88D0-7303AC14EDC8}"/>
                </a:ext>
              </a:extLst>
            </p:cNvPr>
            <p:cNvSpPr/>
            <p:nvPr/>
          </p:nvSpPr>
          <p:spPr bwMode="auto">
            <a:xfrm>
              <a:off x="4473575" y="4622800"/>
              <a:ext cx="2900363" cy="204788"/>
            </a:xfrm>
            <a:prstGeom prst="rect">
              <a:avLst/>
            </a:prstGeom>
            <a:solidFill>
              <a:srgbClr val="6E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sḻïḓê">
              <a:extLst>
                <a:ext uri="{FF2B5EF4-FFF2-40B4-BE49-F238E27FC236}">
                  <a16:creationId xmlns:a16="http://schemas.microsoft.com/office/drawing/2014/main" id="{32FA38A7-D1B0-499C-93BB-76023B00F2D8}"/>
                </a:ext>
              </a:extLst>
            </p:cNvPr>
            <p:cNvSpPr/>
            <p:nvPr/>
          </p:nvSpPr>
          <p:spPr bwMode="auto">
            <a:xfrm>
              <a:off x="4160838" y="4284663"/>
              <a:ext cx="3475038" cy="244475"/>
            </a:xfrm>
            <a:custGeom>
              <a:avLst/>
              <a:gdLst>
                <a:gd name="T0" fmla="*/ 0 w 2189"/>
                <a:gd name="T1" fmla="*/ 154 h 154"/>
                <a:gd name="T2" fmla="*/ 2189 w 2189"/>
                <a:gd name="T3" fmla="*/ 154 h 154"/>
                <a:gd name="T4" fmla="*/ 2085 w 2189"/>
                <a:gd name="T5" fmla="*/ 0 h 154"/>
                <a:gd name="T6" fmla="*/ 99 w 2189"/>
                <a:gd name="T7" fmla="*/ 0 h 154"/>
                <a:gd name="T8" fmla="*/ 0 w 2189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9" h="154">
                  <a:moveTo>
                    <a:pt x="0" y="154"/>
                  </a:moveTo>
                  <a:lnTo>
                    <a:pt x="2189" y="154"/>
                  </a:lnTo>
                  <a:lnTo>
                    <a:pt x="2085" y="0"/>
                  </a:lnTo>
                  <a:lnTo>
                    <a:pt x="99" y="0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8C9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šḷîḍé">
              <a:extLst>
                <a:ext uri="{FF2B5EF4-FFF2-40B4-BE49-F238E27FC236}">
                  <a16:creationId xmlns:a16="http://schemas.microsoft.com/office/drawing/2014/main" id="{5AD146C7-F5C2-4EA0-B46E-3C180B006E25}"/>
                </a:ext>
              </a:extLst>
            </p:cNvPr>
            <p:cNvSpPr/>
            <p:nvPr/>
          </p:nvSpPr>
          <p:spPr bwMode="auto">
            <a:xfrm>
              <a:off x="4156075" y="4464050"/>
              <a:ext cx="1738313" cy="322263"/>
            </a:xfrm>
            <a:custGeom>
              <a:avLst/>
              <a:gdLst>
                <a:gd name="T0" fmla="*/ 1374 w 1441"/>
                <a:gd name="T1" fmla="*/ 268 h 268"/>
                <a:gd name="T2" fmla="*/ 66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6 w 1441"/>
                <a:gd name="T9" fmla="*/ 0 h 268"/>
                <a:gd name="T10" fmla="*/ 1374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4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4" y="268"/>
                  </a:moveTo>
                  <a:cubicBezTo>
                    <a:pt x="66" y="268"/>
                    <a:pt x="66" y="268"/>
                    <a:pt x="66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374" y="0"/>
                    <a:pt x="1374" y="0"/>
                    <a:pt x="1374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4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$ḷíḍè">
              <a:extLst>
                <a:ext uri="{FF2B5EF4-FFF2-40B4-BE49-F238E27FC236}">
                  <a16:creationId xmlns:a16="http://schemas.microsoft.com/office/drawing/2014/main" id="{5BF00A61-3C99-4137-9DF7-0A16EF80C2B3}"/>
                </a:ext>
              </a:extLst>
            </p:cNvPr>
            <p:cNvSpPr/>
            <p:nvPr/>
          </p:nvSpPr>
          <p:spPr bwMode="auto">
            <a:xfrm>
              <a:off x="5889625" y="4464050"/>
              <a:ext cx="1738313" cy="322263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5" y="268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ṧḷîdê">
              <a:extLst>
                <a:ext uri="{FF2B5EF4-FFF2-40B4-BE49-F238E27FC236}">
                  <a16:creationId xmlns:a16="http://schemas.microsoft.com/office/drawing/2014/main" id="{D4F561B4-C8F6-4D8B-8500-4B45465D9AD1}"/>
                </a:ext>
              </a:extLst>
            </p:cNvPr>
            <p:cNvSpPr/>
            <p:nvPr/>
          </p:nvSpPr>
          <p:spPr bwMode="auto">
            <a:xfrm>
              <a:off x="7472363" y="3776663"/>
              <a:ext cx="322263" cy="1016000"/>
            </a:xfrm>
            <a:custGeom>
              <a:avLst/>
              <a:gdLst>
                <a:gd name="T0" fmla="*/ 67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7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7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7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8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8" y="0"/>
                    <a:pt x="20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30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30" y="843"/>
                    <a:pt x="67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ṥľíde">
              <a:extLst>
                <a:ext uri="{FF2B5EF4-FFF2-40B4-BE49-F238E27FC236}">
                  <a16:creationId xmlns:a16="http://schemas.microsoft.com/office/drawing/2014/main" id="{BF5F832D-C821-4A11-816E-C12489F78179}"/>
                </a:ext>
              </a:extLst>
            </p:cNvPr>
            <p:cNvSpPr/>
            <p:nvPr/>
          </p:nvSpPr>
          <p:spPr bwMode="auto">
            <a:xfrm>
              <a:off x="3995738" y="3776663"/>
              <a:ext cx="322263" cy="1016000"/>
            </a:xfrm>
            <a:custGeom>
              <a:avLst/>
              <a:gdLst>
                <a:gd name="T0" fmla="*/ 66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6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6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6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7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7" y="0"/>
                    <a:pt x="201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9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29" y="843"/>
                    <a:pt x="66" y="843"/>
                  </a:cubicBezTo>
                  <a:close/>
                </a:path>
              </a:pathLst>
            </a:custGeom>
            <a:solidFill>
              <a:srgbClr val="AE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śľïde">
              <a:extLst>
                <a:ext uri="{FF2B5EF4-FFF2-40B4-BE49-F238E27FC236}">
                  <a16:creationId xmlns:a16="http://schemas.microsoft.com/office/drawing/2014/main" id="{FC5C8F7B-0CE8-46FC-B170-90FE664DBD0B}"/>
                </a:ext>
              </a:extLst>
            </p:cNvPr>
            <p:cNvSpPr/>
            <p:nvPr/>
          </p:nvSpPr>
          <p:spPr bwMode="auto">
            <a:xfrm>
              <a:off x="4256088" y="3676650"/>
              <a:ext cx="773113" cy="676275"/>
            </a:xfrm>
            <a:custGeom>
              <a:avLst/>
              <a:gdLst>
                <a:gd name="T0" fmla="*/ 112 w 640"/>
                <a:gd name="T1" fmla="*/ 560 h 561"/>
                <a:gd name="T2" fmla="*/ 415 w 640"/>
                <a:gd name="T3" fmla="*/ 511 h 561"/>
                <a:gd name="T4" fmla="*/ 426 w 640"/>
                <a:gd name="T5" fmla="*/ 510 h 561"/>
                <a:gd name="T6" fmla="*/ 597 w 640"/>
                <a:gd name="T7" fmla="*/ 532 h 561"/>
                <a:gd name="T8" fmla="*/ 640 w 640"/>
                <a:gd name="T9" fmla="*/ 495 h 561"/>
                <a:gd name="T10" fmla="*/ 638 w 640"/>
                <a:gd name="T11" fmla="*/ 484 h 561"/>
                <a:gd name="T12" fmla="*/ 584 w 640"/>
                <a:gd name="T13" fmla="*/ 176 h 561"/>
                <a:gd name="T14" fmla="*/ 584 w 640"/>
                <a:gd name="T15" fmla="*/ 42 h 561"/>
                <a:gd name="T16" fmla="*/ 536 w 640"/>
                <a:gd name="T17" fmla="*/ 7 h 561"/>
                <a:gd name="T18" fmla="*/ 495 w 640"/>
                <a:gd name="T19" fmla="*/ 18 h 561"/>
                <a:gd name="T20" fmla="*/ 485 w 640"/>
                <a:gd name="T21" fmla="*/ 19 h 561"/>
                <a:gd name="T22" fmla="*/ 40 w 640"/>
                <a:gd name="T23" fmla="*/ 19 h 561"/>
                <a:gd name="T24" fmla="*/ 3 w 640"/>
                <a:gd name="T25" fmla="*/ 48 h 561"/>
                <a:gd name="T26" fmla="*/ 2 w 640"/>
                <a:gd name="T27" fmla="*/ 53 h 561"/>
                <a:gd name="T28" fmla="*/ 4 w 640"/>
                <a:gd name="T29" fmla="*/ 75 h 561"/>
                <a:gd name="T30" fmla="*/ 62 w 640"/>
                <a:gd name="T31" fmla="*/ 346 h 561"/>
                <a:gd name="T32" fmla="*/ 63 w 640"/>
                <a:gd name="T33" fmla="*/ 520 h 561"/>
                <a:gd name="T34" fmla="*/ 85 w 640"/>
                <a:gd name="T35" fmla="*/ 555 h 561"/>
                <a:gd name="T36" fmla="*/ 90 w 640"/>
                <a:gd name="T37" fmla="*/ 557 h 561"/>
                <a:gd name="T38" fmla="*/ 112 w 640"/>
                <a:gd name="T39" fmla="*/ 56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560"/>
                  </a:moveTo>
                  <a:cubicBezTo>
                    <a:pt x="415" y="511"/>
                    <a:pt x="415" y="511"/>
                    <a:pt x="415" y="511"/>
                  </a:cubicBezTo>
                  <a:cubicBezTo>
                    <a:pt x="419" y="510"/>
                    <a:pt x="422" y="510"/>
                    <a:pt x="426" y="510"/>
                  </a:cubicBezTo>
                  <a:cubicBezTo>
                    <a:pt x="597" y="532"/>
                    <a:pt x="597" y="532"/>
                    <a:pt x="597" y="532"/>
                  </a:cubicBezTo>
                  <a:cubicBezTo>
                    <a:pt x="620" y="535"/>
                    <a:pt x="640" y="518"/>
                    <a:pt x="640" y="495"/>
                  </a:cubicBezTo>
                  <a:cubicBezTo>
                    <a:pt x="640" y="491"/>
                    <a:pt x="639" y="487"/>
                    <a:pt x="638" y="484"/>
                  </a:cubicBezTo>
                  <a:cubicBezTo>
                    <a:pt x="629" y="453"/>
                    <a:pt x="581" y="294"/>
                    <a:pt x="584" y="176"/>
                  </a:cubicBezTo>
                  <a:cubicBezTo>
                    <a:pt x="586" y="114"/>
                    <a:pt x="585" y="70"/>
                    <a:pt x="584" y="42"/>
                  </a:cubicBezTo>
                  <a:cubicBezTo>
                    <a:pt x="583" y="17"/>
                    <a:pt x="560" y="0"/>
                    <a:pt x="536" y="7"/>
                  </a:cubicBezTo>
                  <a:cubicBezTo>
                    <a:pt x="495" y="18"/>
                    <a:pt x="495" y="18"/>
                    <a:pt x="495" y="18"/>
                  </a:cubicBezTo>
                  <a:cubicBezTo>
                    <a:pt x="492" y="19"/>
                    <a:pt x="489" y="19"/>
                    <a:pt x="485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2" y="19"/>
                    <a:pt x="7" y="31"/>
                    <a:pt x="3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60"/>
                    <a:pt x="1" y="68"/>
                    <a:pt x="4" y="75"/>
                  </a:cubicBezTo>
                  <a:cubicBezTo>
                    <a:pt x="17" y="110"/>
                    <a:pt x="59" y="229"/>
                    <a:pt x="62" y="346"/>
                  </a:cubicBezTo>
                  <a:cubicBezTo>
                    <a:pt x="64" y="434"/>
                    <a:pt x="64" y="490"/>
                    <a:pt x="63" y="520"/>
                  </a:cubicBezTo>
                  <a:cubicBezTo>
                    <a:pt x="63" y="535"/>
                    <a:pt x="71" y="549"/>
                    <a:pt x="85" y="555"/>
                  </a:cubicBezTo>
                  <a:cubicBezTo>
                    <a:pt x="90" y="557"/>
                    <a:pt x="90" y="557"/>
                    <a:pt x="90" y="557"/>
                  </a:cubicBezTo>
                  <a:cubicBezTo>
                    <a:pt x="97" y="560"/>
                    <a:pt x="104" y="561"/>
                    <a:pt x="112" y="560"/>
                  </a:cubicBezTo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S1ïḑe">
              <a:extLst>
                <a:ext uri="{FF2B5EF4-FFF2-40B4-BE49-F238E27FC236}">
                  <a16:creationId xmlns:a16="http://schemas.microsoft.com/office/drawing/2014/main" id="{C2F1917A-9712-4252-B4A9-6E8F0B9BAF82}"/>
                </a:ext>
              </a:extLst>
            </p:cNvPr>
            <p:cNvSpPr/>
            <p:nvPr/>
          </p:nvSpPr>
          <p:spPr bwMode="auto">
            <a:xfrm>
              <a:off x="4933950" y="4006850"/>
              <a:ext cx="95250" cy="312738"/>
            </a:xfrm>
            <a:custGeom>
              <a:avLst/>
              <a:gdLst>
                <a:gd name="T0" fmla="*/ 34 w 78"/>
                <a:gd name="T1" fmla="*/ 257 h 260"/>
                <a:gd name="T2" fmla="*/ 37 w 78"/>
                <a:gd name="T3" fmla="*/ 258 h 260"/>
                <a:gd name="T4" fmla="*/ 78 w 78"/>
                <a:gd name="T5" fmla="*/ 221 h 260"/>
                <a:gd name="T6" fmla="*/ 76 w 78"/>
                <a:gd name="T7" fmla="*/ 210 h 260"/>
                <a:gd name="T8" fmla="*/ 29 w 78"/>
                <a:gd name="T9" fmla="*/ 0 h 260"/>
                <a:gd name="T10" fmla="*/ 3 w 78"/>
                <a:gd name="T11" fmla="*/ 187 h 260"/>
                <a:gd name="T12" fmla="*/ 34 w 78"/>
                <a:gd name="T13" fmla="*/ 25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60">
                  <a:moveTo>
                    <a:pt x="34" y="257"/>
                  </a:moveTo>
                  <a:cubicBezTo>
                    <a:pt x="35" y="257"/>
                    <a:pt x="36" y="258"/>
                    <a:pt x="37" y="258"/>
                  </a:cubicBezTo>
                  <a:cubicBezTo>
                    <a:pt x="59" y="260"/>
                    <a:pt x="78" y="243"/>
                    <a:pt x="78" y="221"/>
                  </a:cubicBezTo>
                  <a:cubicBezTo>
                    <a:pt x="78" y="217"/>
                    <a:pt x="77" y="213"/>
                    <a:pt x="76" y="210"/>
                  </a:cubicBezTo>
                  <a:cubicBezTo>
                    <a:pt x="69" y="187"/>
                    <a:pt x="41" y="94"/>
                    <a:pt x="29" y="0"/>
                  </a:cubicBezTo>
                  <a:cubicBezTo>
                    <a:pt x="3" y="187"/>
                    <a:pt x="3" y="187"/>
                    <a:pt x="3" y="187"/>
                  </a:cubicBezTo>
                  <a:cubicBezTo>
                    <a:pt x="3" y="187"/>
                    <a:pt x="0" y="236"/>
                    <a:pt x="34" y="257"/>
                  </a:cubicBezTo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şļîdé">
              <a:extLst>
                <a:ext uri="{FF2B5EF4-FFF2-40B4-BE49-F238E27FC236}">
                  <a16:creationId xmlns:a16="http://schemas.microsoft.com/office/drawing/2014/main" id="{970C2D8F-5DC6-490A-A1C7-D2FE41013E6B}"/>
                </a:ext>
              </a:extLst>
            </p:cNvPr>
            <p:cNvSpPr/>
            <p:nvPr/>
          </p:nvSpPr>
          <p:spPr bwMode="auto">
            <a:xfrm>
              <a:off x="4256088" y="3706813"/>
              <a:ext cx="152400" cy="636588"/>
            </a:xfrm>
            <a:custGeom>
              <a:avLst/>
              <a:gdLst>
                <a:gd name="T0" fmla="*/ 20 w 126"/>
                <a:gd name="T1" fmla="*/ 0 h 528"/>
                <a:gd name="T2" fmla="*/ 3 w 126"/>
                <a:gd name="T3" fmla="*/ 23 h 528"/>
                <a:gd name="T4" fmla="*/ 2 w 126"/>
                <a:gd name="T5" fmla="*/ 28 h 528"/>
                <a:gd name="T6" fmla="*/ 4 w 126"/>
                <a:gd name="T7" fmla="*/ 50 h 528"/>
                <a:gd name="T8" fmla="*/ 62 w 126"/>
                <a:gd name="T9" fmla="*/ 321 h 528"/>
                <a:gd name="T10" fmla="*/ 63 w 126"/>
                <a:gd name="T11" fmla="*/ 495 h 528"/>
                <a:gd name="T12" fmla="*/ 82 w 126"/>
                <a:gd name="T13" fmla="*/ 528 h 528"/>
                <a:gd name="T14" fmla="*/ 126 w 126"/>
                <a:gd name="T15" fmla="*/ 206 h 528"/>
                <a:gd name="T16" fmla="*/ 20 w 126"/>
                <a:gd name="T1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528">
                  <a:moveTo>
                    <a:pt x="20" y="0"/>
                  </a:moveTo>
                  <a:cubicBezTo>
                    <a:pt x="12" y="5"/>
                    <a:pt x="5" y="13"/>
                    <a:pt x="3" y="2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5"/>
                    <a:pt x="1" y="43"/>
                    <a:pt x="4" y="50"/>
                  </a:cubicBezTo>
                  <a:cubicBezTo>
                    <a:pt x="17" y="85"/>
                    <a:pt x="59" y="204"/>
                    <a:pt x="62" y="321"/>
                  </a:cubicBezTo>
                  <a:cubicBezTo>
                    <a:pt x="64" y="409"/>
                    <a:pt x="64" y="466"/>
                    <a:pt x="63" y="495"/>
                  </a:cubicBezTo>
                  <a:cubicBezTo>
                    <a:pt x="63" y="509"/>
                    <a:pt x="70" y="522"/>
                    <a:pt x="82" y="528"/>
                  </a:cubicBezTo>
                  <a:cubicBezTo>
                    <a:pt x="126" y="206"/>
                    <a:pt x="126" y="206"/>
                    <a:pt x="126" y="206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ṧḷîďe">
              <a:extLst>
                <a:ext uri="{FF2B5EF4-FFF2-40B4-BE49-F238E27FC236}">
                  <a16:creationId xmlns:a16="http://schemas.microsoft.com/office/drawing/2014/main" id="{CCF0D642-55E7-4114-8D85-69231E3F2779}"/>
                </a:ext>
              </a:extLst>
            </p:cNvPr>
            <p:cNvSpPr/>
            <p:nvPr/>
          </p:nvSpPr>
          <p:spPr bwMode="auto">
            <a:xfrm>
              <a:off x="6721475" y="3649663"/>
              <a:ext cx="773113" cy="676275"/>
            </a:xfrm>
            <a:custGeom>
              <a:avLst/>
              <a:gdLst>
                <a:gd name="T0" fmla="*/ 112 w 640"/>
                <a:gd name="T1" fmla="*/ 1 h 561"/>
                <a:gd name="T2" fmla="*/ 415 w 640"/>
                <a:gd name="T3" fmla="*/ 51 h 561"/>
                <a:gd name="T4" fmla="*/ 426 w 640"/>
                <a:gd name="T5" fmla="*/ 51 h 561"/>
                <a:gd name="T6" fmla="*/ 597 w 640"/>
                <a:gd name="T7" fmla="*/ 29 h 561"/>
                <a:gd name="T8" fmla="*/ 640 w 640"/>
                <a:gd name="T9" fmla="*/ 67 h 561"/>
                <a:gd name="T10" fmla="*/ 638 w 640"/>
                <a:gd name="T11" fmla="*/ 78 h 561"/>
                <a:gd name="T12" fmla="*/ 584 w 640"/>
                <a:gd name="T13" fmla="*/ 386 h 561"/>
                <a:gd name="T14" fmla="*/ 584 w 640"/>
                <a:gd name="T15" fmla="*/ 520 h 561"/>
                <a:gd name="T16" fmla="*/ 536 w 640"/>
                <a:gd name="T17" fmla="*/ 555 h 561"/>
                <a:gd name="T18" fmla="*/ 495 w 640"/>
                <a:gd name="T19" fmla="*/ 544 h 561"/>
                <a:gd name="T20" fmla="*/ 485 w 640"/>
                <a:gd name="T21" fmla="*/ 543 h 561"/>
                <a:gd name="T22" fmla="*/ 40 w 640"/>
                <a:gd name="T23" fmla="*/ 543 h 561"/>
                <a:gd name="T24" fmla="*/ 3 w 640"/>
                <a:gd name="T25" fmla="*/ 513 h 561"/>
                <a:gd name="T26" fmla="*/ 2 w 640"/>
                <a:gd name="T27" fmla="*/ 509 h 561"/>
                <a:gd name="T28" fmla="*/ 4 w 640"/>
                <a:gd name="T29" fmla="*/ 487 h 561"/>
                <a:gd name="T30" fmla="*/ 62 w 640"/>
                <a:gd name="T31" fmla="*/ 215 h 561"/>
                <a:gd name="T32" fmla="*/ 63 w 640"/>
                <a:gd name="T33" fmla="*/ 42 h 561"/>
                <a:gd name="T34" fmla="*/ 85 w 640"/>
                <a:gd name="T35" fmla="*/ 6 h 561"/>
                <a:gd name="T36" fmla="*/ 90 w 640"/>
                <a:gd name="T37" fmla="*/ 4 h 561"/>
                <a:gd name="T38" fmla="*/ 112 w 640"/>
                <a:gd name="T39" fmla="*/ 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1"/>
                  </a:moveTo>
                  <a:cubicBezTo>
                    <a:pt x="415" y="51"/>
                    <a:pt x="415" y="51"/>
                    <a:pt x="415" y="51"/>
                  </a:cubicBezTo>
                  <a:cubicBezTo>
                    <a:pt x="419" y="51"/>
                    <a:pt x="422" y="52"/>
                    <a:pt x="426" y="51"/>
                  </a:cubicBezTo>
                  <a:cubicBezTo>
                    <a:pt x="597" y="29"/>
                    <a:pt x="597" y="29"/>
                    <a:pt x="597" y="29"/>
                  </a:cubicBezTo>
                  <a:cubicBezTo>
                    <a:pt x="620" y="26"/>
                    <a:pt x="640" y="44"/>
                    <a:pt x="640" y="67"/>
                  </a:cubicBezTo>
                  <a:cubicBezTo>
                    <a:pt x="640" y="71"/>
                    <a:pt x="639" y="74"/>
                    <a:pt x="638" y="78"/>
                  </a:cubicBezTo>
                  <a:cubicBezTo>
                    <a:pt x="629" y="109"/>
                    <a:pt x="581" y="267"/>
                    <a:pt x="584" y="386"/>
                  </a:cubicBezTo>
                  <a:cubicBezTo>
                    <a:pt x="586" y="448"/>
                    <a:pt x="585" y="491"/>
                    <a:pt x="584" y="520"/>
                  </a:cubicBezTo>
                  <a:cubicBezTo>
                    <a:pt x="583" y="544"/>
                    <a:pt x="560" y="561"/>
                    <a:pt x="536" y="555"/>
                  </a:cubicBezTo>
                  <a:cubicBezTo>
                    <a:pt x="495" y="544"/>
                    <a:pt x="495" y="544"/>
                    <a:pt x="495" y="544"/>
                  </a:cubicBezTo>
                  <a:cubicBezTo>
                    <a:pt x="492" y="543"/>
                    <a:pt x="489" y="543"/>
                    <a:pt x="485" y="543"/>
                  </a:cubicBezTo>
                  <a:cubicBezTo>
                    <a:pt x="40" y="543"/>
                    <a:pt x="40" y="543"/>
                    <a:pt x="40" y="543"/>
                  </a:cubicBezTo>
                  <a:cubicBezTo>
                    <a:pt x="22" y="543"/>
                    <a:pt x="7" y="530"/>
                    <a:pt x="3" y="513"/>
                  </a:cubicBezTo>
                  <a:cubicBezTo>
                    <a:pt x="2" y="509"/>
                    <a:pt x="2" y="509"/>
                    <a:pt x="2" y="509"/>
                  </a:cubicBezTo>
                  <a:cubicBezTo>
                    <a:pt x="0" y="501"/>
                    <a:pt x="1" y="494"/>
                    <a:pt x="4" y="487"/>
                  </a:cubicBezTo>
                  <a:cubicBezTo>
                    <a:pt x="17" y="451"/>
                    <a:pt x="59" y="332"/>
                    <a:pt x="62" y="215"/>
                  </a:cubicBezTo>
                  <a:cubicBezTo>
                    <a:pt x="64" y="127"/>
                    <a:pt x="64" y="71"/>
                    <a:pt x="63" y="42"/>
                  </a:cubicBezTo>
                  <a:cubicBezTo>
                    <a:pt x="63" y="27"/>
                    <a:pt x="71" y="13"/>
                    <a:pt x="85" y="6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7" y="1"/>
                    <a:pt x="104" y="0"/>
                    <a:pt x="112" y="1"/>
                  </a:cubicBezTo>
                  <a:close/>
                </a:path>
              </a:pathLst>
            </a:custGeom>
            <a:solidFill>
              <a:srgbClr val="FCF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ṩ1iḑe">
              <a:extLst>
                <a:ext uri="{FF2B5EF4-FFF2-40B4-BE49-F238E27FC236}">
                  <a16:creationId xmlns:a16="http://schemas.microsoft.com/office/drawing/2014/main" id="{B0F0DA45-2E66-460D-A7A3-965C8E92C4E7}"/>
                </a:ext>
              </a:extLst>
            </p:cNvPr>
            <p:cNvSpPr/>
            <p:nvPr/>
          </p:nvSpPr>
          <p:spPr bwMode="auto">
            <a:xfrm>
              <a:off x="7375525" y="3716338"/>
              <a:ext cx="119063" cy="576263"/>
            </a:xfrm>
            <a:custGeom>
              <a:avLst/>
              <a:gdLst>
                <a:gd name="T0" fmla="*/ 98 w 98"/>
                <a:gd name="T1" fmla="*/ 12 h 478"/>
                <a:gd name="T2" fmla="*/ 96 w 98"/>
                <a:gd name="T3" fmla="*/ 0 h 478"/>
                <a:gd name="T4" fmla="*/ 0 w 98"/>
                <a:gd name="T5" fmla="*/ 101 h 478"/>
                <a:gd name="T6" fmla="*/ 39 w 98"/>
                <a:gd name="T7" fmla="*/ 478 h 478"/>
                <a:gd name="T8" fmla="*/ 42 w 98"/>
                <a:gd name="T9" fmla="*/ 465 h 478"/>
                <a:gd name="T10" fmla="*/ 42 w 98"/>
                <a:gd name="T11" fmla="*/ 331 h 478"/>
                <a:gd name="T12" fmla="*/ 96 w 98"/>
                <a:gd name="T13" fmla="*/ 23 h 478"/>
                <a:gd name="T14" fmla="*/ 98 w 98"/>
                <a:gd name="T15" fmla="*/ 1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478">
                  <a:moveTo>
                    <a:pt x="98" y="12"/>
                  </a:moveTo>
                  <a:cubicBezTo>
                    <a:pt x="98" y="8"/>
                    <a:pt x="97" y="4"/>
                    <a:pt x="96" y="0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9" y="478"/>
                    <a:pt x="39" y="478"/>
                    <a:pt x="39" y="478"/>
                  </a:cubicBezTo>
                  <a:cubicBezTo>
                    <a:pt x="41" y="474"/>
                    <a:pt x="42" y="470"/>
                    <a:pt x="42" y="465"/>
                  </a:cubicBezTo>
                  <a:cubicBezTo>
                    <a:pt x="43" y="436"/>
                    <a:pt x="44" y="393"/>
                    <a:pt x="42" y="331"/>
                  </a:cubicBezTo>
                  <a:cubicBezTo>
                    <a:pt x="39" y="212"/>
                    <a:pt x="87" y="54"/>
                    <a:pt x="96" y="23"/>
                  </a:cubicBezTo>
                  <a:cubicBezTo>
                    <a:pt x="97" y="19"/>
                    <a:pt x="98" y="16"/>
                    <a:pt x="98" y="12"/>
                  </a:cubicBezTo>
                  <a:close/>
                </a:path>
              </a:pathLst>
            </a:custGeom>
            <a:solidFill>
              <a:srgbClr val="E6D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ḷîḓe">
              <a:extLst>
                <a:ext uri="{FF2B5EF4-FFF2-40B4-BE49-F238E27FC236}">
                  <a16:creationId xmlns:a16="http://schemas.microsoft.com/office/drawing/2014/main" id="{6C1D92AC-45F6-4981-BD51-826F76DFCB97}"/>
                </a:ext>
              </a:extLst>
            </p:cNvPr>
            <p:cNvSpPr/>
            <p:nvPr/>
          </p:nvSpPr>
          <p:spPr bwMode="auto">
            <a:xfrm>
              <a:off x="6797675" y="3717925"/>
              <a:ext cx="696913" cy="106363"/>
            </a:xfrm>
            <a:custGeom>
              <a:avLst/>
              <a:gdLst>
                <a:gd name="T0" fmla="*/ 246 w 577"/>
                <a:gd name="T1" fmla="*/ 86 h 89"/>
                <a:gd name="T2" fmla="*/ 568 w 577"/>
                <a:gd name="T3" fmla="*/ 46 h 89"/>
                <a:gd name="T4" fmla="*/ 575 w 577"/>
                <a:gd name="T5" fmla="*/ 22 h 89"/>
                <a:gd name="T6" fmla="*/ 577 w 577"/>
                <a:gd name="T7" fmla="*/ 14 h 89"/>
                <a:gd name="T8" fmla="*/ 243 w 577"/>
                <a:gd name="T9" fmla="*/ 38 h 89"/>
                <a:gd name="T10" fmla="*/ 0 w 577"/>
                <a:gd name="T11" fmla="*/ 0 h 89"/>
                <a:gd name="T12" fmla="*/ 1 w 577"/>
                <a:gd name="T13" fmla="*/ 47 h 89"/>
                <a:gd name="T14" fmla="*/ 246 w 577"/>
                <a:gd name="T15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" h="89">
                  <a:moveTo>
                    <a:pt x="246" y="86"/>
                  </a:moveTo>
                  <a:cubicBezTo>
                    <a:pt x="262" y="83"/>
                    <a:pt x="517" y="52"/>
                    <a:pt x="568" y="46"/>
                  </a:cubicBezTo>
                  <a:cubicBezTo>
                    <a:pt x="571" y="35"/>
                    <a:pt x="574" y="27"/>
                    <a:pt x="575" y="22"/>
                  </a:cubicBezTo>
                  <a:cubicBezTo>
                    <a:pt x="576" y="19"/>
                    <a:pt x="577" y="17"/>
                    <a:pt x="577" y="14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43" y="38"/>
                    <a:pt x="50" y="11"/>
                    <a:pt x="0" y="0"/>
                  </a:cubicBezTo>
                  <a:cubicBezTo>
                    <a:pt x="0" y="12"/>
                    <a:pt x="1" y="28"/>
                    <a:pt x="1" y="47"/>
                  </a:cubicBezTo>
                  <a:cubicBezTo>
                    <a:pt x="49" y="56"/>
                    <a:pt x="231" y="89"/>
                    <a:pt x="246" y="86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ṧ1îḍè">
              <a:extLst>
                <a:ext uri="{FF2B5EF4-FFF2-40B4-BE49-F238E27FC236}">
                  <a16:creationId xmlns:a16="http://schemas.microsoft.com/office/drawing/2014/main" id="{7187311F-AEA1-436F-B14A-7B0A68CFDE96}"/>
                </a:ext>
              </a:extLst>
            </p:cNvPr>
            <p:cNvSpPr/>
            <p:nvPr/>
          </p:nvSpPr>
          <p:spPr bwMode="auto">
            <a:xfrm>
              <a:off x="6756400" y="4071938"/>
              <a:ext cx="671513" cy="96838"/>
            </a:xfrm>
            <a:custGeom>
              <a:avLst/>
              <a:gdLst>
                <a:gd name="T0" fmla="*/ 16 w 557"/>
                <a:gd name="T1" fmla="*/ 0 h 80"/>
                <a:gd name="T2" fmla="*/ 0 w 557"/>
                <a:gd name="T3" fmla="*/ 63 h 80"/>
                <a:gd name="T4" fmla="*/ 208 w 557"/>
                <a:gd name="T5" fmla="*/ 64 h 80"/>
                <a:gd name="T6" fmla="*/ 557 w 557"/>
                <a:gd name="T7" fmla="*/ 80 h 80"/>
                <a:gd name="T8" fmla="*/ 556 w 557"/>
                <a:gd name="T9" fmla="*/ 36 h 80"/>
                <a:gd name="T10" fmla="*/ 556 w 557"/>
                <a:gd name="T11" fmla="*/ 22 h 80"/>
                <a:gd name="T12" fmla="*/ 132 w 557"/>
                <a:gd name="T13" fmla="*/ 22 h 80"/>
                <a:gd name="T14" fmla="*/ 16 w 557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7" h="80">
                  <a:moveTo>
                    <a:pt x="16" y="0"/>
                  </a:moveTo>
                  <a:cubicBezTo>
                    <a:pt x="11" y="23"/>
                    <a:pt x="6" y="44"/>
                    <a:pt x="0" y="63"/>
                  </a:cubicBezTo>
                  <a:cubicBezTo>
                    <a:pt x="74" y="64"/>
                    <a:pt x="208" y="64"/>
                    <a:pt x="208" y="64"/>
                  </a:cubicBezTo>
                  <a:cubicBezTo>
                    <a:pt x="557" y="80"/>
                    <a:pt x="557" y="80"/>
                    <a:pt x="557" y="80"/>
                  </a:cubicBezTo>
                  <a:cubicBezTo>
                    <a:pt x="557" y="67"/>
                    <a:pt x="557" y="52"/>
                    <a:pt x="556" y="36"/>
                  </a:cubicBezTo>
                  <a:cubicBezTo>
                    <a:pt x="556" y="31"/>
                    <a:pt x="556" y="27"/>
                    <a:pt x="556" y="22"/>
                  </a:cubicBezTo>
                  <a:cubicBezTo>
                    <a:pt x="132" y="22"/>
                    <a:pt x="132" y="22"/>
                    <a:pt x="132" y="22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1îḋe">
              <a:extLst>
                <a:ext uri="{FF2B5EF4-FFF2-40B4-BE49-F238E27FC236}">
                  <a16:creationId xmlns:a16="http://schemas.microsoft.com/office/drawing/2014/main" id="{3604022C-78DC-4D06-B3FE-FD94F737DB71}"/>
                </a:ext>
              </a:extLst>
            </p:cNvPr>
            <p:cNvSpPr/>
            <p:nvPr/>
          </p:nvSpPr>
          <p:spPr bwMode="auto">
            <a:xfrm>
              <a:off x="6721475" y="4203700"/>
              <a:ext cx="706438" cy="122238"/>
            </a:xfrm>
            <a:custGeom>
              <a:avLst/>
              <a:gdLst>
                <a:gd name="T0" fmla="*/ 9 w 585"/>
                <a:gd name="T1" fmla="*/ 12 h 102"/>
                <a:gd name="T2" fmla="*/ 4 w 585"/>
                <a:gd name="T3" fmla="*/ 28 h 102"/>
                <a:gd name="T4" fmla="*/ 2 w 585"/>
                <a:gd name="T5" fmla="*/ 50 h 102"/>
                <a:gd name="T6" fmla="*/ 3 w 585"/>
                <a:gd name="T7" fmla="*/ 54 h 102"/>
                <a:gd name="T8" fmla="*/ 28 w 585"/>
                <a:gd name="T9" fmla="*/ 81 h 102"/>
                <a:gd name="T10" fmla="*/ 224 w 585"/>
                <a:gd name="T11" fmla="*/ 57 h 102"/>
                <a:gd name="T12" fmla="*/ 459 w 585"/>
                <a:gd name="T13" fmla="*/ 84 h 102"/>
                <a:gd name="T14" fmla="*/ 485 w 585"/>
                <a:gd name="T15" fmla="*/ 84 h 102"/>
                <a:gd name="T16" fmla="*/ 495 w 585"/>
                <a:gd name="T17" fmla="*/ 85 h 102"/>
                <a:gd name="T18" fmla="*/ 536 w 585"/>
                <a:gd name="T19" fmla="*/ 96 h 102"/>
                <a:gd name="T20" fmla="*/ 584 w 585"/>
                <a:gd name="T21" fmla="*/ 61 h 102"/>
                <a:gd name="T22" fmla="*/ 585 w 585"/>
                <a:gd name="T23" fmla="*/ 33 h 102"/>
                <a:gd name="T24" fmla="*/ 212 w 585"/>
                <a:gd name="T25" fmla="*/ 0 h 102"/>
                <a:gd name="T26" fmla="*/ 9 w 585"/>
                <a:gd name="T27" fmla="*/ 1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5" h="102">
                  <a:moveTo>
                    <a:pt x="9" y="12"/>
                  </a:moveTo>
                  <a:cubicBezTo>
                    <a:pt x="7" y="18"/>
                    <a:pt x="5" y="24"/>
                    <a:pt x="4" y="28"/>
                  </a:cubicBezTo>
                  <a:cubicBezTo>
                    <a:pt x="1" y="35"/>
                    <a:pt x="0" y="42"/>
                    <a:pt x="2" y="50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6" y="67"/>
                    <a:pt x="16" y="77"/>
                    <a:pt x="28" y="81"/>
                  </a:cubicBezTo>
                  <a:cubicBezTo>
                    <a:pt x="224" y="57"/>
                    <a:pt x="224" y="57"/>
                    <a:pt x="224" y="57"/>
                  </a:cubicBezTo>
                  <a:cubicBezTo>
                    <a:pt x="459" y="84"/>
                    <a:pt x="459" y="84"/>
                    <a:pt x="459" y="84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9" y="84"/>
                    <a:pt x="492" y="84"/>
                    <a:pt x="495" y="85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60" y="102"/>
                    <a:pt x="583" y="85"/>
                    <a:pt x="584" y="61"/>
                  </a:cubicBezTo>
                  <a:cubicBezTo>
                    <a:pt x="584" y="53"/>
                    <a:pt x="585" y="44"/>
                    <a:pt x="585" y="3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9" y="12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ṩļîḓè">
              <a:extLst>
                <a:ext uri="{FF2B5EF4-FFF2-40B4-BE49-F238E27FC236}">
                  <a16:creationId xmlns:a16="http://schemas.microsoft.com/office/drawing/2014/main" id="{9AB61662-D791-4E7B-8B22-E73D217E41D4}"/>
                </a:ext>
              </a:extLst>
            </p:cNvPr>
            <p:cNvSpPr/>
            <p:nvPr/>
          </p:nvSpPr>
          <p:spPr bwMode="auto">
            <a:xfrm>
              <a:off x="6796088" y="3852863"/>
              <a:ext cx="661988" cy="76200"/>
            </a:xfrm>
            <a:custGeom>
              <a:avLst/>
              <a:gdLst>
                <a:gd name="T0" fmla="*/ 1 w 548"/>
                <a:gd name="T1" fmla="*/ 0 h 64"/>
                <a:gd name="T2" fmla="*/ 0 w 548"/>
                <a:gd name="T3" fmla="*/ 47 h 64"/>
                <a:gd name="T4" fmla="*/ 0 w 548"/>
                <a:gd name="T5" fmla="*/ 51 h 64"/>
                <a:gd name="T6" fmla="*/ 289 w 548"/>
                <a:gd name="T7" fmla="*/ 51 h 64"/>
                <a:gd name="T8" fmla="*/ 538 w 548"/>
                <a:gd name="T9" fmla="*/ 64 h 64"/>
                <a:gd name="T10" fmla="*/ 548 w 548"/>
                <a:gd name="T11" fmla="*/ 13 h 64"/>
                <a:gd name="T12" fmla="*/ 390 w 548"/>
                <a:gd name="T13" fmla="*/ 26 h 64"/>
                <a:gd name="T14" fmla="*/ 1 w 548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8" h="64">
                  <a:moveTo>
                    <a:pt x="1" y="0"/>
                  </a:moveTo>
                  <a:cubicBezTo>
                    <a:pt x="1" y="14"/>
                    <a:pt x="1" y="30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41" y="47"/>
                    <a:pt x="545" y="29"/>
                    <a:pt x="548" y="13"/>
                  </a:cubicBezTo>
                  <a:cubicBezTo>
                    <a:pt x="516" y="15"/>
                    <a:pt x="399" y="23"/>
                    <a:pt x="390" y="26"/>
                  </a:cubicBezTo>
                  <a:cubicBezTo>
                    <a:pt x="381" y="30"/>
                    <a:pt x="65" y="5"/>
                    <a:pt x="1" y="0"/>
                  </a:cubicBez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sľiḑé">
              <a:extLst>
                <a:ext uri="{FF2B5EF4-FFF2-40B4-BE49-F238E27FC236}">
                  <a16:creationId xmlns:a16="http://schemas.microsoft.com/office/drawing/2014/main" id="{83399205-5E15-4435-90D6-79F6888FDC66}"/>
                </a:ext>
              </a:extLst>
            </p:cNvPr>
            <p:cNvSpPr/>
            <p:nvPr/>
          </p:nvSpPr>
          <p:spPr bwMode="auto">
            <a:xfrm>
              <a:off x="6786563" y="3962400"/>
              <a:ext cx="652463" cy="82550"/>
            </a:xfrm>
            <a:custGeom>
              <a:avLst/>
              <a:gdLst>
                <a:gd name="T0" fmla="*/ 6 w 541"/>
                <a:gd name="T1" fmla="*/ 0 h 68"/>
                <a:gd name="T2" fmla="*/ 0 w 541"/>
                <a:gd name="T3" fmla="*/ 49 h 68"/>
                <a:gd name="T4" fmla="*/ 298 w 541"/>
                <a:gd name="T5" fmla="*/ 68 h 68"/>
                <a:gd name="T6" fmla="*/ 535 w 541"/>
                <a:gd name="T7" fmla="*/ 49 h 68"/>
                <a:gd name="T8" fmla="*/ 541 w 541"/>
                <a:gd name="T9" fmla="*/ 6 h 68"/>
                <a:gd name="T10" fmla="*/ 152 w 541"/>
                <a:gd name="T11" fmla="*/ 16 h 68"/>
                <a:gd name="T12" fmla="*/ 6 w 541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1" h="68">
                  <a:moveTo>
                    <a:pt x="6" y="0"/>
                  </a:moveTo>
                  <a:cubicBezTo>
                    <a:pt x="5" y="17"/>
                    <a:pt x="2" y="33"/>
                    <a:pt x="0" y="49"/>
                  </a:cubicBezTo>
                  <a:cubicBezTo>
                    <a:pt x="298" y="68"/>
                    <a:pt x="298" y="68"/>
                    <a:pt x="298" y="68"/>
                  </a:cubicBezTo>
                  <a:cubicBezTo>
                    <a:pt x="535" y="49"/>
                    <a:pt x="535" y="49"/>
                    <a:pt x="535" y="49"/>
                  </a:cubicBezTo>
                  <a:cubicBezTo>
                    <a:pt x="537" y="35"/>
                    <a:pt x="539" y="20"/>
                    <a:pt x="541" y="6"/>
                  </a:cubicBezTo>
                  <a:cubicBezTo>
                    <a:pt x="152" y="16"/>
                    <a:pt x="152" y="16"/>
                    <a:pt x="152" y="16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7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sľïḍé">
              <a:extLst>
                <a:ext uri="{FF2B5EF4-FFF2-40B4-BE49-F238E27FC236}">
                  <a16:creationId xmlns:a16="http://schemas.microsoft.com/office/drawing/2014/main" id="{3C2D2221-2116-4024-A014-C13B08E810B0}"/>
                </a:ext>
              </a:extLst>
            </p:cNvPr>
            <p:cNvSpPr/>
            <p:nvPr/>
          </p:nvSpPr>
          <p:spPr bwMode="auto">
            <a:xfrm>
              <a:off x="7432675" y="3733800"/>
              <a:ext cx="61913" cy="46038"/>
            </a:xfrm>
            <a:custGeom>
              <a:avLst/>
              <a:gdLst>
                <a:gd name="T0" fmla="*/ 44 w 51"/>
                <a:gd name="T1" fmla="*/ 24 h 37"/>
                <a:gd name="T2" fmla="*/ 45 w 51"/>
                <a:gd name="T3" fmla="*/ 20 h 37"/>
                <a:gd name="T4" fmla="*/ 46 w 51"/>
                <a:gd name="T5" fmla="*/ 19 h 37"/>
                <a:gd name="T6" fmla="*/ 47 w 51"/>
                <a:gd name="T7" fmla="*/ 16 h 37"/>
                <a:gd name="T8" fmla="*/ 47 w 51"/>
                <a:gd name="T9" fmla="*/ 15 h 37"/>
                <a:gd name="T10" fmla="*/ 48 w 51"/>
                <a:gd name="T11" fmla="*/ 12 h 37"/>
                <a:gd name="T12" fmla="*/ 48 w 51"/>
                <a:gd name="T13" fmla="*/ 11 h 37"/>
                <a:gd name="T14" fmla="*/ 49 w 51"/>
                <a:gd name="T15" fmla="*/ 8 h 37"/>
                <a:gd name="T16" fmla="*/ 50 w 51"/>
                <a:gd name="T17" fmla="*/ 4 h 37"/>
                <a:gd name="T18" fmla="*/ 50 w 51"/>
                <a:gd name="T19" fmla="*/ 4 h 37"/>
                <a:gd name="T20" fmla="*/ 51 w 51"/>
                <a:gd name="T21" fmla="*/ 0 h 37"/>
                <a:gd name="T22" fmla="*/ 34 w 51"/>
                <a:gd name="T23" fmla="*/ 1 h 37"/>
                <a:gd name="T24" fmla="*/ 0 w 51"/>
                <a:gd name="T25" fmla="*/ 37 h 37"/>
                <a:gd name="T26" fmla="*/ 42 w 51"/>
                <a:gd name="T27" fmla="*/ 32 h 37"/>
                <a:gd name="T28" fmla="*/ 43 w 51"/>
                <a:gd name="T29" fmla="*/ 30 h 37"/>
                <a:gd name="T30" fmla="*/ 44 w 51"/>
                <a:gd name="T31" fmla="*/ 26 h 37"/>
                <a:gd name="T32" fmla="*/ 44 w 51"/>
                <a:gd name="T33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37">
                  <a:moveTo>
                    <a:pt x="44" y="24"/>
                  </a:moveTo>
                  <a:cubicBezTo>
                    <a:pt x="45" y="23"/>
                    <a:pt x="45" y="22"/>
                    <a:pt x="45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8"/>
                    <a:pt x="46" y="17"/>
                    <a:pt x="47" y="16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8" y="13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50" y="7"/>
                    <a:pt x="50" y="6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2"/>
                    <a:pt x="51" y="1"/>
                    <a:pt x="51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9" y="34"/>
                    <a:pt x="33" y="33"/>
                    <a:pt x="42" y="32"/>
                  </a:cubicBezTo>
                  <a:cubicBezTo>
                    <a:pt x="42" y="31"/>
                    <a:pt x="42" y="30"/>
                    <a:pt x="43" y="30"/>
                  </a:cubicBezTo>
                  <a:cubicBezTo>
                    <a:pt x="43" y="29"/>
                    <a:pt x="43" y="28"/>
                    <a:pt x="44" y="26"/>
                  </a:cubicBezTo>
                  <a:cubicBezTo>
                    <a:pt x="44" y="26"/>
                    <a:pt x="44" y="25"/>
                    <a:pt x="44" y="24"/>
                  </a:cubicBez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ṧlíḍe">
              <a:extLst>
                <a:ext uri="{FF2B5EF4-FFF2-40B4-BE49-F238E27FC236}">
                  <a16:creationId xmlns:a16="http://schemas.microsoft.com/office/drawing/2014/main" id="{CFB2058D-8285-4D76-89C2-BB78E0D70207}"/>
                </a:ext>
              </a:extLst>
            </p:cNvPr>
            <p:cNvSpPr/>
            <p:nvPr/>
          </p:nvSpPr>
          <p:spPr bwMode="auto">
            <a:xfrm>
              <a:off x="7404100" y="4098925"/>
              <a:ext cx="23813" cy="69850"/>
            </a:xfrm>
            <a:custGeom>
              <a:avLst/>
              <a:gdLst>
                <a:gd name="T0" fmla="*/ 0 w 20"/>
                <a:gd name="T1" fmla="*/ 0 h 58"/>
                <a:gd name="T2" fmla="*/ 5 w 20"/>
                <a:gd name="T3" fmla="*/ 58 h 58"/>
                <a:gd name="T4" fmla="*/ 20 w 20"/>
                <a:gd name="T5" fmla="*/ 58 h 58"/>
                <a:gd name="T6" fmla="*/ 20 w 20"/>
                <a:gd name="T7" fmla="*/ 58 h 58"/>
                <a:gd name="T8" fmla="*/ 20 w 20"/>
                <a:gd name="T9" fmla="*/ 48 h 58"/>
                <a:gd name="T10" fmla="*/ 20 w 20"/>
                <a:gd name="T11" fmla="*/ 48 h 58"/>
                <a:gd name="T12" fmla="*/ 20 w 20"/>
                <a:gd name="T13" fmla="*/ 38 h 58"/>
                <a:gd name="T14" fmla="*/ 20 w 20"/>
                <a:gd name="T15" fmla="*/ 37 h 58"/>
                <a:gd name="T16" fmla="*/ 20 w 20"/>
                <a:gd name="T17" fmla="*/ 27 h 58"/>
                <a:gd name="T18" fmla="*/ 20 w 20"/>
                <a:gd name="T19" fmla="*/ 26 h 58"/>
                <a:gd name="T20" fmla="*/ 19 w 20"/>
                <a:gd name="T21" fmla="*/ 14 h 58"/>
                <a:gd name="T22" fmla="*/ 19 w 20"/>
                <a:gd name="T23" fmla="*/ 0 h 58"/>
                <a:gd name="T24" fmla="*/ 19 w 20"/>
                <a:gd name="T25" fmla="*/ 0 h 58"/>
                <a:gd name="T26" fmla="*/ 0 w 20"/>
                <a:gd name="T2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58">
                  <a:moveTo>
                    <a:pt x="0" y="0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5"/>
                    <a:pt x="20" y="51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5"/>
                    <a:pt x="20" y="41"/>
                    <a:pt x="20" y="38"/>
                  </a:cubicBezTo>
                  <a:cubicBezTo>
                    <a:pt x="20" y="38"/>
                    <a:pt x="20" y="37"/>
                    <a:pt x="20" y="37"/>
                  </a:cubicBezTo>
                  <a:cubicBezTo>
                    <a:pt x="20" y="34"/>
                    <a:pt x="20" y="30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2"/>
                    <a:pt x="19" y="18"/>
                    <a:pt x="19" y="14"/>
                  </a:cubicBezTo>
                  <a:cubicBezTo>
                    <a:pt x="19" y="9"/>
                    <a:pt x="19" y="5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Sľiḍè">
              <a:extLst>
                <a:ext uri="{FF2B5EF4-FFF2-40B4-BE49-F238E27FC236}">
                  <a16:creationId xmlns:a16="http://schemas.microsoft.com/office/drawing/2014/main" id="{D5EA4C9D-E556-458C-939E-8BE1BCF1F259}"/>
                </a:ext>
              </a:extLst>
            </p:cNvPr>
            <p:cNvSpPr/>
            <p:nvPr/>
          </p:nvSpPr>
          <p:spPr bwMode="auto">
            <a:xfrm>
              <a:off x="7418388" y="4241800"/>
              <a:ext cx="9525" cy="50800"/>
            </a:xfrm>
            <a:custGeom>
              <a:avLst/>
              <a:gdLst>
                <a:gd name="T0" fmla="*/ 4 w 8"/>
                <a:gd name="T1" fmla="*/ 42 h 42"/>
                <a:gd name="T2" fmla="*/ 4 w 8"/>
                <a:gd name="T3" fmla="*/ 42 h 42"/>
                <a:gd name="T4" fmla="*/ 5 w 8"/>
                <a:gd name="T5" fmla="*/ 40 h 42"/>
                <a:gd name="T6" fmla="*/ 5 w 8"/>
                <a:gd name="T7" fmla="*/ 39 h 42"/>
                <a:gd name="T8" fmla="*/ 6 w 8"/>
                <a:gd name="T9" fmla="*/ 37 h 42"/>
                <a:gd name="T10" fmla="*/ 6 w 8"/>
                <a:gd name="T11" fmla="*/ 34 h 42"/>
                <a:gd name="T12" fmla="*/ 7 w 8"/>
                <a:gd name="T13" fmla="*/ 33 h 42"/>
                <a:gd name="T14" fmla="*/ 7 w 8"/>
                <a:gd name="T15" fmla="*/ 29 h 42"/>
                <a:gd name="T16" fmla="*/ 7 w 8"/>
                <a:gd name="T17" fmla="*/ 23 h 42"/>
                <a:gd name="T18" fmla="*/ 7 w 8"/>
                <a:gd name="T19" fmla="*/ 22 h 42"/>
                <a:gd name="T20" fmla="*/ 7 w 8"/>
                <a:gd name="T21" fmla="*/ 16 h 42"/>
                <a:gd name="T22" fmla="*/ 8 w 8"/>
                <a:gd name="T23" fmla="*/ 15 h 42"/>
                <a:gd name="T24" fmla="*/ 8 w 8"/>
                <a:gd name="T25" fmla="*/ 9 h 42"/>
                <a:gd name="T26" fmla="*/ 8 w 8"/>
                <a:gd name="T27" fmla="*/ 9 h 42"/>
                <a:gd name="T28" fmla="*/ 8 w 8"/>
                <a:gd name="T29" fmla="*/ 1 h 42"/>
                <a:gd name="T30" fmla="*/ 8 w 8"/>
                <a:gd name="T31" fmla="*/ 1 h 42"/>
                <a:gd name="T32" fmla="*/ 0 w 8"/>
                <a:gd name="T33" fmla="*/ 0 h 42"/>
                <a:gd name="T34" fmla="*/ 4 w 8"/>
                <a:gd name="T3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42"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1"/>
                    <a:pt x="5" y="40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6" y="34"/>
                    <a:pt x="7" y="33"/>
                    <a:pt x="7" y="33"/>
                  </a:cubicBezTo>
                  <a:cubicBezTo>
                    <a:pt x="7" y="32"/>
                    <a:pt x="7" y="30"/>
                    <a:pt x="7" y="29"/>
                  </a:cubicBezTo>
                  <a:cubicBezTo>
                    <a:pt x="7" y="27"/>
                    <a:pt x="7" y="25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8"/>
                    <a:pt x="7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3"/>
                    <a:pt x="8" y="11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6"/>
                    <a:pt x="8" y="4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ŝ1ïḓe">
              <a:extLst>
                <a:ext uri="{FF2B5EF4-FFF2-40B4-BE49-F238E27FC236}">
                  <a16:creationId xmlns:a16="http://schemas.microsoft.com/office/drawing/2014/main" id="{4331902B-4EBF-48CB-A405-D3FC5DF44183}"/>
                </a:ext>
              </a:extLst>
            </p:cNvPr>
            <p:cNvSpPr/>
            <p:nvPr/>
          </p:nvSpPr>
          <p:spPr bwMode="auto">
            <a:xfrm>
              <a:off x="7378700" y="3868738"/>
              <a:ext cx="79375" cy="60325"/>
            </a:xfrm>
            <a:custGeom>
              <a:avLst/>
              <a:gdLst>
                <a:gd name="T0" fmla="*/ 5 w 65"/>
                <a:gd name="T1" fmla="*/ 49 h 51"/>
                <a:gd name="T2" fmla="*/ 55 w 65"/>
                <a:gd name="T3" fmla="*/ 51 h 51"/>
                <a:gd name="T4" fmla="*/ 57 w 65"/>
                <a:gd name="T5" fmla="*/ 39 h 51"/>
                <a:gd name="T6" fmla="*/ 58 w 65"/>
                <a:gd name="T7" fmla="*/ 36 h 51"/>
                <a:gd name="T8" fmla="*/ 60 w 65"/>
                <a:gd name="T9" fmla="*/ 26 h 51"/>
                <a:gd name="T10" fmla="*/ 60 w 65"/>
                <a:gd name="T11" fmla="*/ 24 h 51"/>
                <a:gd name="T12" fmla="*/ 62 w 65"/>
                <a:gd name="T13" fmla="*/ 13 h 51"/>
                <a:gd name="T14" fmla="*/ 63 w 65"/>
                <a:gd name="T15" fmla="*/ 12 h 51"/>
                <a:gd name="T16" fmla="*/ 65 w 65"/>
                <a:gd name="T17" fmla="*/ 0 h 51"/>
                <a:gd name="T18" fmla="*/ 0 w 65"/>
                <a:gd name="T19" fmla="*/ 5 h 51"/>
                <a:gd name="T20" fmla="*/ 5 w 65"/>
                <a:gd name="T21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1">
                  <a:moveTo>
                    <a:pt x="5" y="49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47"/>
                    <a:pt x="56" y="43"/>
                    <a:pt x="57" y="39"/>
                  </a:cubicBezTo>
                  <a:cubicBezTo>
                    <a:pt x="57" y="38"/>
                    <a:pt x="57" y="37"/>
                    <a:pt x="58" y="36"/>
                  </a:cubicBezTo>
                  <a:cubicBezTo>
                    <a:pt x="58" y="33"/>
                    <a:pt x="59" y="29"/>
                    <a:pt x="60" y="26"/>
                  </a:cubicBezTo>
                  <a:cubicBezTo>
                    <a:pt x="60" y="25"/>
                    <a:pt x="60" y="24"/>
                    <a:pt x="60" y="24"/>
                  </a:cubicBezTo>
                  <a:cubicBezTo>
                    <a:pt x="61" y="20"/>
                    <a:pt x="62" y="17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8"/>
                    <a:pt x="65" y="4"/>
                    <a:pt x="65" y="0"/>
                  </a:cubicBezTo>
                  <a:cubicBezTo>
                    <a:pt x="53" y="1"/>
                    <a:pt x="27" y="3"/>
                    <a:pt x="0" y="5"/>
                  </a:cubicBezTo>
                  <a:lnTo>
                    <a:pt x="5" y="49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š1îḋé">
              <a:extLst>
                <a:ext uri="{FF2B5EF4-FFF2-40B4-BE49-F238E27FC236}">
                  <a16:creationId xmlns:a16="http://schemas.microsoft.com/office/drawing/2014/main" id="{E1E2D233-7DA5-4481-865F-0534E941B5B7}"/>
                </a:ext>
              </a:extLst>
            </p:cNvPr>
            <p:cNvSpPr/>
            <p:nvPr/>
          </p:nvSpPr>
          <p:spPr bwMode="auto">
            <a:xfrm>
              <a:off x="7389813" y="3968750"/>
              <a:ext cx="49213" cy="55563"/>
            </a:xfrm>
            <a:custGeom>
              <a:avLst/>
              <a:gdLst>
                <a:gd name="T0" fmla="*/ 4 w 40"/>
                <a:gd name="T1" fmla="*/ 46 h 46"/>
                <a:gd name="T2" fmla="*/ 34 w 40"/>
                <a:gd name="T3" fmla="*/ 43 h 46"/>
                <a:gd name="T4" fmla="*/ 37 w 40"/>
                <a:gd name="T5" fmla="*/ 22 h 46"/>
                <a:gd name="T6" fmla="*/ 37 w 40"/>
                <a:gd name="T7" fmla="*/ 21 h 46"/>
                <a:gd name="T8" fmla="*/ 40 w 40"/>
                <a:gd name="T9" fmla="*/ 0 h 46"/>
                <a:gd name="T10" fmla="*/ 0 w 40"/>
                <a:gd name="T11" fmla="*/ 1 h 46"/>
                <a:gd name="T12" fmla="*/ 4 w 4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6">
                  <a:moveTo>
                    <a:pt x="4" y="46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5" y="36"/>
                    <a:pt x="36" y="29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8" y="14"/>
                    <a:pt x="39" y="7"/>
                    <a:pt x="4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46"/>
                  </a:lnTo>
                  <a:close/>
                </a:path>
              </a:pathLst>
            </a:custGeom>
            <a:solidFill>
              <a:srgbClr val="95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ïṧ1ídê">
              <a:extLst>
                <a:ext uri="{FF2B5EF4-FFF2-40B4-BE49-F238E27FC236}">
                  <a16:creationId xmlns:a16="http://schemas.microsoft.com/office/drawing/2014/main" id="{97C88834-C3AA-4924-BE2A-B6DEDE72A2A7}"/>
                </a:ext>
              </a:extLst>
            </p:cNvPr>
            <p:cNvSpPr/>
            <p:nvPr/>
          </p:nvSpPr>
          <p:spPr bwMode="auto">
            <a:xfrm>
              <a:off x="7167563" y="3594100"/>
              <a:ext cx="300038" cy="381000"/>
            </a:xfrm>
            <a:custGeom>
              <a:avLst/>
              <a:gdLst>
                <a:gd name="T0" fmla="*/ 88 w 189"/>
                <a:gd name="T1" fmla="*/ 0 h 240"/>
                <a:gd name="T2" fmla="*/ 189 w 189"/>
                <a:gd name="T3" fmla="*/ 174 h 240"/>
                <a:gd name="T4" fmla="*/ 157 w 189"/>
                <a:gd name="T5" fmla="*/ 240 h 240"/>
                <a:gd name="T6" fmla="*/ 95 w 189"/>
                <a:gd name="T7" fmla="*/ 219 h 240"/>
                <a:gd name="T8" fmla="*/ 0 w 189"/>
                <a:gd name="T9" fmla="*/ 48 h 240"/>
                <a:gd name="T10" fmla="*/ 88 w 189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240">
                  <a:moveTo>
                    <a:pt x="88" y="0"/>
                  </a:moveTo>
                  <a:lnTo>
                    <a:pt x="189" y="174"/>
                  </a:lnTo>
                  <a:lnTo>
                    <a:pt x="157" y="240"/>
                  </a:lnTo>
                  <a:lnTo>
                    <a:pt x="95" y="219"/>
                  </a:lnTo>
                  <a:lnTo>
                    <a:pt x="0" y="48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sḷïḋê">
              <a:extLst>
                <a:ext uri="{FF2B5EF4-FFF2-40B4-BE49-F238E27FC236}">
                  <a16:creationId xmlns:a16="http://schemas.microsoft.com/office/drawing/2014/main" id="{DBBB7A8F-D9FF-4E25-B414-5DB34ABE4050}"/>
                </a:ext>
              </a:extLst>
            </p:cNvPr>
            <p:cNvSpPr/>
            <p:nvPr/>
          </p:nvSpPr>
          <p:spPr bwMode="auto">
            <a:xfrm>
              <a:off x="7112000" y="341630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sľiḍé">
              <a:extLst>
                <a:ext uri="{FF2B5EF4-FFF2-40B4-BE49-F238E27FC236}">
                  <a16:creationId xmlns:a16="http://schemas.microsoft.com/office/drawing/2014/main" id="{B14AFD46-D0B0-497C-A736-73F810F1D3A0}"/>
                </a:ext>
              </a:extLst>
            </p:cNvPr>
            <p:cNvSpPr/>
            <p:nvPr/>
          </p:nvSpPr>
          <p:spPr bwMode="auto">
            <a:xfrm>
              <a:off x="6235700" y="3063875"/>
              <a:ext cx="1130300" cy="1409700"/>
            </a:xfrm>
            <a:custGeom>
              <a:avLst/>
              <a:gdLst>
                <a:gd name="T0" fmla="*/ 726 w 937"/>
                <a:gd name="T1" fmla="*/ 294 h 1170"/>
                <a:gd name="T2" fmla="*/ 726 w 937"/>
                <a:gd name="T3" fmla="*/ 293 h 1170"/>
                <a:gd name="T4" fmla="*/ 609 w 937"/>
                <a:gd name="T5" fmla="*/ 73 h 1170"/>
                <a:gd name="T6" fmla="*/ 540 w 937"/>
                <a:gd name="T7" fmla="*/ 6 h 1170"/>
                <a:gd name="T8" fmla="*/ 475 w 937"/>
                <a:gd name="T9" fmla="*/ 6 h 1170"/>
                <a:gd name="T10" fmla="*/ 297 w 937"/>
                <a:gd name="T11" fmla="*/ 32 h 1170"/>
                <a:gd name="T12" fmla="*/ 275 w 937"/>
                <a:gd name="T13" fmla="*/ 35 h 1170"/>
                <a:gd name="T14" fmla="*/ 142 w 937"/>
                <a:gd name="T15" fmla="*/ 378 h 1170"/>
                <a:gd name="T16" fmla="*/ 0 w 937"/>
                <a:gd name="T17" fmla="*/ 909 h 1170"/>
                <a:gd name="T18" fmla="*/ 8 w 937"/>
                <a:gd name="T19" fmla="*/ 1034 h 1170"/>
                <a:gd name="T20" fmla="*/ 29 w 937"/>
                <a:gd name="T21" fmla="*/ 1103 h 1170"/>
                <a:gd name="T22" fmla="*/ 159 w 937"/>
                <a:gd name="T23" fmla="*/ 1147 h 1170"/>
                <a:gd name="T24" fmla="*/ 444 w 937"/>
                <a:gd name="T25" fmla="*/ 1114 h 1170"/>
                <a:gd name="T26" fmla="*/ 728 w 937"/>
                <a:gd name="T27" fmla="*/ 1166 h 1170"/>
                <a:gd name="T28" fmla="*/ 726 w 937"/>
                <a:gd name="T29" fmla="*/ 294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7" h="1170">
                  <a:moveTo>
                    <a:pt x="726" y="294"/>
                  </a:moveTo>
                  <a:cubicBezTo>
                    <a:pt x="726" y="293"/>
                    <a:pt x="726" y="293"/>
                    <a:pt x="726" y="293"/>
                  </a:cubicBezTo>
                  <a:cubicBezTo>
                    <a:pt x="694" y="217"/>
                    <a:pt x="655" y="143"/>
                    <a:pt x="609" y="73"/>
                  </a:cubicBezTo>
                  <a:cubicBezTo>
                    <a:pt x="591" y="45"/>
                    <a:pt x="571" y="16"/>
                    <a:pt x="540" y="6"/>
                  </a:cubicBezTo>
                  <a:cubicBezTo>
                    <a:pt x="519" y="0"/>
                    <a:pt x="496" y="3"/>
                    <a:pt x="475" y="6"/>
                  </a:cubicBezTo>
                  <a:cubicBezTo>
                    <a:pt x="415" y="15"/>
                    <a:pt x="356" y="23"/>
                    <a:pt x="297" y="32"/>
                  </a:cubicBezTo>
                  <a:cubicBezTo>
                    <a:pt x="289" y="33"/>
                    <a:pt x="282" y="34"/>
                    <a:pt x="275" y="35"/>
                  </a:cubicBezTo>
                  <a:cubicBezTo>
                    <a:pt x="146" y="55"/>
                    <a:pt x="162" y="247"/>
                    <a:pt x="142" y="378"/>
                  </a:cubicBezTo>
                  <a:cubicBezTo>
                    <a:pt x="124" y="490"/>
                    <a:pt x="21" y="726"/>
                    <a:pt x="0" y="909"/>
                  </a:cubicBezTo>
                  <a:cubicBezTo>
                    <a:pt x="2" y="951"/>
                    <a:pt x="4" y="992"/>
                    <a:pt x="8" y="1034"/>
                  </a:cubicBezTo>
                  <a:cubicBezTo>
                    <a:pt x="14" y="1062"/>
                    <a:pt x="21" y="1085"/>
                    <a:pt x="29" y="1103"/>
                  </a:cubicBezTo>
                  <a:cubicBezTo>
                    <a:pt x="77" y="1170"/>
                    <a:pt x="159" y="1147"/>
                    <a:pt x="159" y="1147"/>
                  </a:cubicBezTo>
                  <a:cubicBezTo>
                    <a:pt x="159" y="1147"/>
                    <a:pt x="299" y="1093"/>
                    <a:pt x="444" y="1114"/>
                  </a:cubicBezTo>
                  <a:cubicBezTo>
                    <a:pt x="549" y="1117"/>
                    <a:pt x="648" y="1157"/>
                    <a:pt x="728" y="1166"/>
                  </a:cubicBezTo>
                  <a:cubicBezTo>
                    <a:pt x="937" y="926"/>
                    <a:pt x="727" y="297"/>
                    <a:pt x="726" y="294"/>
                  </a:cubicBezTo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ṧļîḓè">
              <a:extLst>
                <a:ext uri="{FF2B5EF4-FFF2-40B4-BE49-F238E27FC236}">
                  <a16:creationId xmlns:a16="http://schemas.microsoft.com/office/drawing/2014/main" id="{BFD83762-D30C-4882-A2B3-81872EBCE21C}"/>
                </a:ext>
              </a:extLst>
            </p:cNvPr>
            <p:cNvSpPr/>
            <p:nvPr/>
          </p:nvSpPr>
          <p:spPr bwMode="auto">
            <a:xfrm>
              <a:off x="6373813" y="3059113"/>
              <a:ext cx="652463" cy="1425575"/>
            </a:xfrm>
            <a:custGeom>
              <a:avLst/>
              <a:gdLst>
                <a:gd name="T0" fmla="*/ 309 w 541"/>
                <a:gd name="T1" fmla="*/ 389 h 1183"/>
                <a:gd name="T2" fmla="*/ 330 w 541"/>
                <a:gd name="T3" fmla="*/ 503 h 1183"/>
                <a:gd name="T4" fmla="*/ 541 w 541"/>
                <a:gd name="T5" fmla="*/ 1183 h 1183"/>
                <a:gd name="T6" fmla="*/ 20 w 541"/>
                <a:gd name="T7" fmla="*/ 1150 h 1183"/>
                <a:gd name="T8" fmla="*/ 6 w 541"/>
                <a:gd name="T9" fmla="*/ 979 h 1183"/>
                <a:gd name="T10" fmla="*/ 4 w 541"/>
                <a:gd name="T11" fmla="*/ 810 h 1183"/>
                <a:gd name="T12" fmla="*/ 58 w 541"/>
                <a:gd name="T13" fmla="*/ 545 h 1183"/>
                <a:gd name="T14" fmla="*/ 189 w 541"/>
                <a:gd name="T15" fmla="*/ 67 h 1183"/>
                <a:gd name="T16" fmla="*/ 199 w 541"/>
                <a:gd name="T17" fmla="*/ 43 h 1183"/>
                <a:gd name="T18" fmla="*/ 224 w 541"/>
                <a:gd name="T19" fmla="*/ 28 h 1183"/>
                <a:gd name="T20" fmla="*/ 367 w 541"/>
                <a:gd name="T21" fmla="*/ 3 h 1183"/>
                <a:gd name="T22" fmla="*/ 340 w 541"/>
                <a:gd name="T23" fmla="*/ 183 h 1183"/>
                <a:gd name="T24" fmla="*/ 309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309" y="389"/>
                  </a:moveTo>
                  <a:cubicBezTo>
                    <a:pt x="312" y="427"/>
                    <a:pt x="321" y="465"/>
                    <a:pt x="330" y="503"/>
                  </a:cubicBezTo>
                  <a:cubicBezTo>
                    <a:pt x="386" y="732"/>
                    <a:pt x="484" y="954"/>
                    <a:pt x="541" y="1183"/>
                  </a:cubicBezTo>
                  <a:cubicBezTo>
                    <a:pt x="387" y="1183"/>
                    <a:pt x="408" y="1059"/>
                    <a:pt x="20" y="1150"/>
                  </a:cubicBezTo>
                  <a:cubicBezTo>
                    <a:pt x="15" y="1062"/>
                    <a:pt x="10" y="1066"/>
                    <a:pt x="6" y="979"/>
                  </a:cubicBezTo>
                  <a:cubicBezTo>
                    <a:pt x="3" y="922"/>
                    <a:pt x="0" y="866"/>
                    <a:pt x="4" y="810"/>
                  </a:cubicBezTo>
                  <a:cubicBezTo>
                    <a:pt x="10" y="719"/>
                    <a:pt x="34" y="632"/>
                    <a:pt x="58" y="545"/>
                  </a:cubicBezTo>
                  <a:cubicBezTo>
                    <a:pt x="102" y="386"/>
                    <a:pt x="145" y="226"/>
                    <a:pt x="189" y="67"/>
                  </a:cubicBezTo>
                  <a:cubicBezTo>
                    <a:pt x="191" y="58"/>
                    <a:pt x="194" y="49"/>
                    <a:pt x="199" y="43"/>
                  </a:cubicBezTo>
                  <a:cubicBezTo>
                    <a:pt x="206" y="35"/>
                    <a:pt x="215" y="31"/>
                    <a:pt x="224" y="28"/>
                  </a:cubicBezTo>
                  <a:cubicBezTo>
                    <a:pt x="269" y="14"/>
                    <a:pt x="320" y="0"/>
                    <a:pt x="367" y="3"/>
                  </a:cubicBezTo>
                  <a:cubicBezTo>
                    <a:pt x="384" y="49"/>
                    <a:pt x="351" y="137"/>
                    <a:pt x="340" y="183"/>
                  </a:cubicBezTo>
                  <a:cubicBezTo>
                    <a:pt x="325" y="250"/>
                    <a:pt x="305" y="318"/>
                    <a:pt x="309" y="3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$ľide">
              <a:extLst>
                <a:ext uri="{FF2B5EF4-FFF2-40B4-BE49-F238E27FC236}">
                  <a16:creationId xmlns:a16="http://schemas.microsoft.com/office/drawing/2014/main" id="{CEF03112-204A-4DBD-A40E-7D507A477211}"/>
                </a:ext>
              </a:extLst>
            </p:cNvPr>
            <p:cNvSpPr/>
            <p:nvPr/>
          </p:nvSpPr>
          <p:spPr bwMode="auto">
            <a:xfrm>
              <a:off x="6527800" y="2593975"/>
              <a:ext cx="165100" cy="249238"/>
            </a:xfrm>
            <a:custGeom>
              <a:avLst/>
              <a:gdLst>
                <a:gd name="T0" fmla="*/ 68 w 137"/>
                <a:gd name="T1" fmla="*/ 75 h 206"/>
                <a:gd name="T2" fmla="*/ 41 w 137"/>
                <a:gd name="T3" fmla="*/ 166 h 206"/>
                <a:gd name="T4" fmla="*/ 32 w 137"/>
                <a:gd name="T5" fmla="*/ 189 h 206"/>
                <a:gd name="T6" fmla="*/ 25 w 137"/>
                <a:gd name="T7" fmla="*/ 199 h 206"/>
                <a:gd name="T8" fmla="*/ 1 w 137"/>
                <a:gd name="T9" fmla="*/ 157 h 206"/>
                <a:gd name="T10" fmla="*/ 3 w 137"/>
                <a:gd name="T11" fmla="*/ 93 h 206"/>
                <a:gd name="T12" fmla="*/ 22 w 137"/>
                <a:gd name="T13" fmla="*/ 41 h 206"/>
                <a:gd name="T14" fmla="*/ 49 w 137"/>
                <a:gd name="T15" fmla="*/ 22 h 206"/>
                <a:gd name="T16" fmla="*/ 93 w 137"/>
                <a:gd name="T17" fmla="*/ 4 h 206"/>
                <a:gd name="T18" fmla="*/ 112 w 137"/>
                <a:gd name="T19" fmla="*/ 28 h 206"/>
                <a:gd name="T20" fmla="*/ 68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8" y="75"/>
                  </a:moveTo>
                  <a:cubicBezTo>
                    <a:pt x="52" y="102"/>
                    <a:pt x="43" y="134"/>
                    <a:pt x="41" y="166"/>
                  </a:cubicBezTo>
                  <a:cubicBezTo>
                    <a:pt x="40" y="174"/>
                    <a:pt x="39" y="184"/>
                    <a:pt x="32" y="189"/>
                  </a:cubicBezTo>
                  <a:cubicBezTo>
                    <a:pt x="25" y="194"/>
                    <a:pt x="31" y="206"/>
                    <a:pt x="25" y="199"/>
                  </a:cubicBezTo>
                  <a:cubicBezTo>
                    <a:pt x="20" y="191"/>
                    <a:pt x="2" y="166"/>
                    <a:pt x="1" y="157"/>
                  </a:cubicBezTo>
                  <a:cubicBezTo>
                    <a:pt x="0" y="135"/>
                    <a:pt x="0" y="114"/>
                    <a:pt x="3" y="93"/>
                  </a:cubicBezTo>
                  <a:cubicBezTo>
                    <a:pt x="5" y="74"/>
                    <a:pt x="10" y="55"/>
                    <a:pt x="22" y="41"/>
                  </a:cubicBezTo>
                  <a:cubicBezTo>
                    <a:pt x="30" y="33"/>
                    <a:pt x="40" y="27"/>
                    <a:pt x="49" y="22"/>
                  </a:cubicBezTo>
                  <a:cubicBezTo>
                    <a:pt x="63" y="14"/>
                    <a:pt x="77" y="6"/>
                    <a:pt x="93" y="4"/>
                  </a:cubicBezTo>
                  <a:cubicBezTo>
                    <a:pt x="120" y="0"/>
                    <a:pt x="137" y="10"/>
                    <a:pt x="112" y="28"/>
                  </a:cubicBezTo>
                  <a:cubicBezTo>
                    <a:pt x="95" y="41"/>
                    <a:pt x="80" y="56"/>
                    <a:pt x="68" y="7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$ḷíḓe">
              <a:extLst>
                <a:ext uri="{FF2B5EF4-FFF2-40B4-BE49-F238E27FC236}">
                  <a16:creationId xmlns:a16="http://schemas.microsoft.com/office/drawing/2014/main" id="{25AF2D5E-00A5-42E0-A748-28F1ADDE0278}"/>
                </a:ext>
              </a:extLst>
            </p:cNvPr>
            <p:cNvSpPr/>
            <p:nvPr/>
          </p:nvSpPr>
          <p:spPr bwMode="auto">
            <a:xfrm>
              <a:off x="6519863" y="2505075"/>
              <a:ext cx="454025" cy="369888"/>
            </a:xfrm>
            <a:custGeom>
              <a:avLst/>
              <a:gdLst>
                <a:gd name="T0" fmla="*/ 20 w 376"/>
                <a:gd name="T1" fmla="*/ 65 h 307"/>
                <a:gd name="T2" fmla="*/ 14 w 376"/>
                <a:gd name="T3" fmla="*/ 30 h 307"/>
                <a:gd name="T4" fmla="*/ 48 w 376"/>
                <a:gd name="T5" fmla="*/ 34 h 307"/>
                <a:gd name="T6" fmla="*/ 49 w 376"/>
                <a:gd name="T7" fmla="*/ 14 h 307"/>
                <a:gd name="T8" fmla="*/ 131 w 376"/>
                <a:gd name="T9" fmla="*/ 6 h 307"/>
                <a:gd name="T10" fmla="*/ 294 w 376"/>
                <a:gd name="T11" fmla="*/ 33 h 307"/>
                <a:gd name="T12" fmla="*/ 371 w 376"/>
                <a:gd name="T13" fmla="*/ 153 h 307"/>
                <a:gd name="T14" fmla="*/ 328 w 376"/>
                <a:gd name="T15" fmla="*/ 307 h 307"/>
                <a:gd name="T16" fmla="*/ 334 w 376"/>
                <a:gd name="T17" fmla="*/ 250 h 307"/>
                <a:gd name="T18" fmla="*/ 323 w 376"/>
                <a:gd name="T19" fmla="*/ 214 h 307"/>
                <a:gd name="T20" fmla="*/ 273 w 376"/>
                <a:gd name="T21" fmla="*/ 158 h 307"/>
                <a:gd name="T22" fmla="*/ 162 w 376"/>
                <a:gd name="T23" fmla="*/ 117 h 307"/>
                <a:gd name="T24" fmla="*/ 46 w 376"/>
                <a:gd name="T25" fmla="*/ 114 h 307"/>
                <a:gd name="T26" fmla="*/ 16 w 376"/>
                <a:gd name="T27" fmla="*/ 104 h 307"/>
                <a:gd name="T28" fmla="*/ 2 w 376"/>
                <a:gd name="T29" fmla="*/ 65 h 307"/>
                <a:gd name="T30" fmla="*/ 20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20" y="65"/>
                  </a:moveTo>
                  <a:cubicBezTo>
                    <a:pt x="17" y="54"/>
                    <a:pt x="15" y="42"/>
                    <a:pt x="14" y="30"/>
                  </a:cubicBezTo>
                  <a:cubicBezTo>
                    <a:pt x="25" y="34"/>
                    <a:pt x="37" y="36"/>
                    <a:pt x="48" y="34"/>
                  </a:cubicBezTo>
                  <a:cubicBezTo>
                    <a:pt x="48" y="28"/>
                    <a:pt x="48" y="21"/>
                    <a:pt x="49" y="14"/>
                  </a:cubicBezTo>
                  <a:cubicBezTo>
                    <a:pt x="49" y="8"/>
                    <a:pt x="125" y="7"/>
                    <a:pt x="131" y="6"/>
                  </a:cubicBezTo>
                  <a:cubicBezTo>
                    <a:pt x="189" y="3"/>
                    <a:pt x="242" y="0"/>
                    <a:pt x="294" y="33"/>
                  </a:cubicBezTo>
                  <a:cubicBezTo>
                    <a:pt x="338" y="61"/>
                    <a:pt x="365" y="101"/>
                    <a:pt x="371" y="153"/>
                  </a:cubicBezTo>
                  <a:cubicBezTo>
                    <a:pt x="376" y="203"/>
                    <a:pt x="358" y="267"/>
                    <a:pt x="328" y="307"/>
                  </a:cubicBezTo>
                  <a:cubicBezTo>
                    <a:pt x="329" y="294"/>
                    <a:pt x="337" y="263"/>
                    <a:pt x="334" y="250"/>
                  </a:cubicBezTo>
                  <a:cubicBezTo>
                    <a:pt x="333" y="238"/>
                    <a:pt x="329" y="225"/>
                    <a:pt x="323" y="214"/>
                  </a:cubicBezTo>
                  <a:cubicBezTo>
                    <a:pt x="312" y="192"/>
                    <a:pt x="294" y="172"/>
                    <a:pt x="273" y="158"/>
                  </a:cubicBezTo>
                  <a:cubicBezTo>
                    <a:pt x="240" y="136"/>
                    <a:pt x="201" y="124"/>
                    <a:pt x="162" y="117"/>
                  </a:cubicBezTo>
                  <a:cubicBezTo>
                    <a:pt x="126" y="111"/>
                    <a:pt x="82" y="105"/>
                    <a:pt x="46" y="114"/>
                  </a:cubicBezTo>
                  <a:cubicBezTo>
                    <a:pt x="28" y="118"/>
                    <a:pt x="25" y="122"/>
                    <a:pt x="16" y="104"/>
                  </a:cubicBezTo>
                  <a:cubicBezTo>
                    <a:pt x="14" y="101"/>
                    <a:pt x="0" y="65"/>
                    <a:pt x="2" y="65"/>
                  </a:cubicBezTo>
                  <a:cubicBezTo>
                    <a:pt x="8" y="65"/>
                    <a:pt x="14" y="65"/>
                    <a:pt x="20" y="65"/>
                  </a:cubicBezTo>
                  <a:close/>
                </a:path>
              </a:pathLst>
            </a:custGeom>
            <a:solidFill>
              <a:srgbClr val="3A3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šḷíďè">
              <a:extLst>
                <a:ext uri="{FF2B5EF4-FFF2-40B4-BE49-F238E27FC236}">
                  <a16:creationId xmlns:a16="http://schemas.microsoft.com/office/drawing/2014/main" id="{8EBFF2C7-3D65-41BA-AB1C-ABCCCDBAC338}"/>
                </a:ext>
              </a:extLst>
            </p:cNvPr>
            <p:cNvSpPr/>
            <p:nvPr/>
          </p:nvSpPr>
          <p:spPr bwMode="auto">
            <a:xfrm>
              <a:off x="6435725" y="5322888"/>
              <a:ext cx="144463" cy="257175"/>
            </a:xfrm>
            <a:custGeom>
              <a:avLst/>
              <a:gdLst>
                <a:gd name="T0" fmla="*/ 24 w 91"/>
                <a:gd name="T1" fmla="*/ 34 h 162"/>
                <a:gd name="T2" fmla="*/ 0 w 91"/>
                <a:gd name="T3" fmla="*/ 125 h 162"/>
                <a:gd name="T4" fmla="*/ 26 w 91"/>
                <a:gd name="T5" fmla="*/ 162 h 162"/>
                <a:gd name="T6" fmla="*/ 68 w 91"/>
                <a:gd name="T7" fmla="*/ 137 h 162"/>
                <a:gd name="T8" fmla="*/ 91 w 91"/>
                <a:gd name="T9" fmla="*/ 59 h 162"/>
                <a:gd name="T10" fmla="*/ 73 w 91"/>
                <a:gd name="T11" fmla="*/ 0 h 162"/>
                <a:gd name="T12" fmla="*/ 24 w 91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8" y="137"/>
                  </a:lnTo>
                  <a:lnTo>
                    <a:pt x="91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şḻîḓè">
              <a:extLst>
                <a:ext uri="{FF2B5EF4-FFF2-40B4-BE49-F238E27FC236}">
                  <a16:creationId xmlns:a16="http://schemas.microsoft.com/office/drawing/2014/main" id="{20411541-E4CF-4647-AE49-F38685556A6C}"/>
                </a:ext>
              </a:extLst>
            </p:cNvPr>
            <p:cNvSpPr/>
            <p:nvPr/>
          </p:nvSpPr>
          <p:spPr bwMode="auto">
            <a:xfrm>
              <a:off x="6731000" y="5295900"/>
              <a:ext cx="146050" cy="257175"/>
            </a:xfrm>
            <a:custGeom>
              <a:avLst/>
              <a:gdLst>
                <a:gd name="T0" fmla="*/ 24 w 92"/>
                <a:gd name="T1" fmla="*/ 34 h 162"/>
                <a:gd name="T2" fmla="*/ 0 w 92"/>
                <a:gd name="T3" fmla="*/ 125 h 162"/>
                <a:gd name="T4" fmla="*/ 26 w 92"/>
                <a:gd name="T5" fmla="*/ 162 h 162"/>
                <a:gd name="T6" fmla="*/ 67 w 92"/>
                <a:gd name="T7" fmla="*/ 137 h 162"/>
                <a:gd name="T8" fmla="*/ 92 w 92"/>
                <a:gd name="T9" fmla="*/ 59 h 162"/>
                <a:gd name="T10" fmla="*/ 73 w 92"/>
                <a:gd name="T11" fmla="*/ 0 h 162"/>
                <a:gd name="T12" fmla="*/ 24 w 92"/>
                <a:gd name="T13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62">
                  <a:moveTo>
                    <a:pt x="24" y="34"/>
                  </a:moveTo>
                  <a:lnTo>
                    <a:pt x="0" y="125"/>
                  </a:lnTo>
                  <a:lnTo>
                    <a:pt x="26" y="162"/>
                  </a:lnTo>
                  <a:lnTo>
                    <a:pt x="67" y="137"/>
                  </a:lnTo>
                  <a:lnTo>
                    <a:pt x="92" y="59"/>
                  </a:lnTo>
                  <a:lnTo>
                    <a:pt x="73" y="0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63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ïś1îḋê">
              <a:extLst>
                <a:ext uri="{FF2B5EF4-FFF2-40B4-BE49-F238E27FC236}">
                  <a16:creationId xmlns:a16="http://schemas.microsoft.com/office/drawing/2014/main" id="{B661F444-C023-4613-B4C6-37C123B6E8E7}"/>
                </a:ext>
              </a:extLst>
            </p:cNvPr>
            <p:cNvSpPr/>
            <p:nvPr/>
          </p:nvSpPr>
          <p:spPr bwMode="auto">
            <a:xfrm>
              <a:off x="6248400" y="4249738"/>
              <a:ext cx="484188" cy="1158875"/>
            </a:xfrm>
            <a:custGeom>
              <a:avLst/>
              <a:gdLst>
                <a:gd name="T0" fmla="*/ 383 w 402"/>
                <a:gd name="T1" fmla="*/ 137 h 961"/>
                <a:gd name="T2" fmla="*/ 330 w 402"/>
                <a:gd name="T3" fmla="*/ 48 h 961"/>
                <a:gd name="T4" fmla="*/ 135 w 402"/>
                <a:gd name="T5" fmla="*/ 20 h 961"/>
                <a:gd name="T6" fmla="*/ 28 w 402"/>
                <a:gd name="T7" fmla="*/ 109 h 961"/>
                <a:gd name="T8" fmla="*/ 0 w 402"/>
                <a:gd name="T9" fmla="*/ 218 h 961"/>
                <a:gd name="T10" fmla="*/ 26 w 402"/>
                <a:gd name="T11" fmla="*/ 321 h 961"/>
                <a:gd name="T12" fmla="*/ 182 w 402"/>
                <a:gd name="T13" fmla="*/ 961 h 961"/>
                <a:gd name="T14" fmla="*/ 270 w 402"/>
                <a:gd name="T15" fmla="*/ 948 h 961"/>
                <a:gd name="T16" fmla="*/ 276 w 402"/>
                <a:gd name="T17" fmla="*/ 294 h 961"/>
                <a:gd name="T18" fmla="*/ 383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383" y="137"/>
                  </a:moveTo>
                  <a:cubicBezTo>
                    <a:pt x="374" y="107"/>
                    <a:pt x="359" y="61"/>
                    <a:pt x="330" y="48"/>
                  </a:cubicBezTo>
                  <a:cubicBezTo>
                    <a:pt x="267" y="22"/>
                    <a:pt x="199" y="0"/>
                    <a:pt x="135" y="20"/>
                  </a:cubicBezTo>
                  <a:cubicBezTo>
                    <a:pt x="91" y="33"/>
                    <a:pt x="52" y="65"/>
                    <a:pt x="28" y="109"/>
                  </a:cubicBezTo>
                  <a:cubicBezTo>
                    <a:pt x="10" y="141"/>
                    <a:pt x="0" y="180"/>
                    <a:pt x="0" y="218"/>
                  </a:cubicBezTo>
                  <a:cubicBezTo>
                    <a:pt x="0" y="255"/>
                    <a:pt x="18" y="286"/>
                    <a:pt x="26" y="321"/>
                  </a:cubicBezTo>
                  <a:cubicBezTo>
                    <a:pt x="78" y="534"/>
                    <a:pt x="130" y="748"/>
                    <a:pt x="182" y="961"/>
                  </a:cubicBezTo>
                  <a:cubicBezTo>
                    <a:pt x="270" y="948"/>
                    <a:pt x="270" y="948"/>
                    <a:pt x="270" y="948"/>
                  </a:cubicBezTo>
                  <a:cubicBezTo>
                    <a:pt x="276" y="294"/>
                    <a:pt x="276" y="294"/>
                    <a:pt x="276" y="294"/>
                  </a:cubicBezTo>
                  <a:cubicBezTo>
                    <a:pt x="312" y="257"/>
                    <a:pt x="402" y="198"/>
                    <a:pt x="383" y="137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ṥ1îḑé">
              <a:extLst>
                <a:ext uri="{FF2B5EF4-FFF2-40B4-BE49-F238E27FC236}">
                  <a16:creationId xmlns:a16="http://schemas.microsoft.com/office/drawing/2014/main" id="{3B1E122C-1DA6-4C3B-83C1-E2166F3826E4}"/>
                </a:ext>
              </a:extLst>
            </p:cNvPr>
            <p:cNvSpPr/>
            <p:nvPr/>
          </p:nvSpPr>
          <p:spPr bwMode="auto">
            <a:xfrm>
              <a:off x="6600825" y="4252913"/>
              <a:ext cx="441325" cy="1143000"/>
            </a:xfrm>
            <a:custGeom>
              <a:avLst/>
              <a:gdLst>
                <a:gd name="T0" fmla="*/ 359 w 365"/>
                <a:gd name="T1" fmla="*/ 235 h 949"/>
                <a:gd name="T2" fmla="*/ 365 w 365"/>
                <a:gd name="T3" fmla="*/ 166 h 949"/>
                <a:gd name="T4" fmla="*/ 358 w 365"/>
                <a:gd name="T5" fmla="*/ 113 h 949"/>
                <a:gd name="T6" fmla="*/ 326 w 365"/>
                <a:gd name="T7" fmla="*/ 67 h 949"/>
                <a:gd name="T8" fmla="*/ 154 w 365"/>
                <a:gd name="T9" fmla="*/ 15 h 949"/>
                <a:gd name="T10" fmla="*/ 77 w 365"/>
                <a:gd name="T11" fmla="*/ 53 h 949"/>
                <a:gd name="T12" fmla="*/ 4 w 365"/>
                <a:gd name="T13" fmla="*/ 124 h 949"/>
                <a:gd name="T14" fmla="*/ 0 w 365"/>
                <a:gd name="T15" fmla="*/ 133 h 949"/>
                <a:gd name="T16" fmla="*/ 5 w 365"/>
                <a:gd name="T17" fmla="*/ 139 h 949"/>
                <a:gd name="T18" fmla="*/ 82 w 365"/>
                <a:gd name="T19" fmla="*/ 260 h 949"/>
                <a:gd name="T20" fmla="*/ 104 w 365"/>
                <a:gd name="T21" fmla="*/ 433 h 949"/>
                <a:gd name="T22" fmla="*/ 111 w 365"/>
                <a:gd name="T23" fmla="*/ 644 h 949"/>
                <a:gd name="T24" fmla="*/ 122 w 365"/>
                <a:gd name="T25" fmla="*/ 936 h 949"/>
                <a:gd name="T26" fmla="*/ 222 w 365"/>
                <a:gd name="T27" fmla="*/ 949 h 949"/>
                <a:gd name="T28" fmla="*/ 274 w 365"/>
                <a:gd name="T29" fmla="*/ 680 h 949"/>
                <a:gd name="T30" fmla="*/ 348 w 365"/>
                <a:gd name="T31" fmla="*/ 302 h 949"/>
                <a:gd name="T32" fmla="*/ 359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359" y="235"/>
                  </a:moveTo>
                  <a:cubicBezTo>
                    <a:pt x="362" y="212"/>
                    <a:pt x="364" y="189"/>
                    <a:pt x="365" y="166"/>
                  </a:cubicBezTo>
                  <a:cubicBezTo>
                    <a:pt x="365" y="148"/>
                    <a:pt x="364" y="130"/>
                    <a:pt x="358" y="113"/>
                  </a:cubicBezTo>
                  <a:cubicBezTo>
                    <a:pt x="352" y="94"/>
                    <a:pt x="339" y="80"/>
                    <a:pt x="326" y="67"/>
                  </a:cubicBezTo>
                  <a:cubicBezTo>
                    <a:pt x="278" y="22"/>
                    <a:pt x="216" y="0"/>
                    <a:pt x="154" y="15"/>
                  </a:cubicBezTo>
                  <a:cubicBezTo>
                    <a:pt x="127" y="22"/>
                    <a:pt x="101" y="36"/>
                    <a:pt x="77" y="53"/>
                  </a:cubicBezTo>
                  <a:cubicBezTo>
                    <a:pt x="50" y="72"/>
                    <a:pt x="24" y="95"/>
                    <a:pt x="4" y="124"/>
                  </a:cubicBezTo>
                  <a:cubicBezTo>
                    <a:pt x="2" y="126"/>
                    <a:pt x="0" y="130"/>
                    <a:pt x="0" y="133"/>
                  </a:cubicBezTo>
                  <a:cubicBezTo>
                    <a:pt x="1" y="136"/>
                    <a:pt x="3" y="137"/>
                    <a:pt x="5" y="139"/>
                  </a:cubicBezTo>
                  <a:cubicBezTo>
                    <a:pt x="39" y="171"/>
                    <a:pt x="65" y="214"/>
                    <a:pt x="82" y="260"/>
                  </a:cubicBezTo>
                  <a:cubicBezTo>
                    <a:pt x="102" y="317"/>
                    <a:pt x="101" y="373"/>
                    <a:pt x="104" y="433"/>
                  </a:cubicBezTo>
                  <a:cubicBezTo>
                    <a:pt x="106" y="503"/>
                    <a:pt x="109" y="573"/>
                    <a:pt x="111" y="644"/>
                  </a:cubicBezTo>
                  <a:cubicBezTo>
                    <a:pt x="115" y="741"/>
                    <a:pt x="119" y="839"/>
                    <a:pt x="122" y="936"/>
                  </a:cubicBezTo>
                  <a:cubicBezTo>
                    <a:pt x="222" y="949"/>
                    <a:pt x="222" y="949"/>
                    <a:pt x="222" y="949"/>
                  </a:cubicBezTo>
                  <a:cubicBezTo>
                    <a:pt x="239" y="859"/>
                    <a:pt x="257" y="770"/>
                    <a:pt x="274" y="680"/>
                  </a:cubicBezTo>
                  <a:cubicBezTo>
                    <a:pt x="299" y="554"/>
                    <a:pt x="323" y="428"/>
                    <a:pt x="348" y="302"/>
                  </a:cubicBezTo>
                  <a:cubicBezTo>
                    <a:pt x="352" y="280"/>
                    <a:pt x="356" y="258"/>
                    <a:pt x="359" y="235"/>
                  </a:cubicBezTo>
                  <a:close/>
                </a:path>
              </a:pathLst>
            </a:custGeom>
            <a:solidFill>
              <a:srgbClr val="2E4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š1íde">
              <a:extLst>
                <a:ext uri="{FF2B5EF4-FFF2-40B4-BE49-F238E27FC236}">
                  <a16:creationId xmlns:a16="http://schemas.microsoft.com/office/drawing/2014/main" id="{D51021F4-8193-42FD-A2AE-3B889412E4D4}"/>
                </a:ext>
              </a:extLst>
            </p:cNvPr>
            <p:cNvSpPr/>
            <p:nvPr/>
          </p:nvSpPr>
          <p:spPr bwMode="auto">
            <a:xfrm>
              <a:off x="6902450" y="3078163"/>
              <a:ext cx="409575" cy="611188"/>
            </a:xfrm>
            <a:custGeom>
              <a:avLst/>
              <a:gdLst>
                <a:gd name="T0" fmla="*/ 0 w 258"/>
                <a:gd name="T1" fmla="*/ 0 h 385"/>
                <a:gd name="T2" fmla="*/ 97 w 258"/>
                <a:gd name="T3" fmla="*/ 51 h 385"/>
                <a:gd name="T4" fmla="*/ 258 w 258"/>
                <a:gd name="T5" fmla="*/ 322 h 385"/>
                <a:gd name="T6" fmla="*/ 153 w 258"/>
                <a:gd name="T7" fmla="*/ 385 h 385"/>
                <a:gd name="T8" fmla="*/ 88 w 258"/>
                <a:gd name="T9" fmla="*/ 249 h 385"/>
                <a:gd name="T10" fmla="*/ 0 w 258"/>
                <a:gd name="T1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385">
                  <a:moveTo>
                    <a:pt x="0" y="0"/>
                  </a:moveTo>
                  <a:lnTo>
                    <a:pt x="97" y="51"/>
                  </a:lnTo>
                  <a:lnTo>
                    <a:pt x="258" y="322"/>
                  </a:lnTo>
                  <a:lnTo>
                    <a:pt x="153" y="385"/>
                  </a:lnTo>
                  <a:lnTo>
                    <a:pt x="88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ṧlïḍe">
              <a:extLst>
                <a:ext uri="{FF2B5EF4-FFF2-40B4-BE49-F238E27FC236}">
                  <a16:creationId xmlns:a16="http://schemas.microsoft.com/office/drawing/2014/main" id="{5736A002-43A0-418A-81E5-3867B5A16FA1}"/>
                </a:ext>
              </a:extLst>
            </p:cNvPr>
            <p:cNvSpPr/>
            <p:nvPr/>
          </p:nvSpPr>
          <p:spPr bwMode="auto">
            <a:xfrm>
              <a:off x="6103938" y="3562350"/>
              <a:ext cx="257175" cy="330200"/>
            </a:xfrm>
            <a:custGeom>
              <a:avLst/>
              <a:gdLst>
                <a:gd name="T0" fmla="*/ 19 w 162"/>
                <a:gd name="T1" fmla="*/ 208 h 208"/>
                <a:gd name="T2" fmla="*/ 83 w 162"/>
                <a:gd name="T3" fmla="*/ 190 h 208"/>
                <a:gd name="T4" fmla="*/ 162 w 162"/>
                <a:gd name="T5" fmla="*/ 36 h 208"/>
                <a:gd name="T6" fmla="*/ 79 w 162"/>
                <a:gd name="T7" fmla="*/ 0 h 208"/>
                <a:gd name="T8" fmla="*/ 0 w 162"/>
                <a:gd name="T9" fmla="*/ 152 h 208"/>
                <a:gd name="T10" fmla="*/ 19 w 162"/>
                <a:gd name="T11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208">
                  <a:moveTo>
                    <a:pt x="19" y="208"/>
                  </a:moveTo>
                  <a:lnTo>
                    <a:pt x="83" y="190"/>
                  </a:lnTo>
                  <a:lnTo>
                    <a:pt x="162" y="36"/>
                  </a:lnTo>
                  <a:lnTo>
                    <a:pt x="79" y="0"/>
                  </a:lnTo>
                  <a:lnTo>
                    <a:pt x="0" y="152"/>
                  </a:lnTo>
                  <a:lnTo>
                    <a:pt x="19" y="208"/>
                  </a:lnTo>
                  <a:close/>
                </a:path>
              </a:pathLst>
            </a:custGeom>
            <a:solidFill>
              <a:srgbClr val="DBC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ṧḷïďé">
              <a:extLst>
                <a:ext uri="{FF2B5EF4-FFF2-40B4-BE49-F238E27FC236}">
                  <a16:creationId xmlns:a16="http://schemas.microsoft.com/office/drawing/2014/main" id="{652F3B90-E957-41AC-9D9E-DEF1EA4D2C96}"/>
                </a:ext>
              </a:extLst>
            </p:cNvPr>
            <p:cNvSpPr/>
            <p:nvPr/>
          </p:nvSpPr>
          <p:spPr bwMode="auto">
            <a:xfrm>
              <a:off x="7450138" y="3367088"/>
              <a:ext cx="390525" cy="392113"/>
            </a:xfrm>
            <a:custGeom>
              <a:avLst/>
              <a:gdLst>
                <a:gd name="T0" fmla="*/ 312 w 324"/>
                <a:gd name="T1" fmla="*/ 184 h 325"/>
                <a:gd name="T2" fmla="*/ 141 w 324"/>
                <a:gd name="T3" fmla="*/ 313 h 325"/>
                <a:gd name="T4" fmla="*/ 12 w 324"/>
                <a:gd name="T5" fmla="*/ 141 h 325"/>
                <a:gd name="T6" fmla="*/ 184 w 324"/>
                <a:gd name="T7" fmla="*/ 12 h 325"/>
                <a:gd name="T8" fmla="*/ 312 w 324"/>
                <a:gd name="T9" fmla="*/ 18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325">
                  <a:moveTo>
                    <a:pt x="312" y="184"/>
                  </a:moveTo>
                  <a:cubicBezTo>
                    <a:pt x="300" y="267"/>
                    <a:pt x="224" y="325"/>
                    <a:pt x="141" y="313"/>
                  </a:cubicBezTo>
                  <a:cubicBezTo>
                    <a:pt x="58" y="301"/>
                    <a:pt x="0" y="224"/>
                    <a:pt x="12" y="141"/>
                  </a:cubicBezTo>
                  <a:cubicBezTo>
                    <a:pt x="24" y="58"/>
                    <a:pt x="101" y="0"/>
                    <a:pt x="184" y="12"/>
                  </a:cubicBezTo>
                  <a:cubicBezTo>
                    <a:pt x="267" y="24"/>
                    <a:pt x="324" y="101"/>
                    <a:pt x="312" y="184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ṣḻïďe">
              <a:extLst>
                <a:ext uri="{FF2B5EF4-FFF2-40B4-BE49-F238E27FC236}">
                  <a16:creationId xmlns:a16="http://schemas.microsoft.com/office/drawing/2014/main" id="{3B3A5F4D-D3A9-45AE-9196-870225B45662}"/>
                </a:ext>
              </a:extLst>
            </p:cNvPr>
            <p:cNvSpPr/>
            <p:nvPr/>
          </p:nvSpPr>
          <p:spPr bwMode="auto">
            <a:xfrm>
              <a:off x="7510463" y="3429000"/>
              <a:ext cx="269875" cy="268288"/>
            </a:xfrm>
            <a:custGeom>
              <a:avLst/>
              <a:gdLst>
                <a:gd name="T0" fmla="*/ 214 w 223"/>
                <a:gd name="T1" fmla="*/ 126 h 223"/>
                <a:gd name="T2" fmla="*/ 96 w 223"/>
                <a:gd name="T3" fmla="*/ 215 h 223"/>
                <a:gd name="T4" fmla="*/ 8 w 223"/>
                <a:gd name="T5" fmla="*/ 96 h 223"/>
                <a:gd name="T6" fmla="*/ 126 w 223"/>
                <a:gd name="T7" fmla="*/ 8 h 223"/>
                <a:gd name="T8" fmla="*/ 214 w 223"/>
                <a:gd name="T9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223">
                  <a:moveTo>
                    <a:pt x="214" y="126"/>
                  </a:moveTo>
                  <a:cubicBezTo>
                    <a:pt x="206" y="183"/>
                    <a:pt x="153" y="223"/>
                    <a:pt x="96" y="215"/>
                  </a:cubicBezTo>
                  <a:cubicBezTo>
                    <a:pt x="39" y="206"/>
                    <a:pt x="0" y="153"/>
                    <a:pt x="8" y="96"/>
                  </a:cubicBezTo>
                  <a:cubicBezTo>
                    <a:pt x="16" y="39"/>
                    <a:pt x="69" y="0"/>
                    <a:pt x="126" y="8"/>
                  </a:cubicBezTo>
                  <a:cubicBezTo>
                    <a:pt x="183" y="16"/>
                    <a:pt x="223" y="69"/>
                    <a:pt x="214" y="126"/>
                  </a:cubicBezTo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Sľiḓe">
              <a:extLst>
                <a:ext uri="{FF2B5EF4-FFF2-40B4-BE49-F238E27FC236}">
                  <a16:creationId xmlns:a16="http://schemas.microsoft.com/office/drawing/2014/main" id="{8BF24CB9-54CC-4851-A2C3-54B83B716C76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ṡḻîďè">
              <a:extLst>
                <a:ext uri="{FF2B5EF4-FFF2-40B4-BE49-F238E27FC236}">
                  <a16:creationId xmlns:a16="http://schemas.microsoft.com/office/drawing/2014/main" id="{A80DA540-50BC-4781-B712-03D90B80891F}"/>
                </a:ext>
              </a:extLst>
            </p:cNvPr>
            <p:cNvSpPr/>
            <p:nvPr/>
          </p:nvSpPr>
          <p:spPr bwMode="auto">
            <a:xfrm>
              <a:off x="7515225" y="3633788"/>
              <a:ext cx="142875" cy="669925"/>
            </a:xfrm>
            <a:custGeom>
              <a:avLst/>
              <a:gdLst>
                <a:gd name="T0" fmla="*/ 30 w 90"/>
                <a:gd name="T1" fmla="*/ 422 h 422"/>
                <a:gd name="T2" fmla="*/ 0 w 90"/>
                <a:gd name="T3" fmla="*/ 418 h 422"/>
                <a:gd name="T4" fmla="*/ 60 w 90"/>
                <a:gd name="T5" fmla="*/ 0 h 422"/>
                <a:gd name="T6" fmla="*/ 90 w 90"/>
                <a:gd name="T7" fmla="*/ 5 h 422"/>
                <a:gd name="T8" fmla="*/ 30 w 90"/>
                <a:gd name="T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22">
                  <a:moveTo>
                    <a:pt x="30" y="422"/>
                  </a:moveTo>
                  <a:lnTo>
                    <a:pt x="0" y="418"/>
                  </a:lnTo>
                  <a:lnTo>
                    <a:pt x="60" y="0"/>
                  </a:lnTo>
                  <a:lnTo>
                    <a:pt x="90" y="5"/>
                  </a:lnTo>
                  <a:lnTo>
                    <a:pt x="30" y="4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í$ľíďé">
              <a:extLst>
                <a:ext uri="{FF2B5EF4-FFF2-40B4-BE49-F238E27FC236}">
                  <a16:creationId xmlns:a16="http://schemas.microsoft.com/office/drawing/2014/main" id="{0AA9DBCD-FB04-4E60-A005-EB8C8B774740}"/>
                </a:ext>
              </a:extLst>
            </p:cNvPr>
            <p:cNvSpPr/>
            <p:nvPr/>
          </p:nvSpPr>
          <p:spPr bwMode="auto">
            <a:xfrm>
              <a:off x="7597775" y="3521075"/>
              <a:ext cx="92075" cy="92075"/>
            </a:xfrm>
            <a:custGeom>
              <a:avLst/>
              <a:gdLst>
                <a:gd name="T0" fmla="*/ 73 w 76"/>
                <a:gd name="T1" fmla="*/ 43 h 76"/>
                <a:gd name="T2" fmla="*/ 33 w 76"/>
                <a:gd name="T3" fmla="*/ 73 h 76"/>
                <a:gd name="T4" fmla="*/ 3 w 76"/>
                <a:gd name="T5" fmla="*/ 33 h 76"/>
                <a:gd name="T6" fmla="*/ 43 w 76"/>
                <a:gd name="T7" fmla="*/ 3 h 76"/>
                <a:gd name="T8" fmla="*/ 73 w 76"/>
                <a:gd name="T9" fmla="*/ 4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6">
                  <a:moveTo>
                    <a:pt x="73" y="43"/>
                  </a:moveTo>
                  <a:cubicBezTo>
                    <a:pt x="70" y="63"/>
                    <a:pt x="52" y="76"/>
                    <a:pt x="33" y="73"/>
                  </a:cubicBezTo>
                  <a:cubicBezTo>
                    <a:pt x="13" y="70"/>
                    <a:pt x="0" y="52"/>
                    <a:pt x="3" y="33"/>
                  </a:cubicBezTo>
                  <a:cubicBezTo>
                    <a:pt x="5" y="13"/>
                    <a:pt x="23" y="0"/>
                    <a:pt x="43" y="3"/>
                  </a:cubicBezTo>
                  <a:cubicBezTo>
                    <a:pt x="63" y="5"/>
                    <a:pt x="76" y="24"/>
                    <a:pt x="73" y="43"/>
                  </a:cubicBezTo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ṩ1ïḑé">
              <a:extLst>
                <a:ext uri="{FF2B5EF4-FFF2-40B4-BE49-F238E27FC236}">
                  <a16:creationId xmlns:a16="http://schemas.microsoft.com/office/drawing/2014/main" id="{45659C61-CD57-42BA-ABB0-B7FD278CE33D}"/>
                </a:ext>
              </a:extLst>
            </p:cNvPr>
            <p:cNvSpPr/>
            <p:nvPr/>
          </p:nvSpPr>
          <p:spPr bwMode="auto">
            <a:xfrm>
              <a:off x="7673975" y="3740150"/>
              <a:ext cx="12700" cy="3175"/>
            </a:xfrm>
            <a:custGeom>
              <a:avLst/>
              <a:gdLst>
                <a:gd name="T0" fmla="*/ 11 w 11"/>
                <a:gd name="T1" fmla="*/ 0 h 2"/>
                <a:gd name="T2" fmla="*/ 0 w 11"/>
                <a:gd name="T3" fmla="*/ 2 h 2"/>
                <a:gd name="T4" fmla="*/ 11 w 11"/>
                <a:gd name="T5" fmla="*/ 0 h 2"/>
                <a:gd name="T6" fmla="*/ 11 w 1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">
                  <a:moveTo>
                    <a:pt x="11" y="0"/>
                  </a:moveTo>
                  <a:cubicBezTo>
                    <a:pt x="8" y="1"/>
                    <a:pt x="4" y="2"/>
                    <a:pt x="0" y="2"/>
                  </a:cubicBezTo>
                  <a:cubicBezTo>
                    <a:pt x="4" y="2"/>
                    <a:pt x="8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ṥ1íḑè">
              <a:extLst>
                <a:ext uri="{FF2B5EF4-FFF2-40B4-BE49-F238E27FC236}">
                  <a16:creationId xmlns:a16="http://schemas.microsoft.com/office/drawing/2014/main" id="{F6A988E7-0156-4DDD-A9BD-4B22CFE77949}"/>
                </a:ext>
              </a:extLst>
            </p:cNvPr>
            <p:cNvSpPr/>
            <p:nvPr/>
          </p:nvSpPr>
          <p:spPr bwMode="auto">
            <a:xfrm>
              <a:off x="7643813" y="3683000"/>
              <a:ext cx="42863" cy="61913"/>
            </a:xfrm>
            <a:custGeom>
              <a:avLst/>
              <a:gdLst>
                <a:gd name="T0" fmla="*/ 31 w 36"/>
                <a:gd name="T1" fmla="*/ 0 h 52"/>
                <a:gd name="T2" fmla="*/ 7 w 36"/>
                <a:gd name="T3" fmla="*/ 5 h 52"/>
                <a:gd name="T4" fmla="*/ 0 w 36"/>
                <a:gd name="T5" fmla="*/ 52 h 52"/>
                <a:gd name="T6" fmla="*/ 25 w 36"/>
                <a:gd name="T7" fmla="*/ 50 h 52"/>
                <a:gd name="T8" fmla="*/ 36 w 36"/>
                <a:gd name="T9" fmla="*/ 48 h 52"/>
                <a:gd name="T10" fmla="*/ 31 w 36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2">
                  <a:moveTo>
                    <a:pt x="31" y="0"/>
                  </a:moveTo>
                  <a:cubicBezTo>
                    <a:pt x="23" y="3"/>
                    <a:pt x="15" y="4"/>
                    <a:pt x="7" y="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13" y="52"/>
                    <a:pt x="25" y="50"/>
                  </a:cubicBezTo>
                  <a:cubicBezTo>
                    <a:pt x="29" y="50"/>
                    <a:pt x="33" y="49"/>
                    <a:pt x="36" y="48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ṧľïḑé">
              <a:extLst>
                <a:ext uri="{FF2B5EF4-FFF2-40B4-BE49-F238E27FC236}">
                  <a16:creationId xmlns:a16="http://schemas.microsoft.com/office/drawing/2014/main" id="{8D330E5A-146C-4272-95C2-A487ADD3948A}"/>
                </a:ext>
              </a:extLst>
            </p:cNvPr>
            <p:cNvSpPr/>
            <p:nvPr/>
          </p:nvSpPr>
          <p:spPr bwMode="auto">
            <a:xfrm>
              <a:off x="7651750" y="3598863"/>
              <a:ext cx="28575" cy="90488"/>
            </a:xfrm>
            <a:custGeom>
              <a:avLst/>
              <a:gdLst>
                <a:gd name="T0" fmla="*/ 16 w 24"/>
                <a:gd name="T1" fmla="*/ 0 h 74"/>
                <a:gd name="T2" fmla="*/ 10 w 24"/>
                <a:gd name="T3" fmla="*/ 4 h 74"/>
                <a:gd name="T4" fmla="*/ 3 w 24"/>
                <a:gd name="T5" fmla="*/ 48 h 74"/>
                <a:gd name="T6" fmla="*/ 0 w 24"/>
                <a:gd name="T7" fmla="*/ 74 h 74"/>
                <a:gd name="T8" fmla="*/ 24 w 24"/>
                <a:gd name="T9" fmla="*/ 69 h 74"/>
                <a:gd name="T10" fmla="*/ 16 w 24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74">
                  <a:moveTo>
                    <a:pt x="16" y="0"/>
                  </a:moveTo>
                  <a:cubicBezTo>
                    <a:pt x="14" y="2"/>
                    <a:pt x="12" y="3"/>
                    <a:pt x="10" y="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8" y="73"/>
                    <a:pt x="16" y="72"/>
                    <a:pt x="24" y="69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íṥḻiḑe">
              <a:extLst>
                <a:ext uri="{FF2B5EF4-FFF2-40B4-BE49-F238E27FC236}">
                  <a16:creationId xmlns:a16="http://schemas.microsoft.com/office/drawing/2014/main" id="{AFBF9536-AB8E-4D9B-893D-DD9895AD8133}"/>
                </a:ext>
              </a:extLst>
            </p:cNvPr>
            <p:cNvSpPr/>
            <p:nvPr/>
          </p:nvSpPr>
          <p:spPr bwMode="auto">
            <a:xfrm>
              <a:off x="7643813" y="3657600"/>
              <a:ext cx="11113" cy="87313"/>
            </a:xfrm>
            <a:custGeom>
              <a:avLst/>
              <a:gdLst>
                <a:gd name="T0" fmla="*/ 10 w 10"/>
                <a:gd name="T1" fmla="*/ 0 h 73"/>
                <a:gd name="T2" fmla="*/ 0 w 10"/>
                <a:gd name="T3" fmla="*/ 73 h 73"/>
                <a:gd name="T4" fmla="*/ 0 w 10"/>
                <a:gd name="T5" fmla="*/ 73 h 73"/>
                <a:gd name="T6" fmla="*/ 7 w 10"/>
                <a:gd name="T7" fmla="*/ 26 h 73"/>
                <a:gd name="T8" fmla="*/ 10 w 10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3">
                  <a:moveTo>
                    <a:pt x="10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ṩḻíḑé">
              <a:extLst>
                <a:ext uri="{FF2B5EF4-FFF2-40B4-BE49-F238E27FC236}">
                  <a16:creationId xmlns:a16="http://schemas.microsoft.com/office/drawing/2014/main" id="{BAE004E2-A7B2-46D4-B1FD-61202A21038D}"/>
                </a:ext>
              </a:extLst>
            </p:cNvPr>
            <p:cNvSpPr/>
            <p:nvPr/>
          </p:nvSpPr>
          <p:spPr bwMode="auto">
            <a:xfrm>
              <a:off x="7664450" y="3598863"/>
              <a:ext cx="6350" cy="4763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2E31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ṣḷíḋè">
              <a:extLst>
                <a:ext uri="{FF2B5EF4-FFF2-40B4-BE49-F238E27FC236}">
                  <a16:creationId xmlns:a16="http://schemas.microsoft.com/office/drawing/2014/main" id="{13BFF7A5-A514-4E98-98B4-12494777EA9C}"/>
                </a:ext>
              </a:extLst>
            </p:cNvPr>
            <p:cNvSpPr/>
            <p:nvPr/>
          </p:nvSpPr>
          <p:spPr bwMode="auto">
            <a:xfrm>
              <a:off x="6540500" y="4064000"/>
              <a:ext cx="1068388" cy="766763"/>
            </a:xfrm>
            <a:custGeom>
              <a:avLst/>
              <a:gdLst>
                <a:gd name="T0" fmla="*/ 3 w 886"/>
                <a:gd name="T1" fmla="*/ 163 h 636"/>
                <a:gd name="T2" fmla="*/ 562 w 886"/>
                <a:gd name="T3" fmla="*/ 582 h 636"/>
                <a:gd name="T4" fmla="*/ 865 w 886"/>
                <a:gd name="T5" fmla="*/ 160 h 636"/>
                <a:gd name="T6" fmla="*/ 882 w 886"/>
                <a:gd name="T7" fmla="*/ 75 h 636"/>
                <a:gd name="T8" fmla="*/ 800 w 886"/>
                <a:gd name="T9" fmla="*/ 120 h 636"/>
                <a:gd name="T10" fmla="*/ 781 w 886"/>
                <a:gd name="T11" fmla="*/ 195 h 636"/>
                <a:gd name="T12" fmla="*/ 780 w 886"/>
                <a:gd name="T13" fmla="*/ 197 h 636"/>
                <a:gd name="T14" fmla="*/ 765 w 886"/>
                <a:gd name="T15" fmla="*/ 243 h 636"/>
                <a:gd name="T16" fmla="*/ 684 w 886"/>
                <a:gd name="T17" fmla="*/ 403 h 636"/>
                <a:gd name="T18" fmla="*/ 666 w 886"/>
                <a:gd name="T19" fmla="*/ 426 h 636"/>
                <a:gd name="T20" fmla="*/ 620 w 886"/>
                <a:gd name="T21" fmla="*/ 474 h 636"/>
                <a:gd name="T22" fmla="*/ 607 w 886"/>
                <a:gd name="T23" fmla="*/ 485 h 636"/>
                <a:gd name="T24" fmla="*/ 569 w 886"/>
                <a:gd name="T25" fmla="*/ 511 h 636"/>
                <a:gd name="T26" fmla="*/ 540 w 886"/>
                <a:gd name="T27" fmla="*/ 526 h 636"/>
                <a:gd name="T28" fmla="*/ 487 w 886"/>
                <a:gd name="T29" fmla="*/ 543 h 636"/>
                <a:gd name="T30" fmla="*/ 482 w 886"/>
                <a:gd name="T31" fmla="*/ 544 h 636"/>
                <a:gd name="T32" fmla="*/ 470 w 886"/>
                <a:gd name="T33" fmla="*/ 546 h 636"/>
                <a:gd name="T34" fmla="*/ 418 w 886"/>
                <a:gd name="T35" fmla="*/ 550 h 636"/>
                <a:gd name="T36" fmla="*/ 418 w 886"/>
                <a:gd name="T37" fmla="*/ 550 h 636"/>
                <a:gd name="T38" fmla="*/ 413 w 886"/>
                <a:gd name="T39" fmla="*/ 550 h 636"/>
                <a:gd name="T40" fmla="*/ 395 w 886"/>
                <a:gd name="T41" fmla="*/ 549 h 636"/>
                <a:gd name="T42" fmla="*/ 336 w 886"/>
                <a:gd name="T43" fmla="*/ 540 h 636"/>
                <a:gd name="T44" fmla="*/ 318 w 886"/>
                <a:gd name="T45" fmla="*/ 536 h 636"/>
                <a:gd name="T46" fmla="*/ 268 w 886"/>
                <a:gd name="T47" fmla="*/ 518 h 636"/>
                <a:gd name="T48" fmla="*/ 267 w 886"/>
                <a:gd name="T49" fmla="*/ 517 h 636"/>
                <a:gd name="T50" fmla="*/ 249 w 886"/>
                <a:gd name="T51" fmla="*/ 508 h 636"/>
                <a:gd name="T52" fmla="*/ 221 w 886"/>
                <a:gd name="T53" fmla="*/ 491 h 636"/>
                <a:gd name="T54" fmla="*/ 181 w 886"/>
                <a:gd name="T55" fmla="*/ 456 h 636"/>
                <a:gd name="T56" fmla="*/ 163 w 886"/>
                <a:gd name="T57" fmla="*/ 435 h 636"/>
                <a:gd name="T58" fmla="*/ 114 w 886"/>
                <a:gd name="T59" fmla="*/ 351 h 636"/>
                <a:gd name="T60" fmla="*/ 112 w 886"/>
                <a:gd name="T61" fmla="*/ 347 h 636"/>
                <a:gd name="T62" fmla="*/ 102 w 886"/>
                <a:gd name="T63" fmla="*/ 317 h 636"/>
                <a:gd name="T64" fmla="*/ 78 w 886"/>
                <a:gd name="T65" fmla="*/ 195 h 636"/>
                <a:gd name="T66" fmla="*/ 75 w 886"/>
                <a:gd name="T67" fmla="*/ 166 h 636"/>
                <a:gd name="T68" fmla="*/ 74 w 886"/>
                <a:gd name="T69" fmla="*/ 124 h 636"/>
                <a:gd name="T70" fmla="*/ 82 w 886"/>
                <a:gd name="T71" fmla="*/ 12 h 636"/>
                <a:gd name="T72" fmla="*/ 9 w 886"/>
                <a:gd name="T73" fmla="*/ 0 h 636"/>
                <a:gd name="T74" fmla="*/ 335 w 886"/>
                <a:gd name="T75" fmla="*/ 54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6" h="636">
                  <a:moveTo>
                    <a:pt x="9" y="0"/>
                  </a:moveTo>
                  <a:cubicBezTo>
                    <a:pt x="1" y="54"/>
                    <a:pt x="0" y="109"/>
                    <a:pt x="3" y="163"/>
                  </a:cubicBezTo>
                  <a:cubicBezTo>
                    <a:pt x="9" y="276"/>
                    <a:pt x="35" y="401"/>
                    <a:pt x="131" y="495"/>
                  </a:cubicBezTo>
                  <a:cubicBezTo>
                    <a:pt x="233" y="595"/>
                    <a:pt x="421" y="636"/>
                    <a:pt x="562" y="582"/>
                  </a:cubicBezTo>
                  <a:cubicBezTo>
                    <a:pt x="696" y="530"/>
                    <a:pt x="770" y="416"/>
                    <a:pt x="816" y="310"/>
                  </a:cubicBezTo>
                  <a:cubicBezTo>
                    <a:pt x="837" y="261"/>
                    <a:pt x="853" y="211"/>
                    <a:pt x="865" y="160"/>
                  </a:cubicBezTo>
                  <a:cubicBezTo>
                    <a:pt x="872" y="133"/>
                    <a:pt x="878" y="106"/>
                    <a:pt x="881" y="79"/>
                  </a:cubicBezTo>
                  <a:cubicBezTo>
                    <a:pt x="881" y="78"/>
                    <a:pt x="881" y="76"/>
                    <a:pt x="882" y="75"/>
                  </a:cubicBezTo>
                  <a:cubicBezTo>
                    <a:pt x="886" y="39"/>
                    <a:pt x="813" y="31"/>
                    <a:pt x="809" y="66"/>
                  </a:cubicBezTo>
                  <a:cubicBezTo>
                    <a:pt x="807" y="85"/>
                    <a:pt x="804" y="103"/>
                    <a:pt x="800" y="120"/>
                  </a:cubicBezTo>
                  <a:cubicBezTo>
                    <a:pt x="796" y="140"/>
                    <a:pt x="791" y="159"/>
                    <a:pt x="786" y="178"/>
                  </a:cubicBezTo>
                  <a:cubicBezTo>
                    <a:pt x="784" y="184"/>
                    <a:pt x="783" y="190"/>
                    <a:pt x="781" y="195"/>
                  </a:cubicBezTo>
                  <a:cubicBezTo>
                    <a:pt x="781" y="196"/>
                    <a:pt x="781" y="196"/>
                    <a:pt x="781" y="197"/>
                  </a:cubicBezTo>
                  <a:cubicBezTo>
                    <a:pt x="780" y="197"/>
                    <a:pt x="780" y="197"/>
                    <a:pt x="780" y="197"/>
                  </a:cubicBezTo>
                  <a:cubicBezTo>
                    <a:pt x="779" y="201"/>
                    <a:pt x="778" y="204"/>
                    <a:pt x="777" y="207"/>
                  </a:cubicBezTo>
                  <a:cubicBezTo>
                    <a:pt x="774" y="219"/>
                    <a:pt x="769" y="231"/>
                    <a:pt x="765" y="243"/>
                  </a:cubicBezTo>
                  <a:cubicBezTo>
                    <a:pt x="746" y="296"/>
                    <a:pt x="722" y="347"/>
                    <a:pt x="689" y="395"/>
                  </a:cubicBezTo>
                  <a:cubicBezTo>
                    <a:pt x="687" y="398"/>
                    <a:pt x="685" y="401"/>
                    <a:pt x="684" y="403"/>
                  </a:cubicBezTo>
                  <a:cubicBezTo>
                    <a:pt x="686" y="400"/>
                    <a:pt x="681" y="406"/>
                    <a:pt x="680" y="408"/>
                  </a:cubicBezTo>
                  <a:cubicBezTo>
                    <a:pt x="676" y="414"/>
                    <a:pt x="671" y="420"/>
                    <a:pt x="666" y="426"/>
                  </a:cubicBezTo>
                  <a:cubicBezTo>
                    <a:pt x="656" y="438"/>
                    <a:pt x="646" y="449"/>
                    <a:pt x="636" y="459"/>
                  </a:cubicBezTo>
                  <a:cubicBezTo>
                    <a:pt x="631" y="464"/>
                    <a:pt x="626" y="469"/>
                    <a:pt x="620" y="474"/>
                  </a:cubicBezTo>
                  <a:cubicBezTo>
                    <a:pt x="618" y="476"/>
                    <a:pt x="615" y="478"/>
                    <a:pt x="613" y="481"/>
                  </a:cubicBezTo>
                  <a:cubicBezTo>
                    <a:pt x="611" y="482"/>
                    <a:pt x="609" y="483"/>
                    <a:pt x="607" y="485"/>
                  </a:cubicBezTo>
                  <a:cubicBezTo>
                    <a:pt x="607" y="485"/>
                    <a:pt x="606" y="486"/>
                    <a:pt x="605" y="487"/>
                  </a:cubicBezTo>
                  <a:cubicBezTo>
                    <a:pt x="593" y="495"/>
                    <a:pt x="582" y="503"/>
                    <a:pt x="569" y="511"/>
                  </a:cubicBezTo>
                  <a:cubicBezTo>
                    <a:pt x="563" y="514"/>
                    <a:pt x="556" y="518"/>
                    <a:pt x="550" y="521"/>
                  </a:cubicBezTo>
                  <a:cubicBezTo>
                    <a:pt x="547" y="523"/>
                    <a:pt x="544" y="524"/>
                    <a:pt x="540" y="526"/>
                  </a:cubicBezTo>
                  <a:cubicBezTo>
                    <a:pt x="549" y="522"/>
                    <a:pt x="535" y="528"/>
                    <a:pt x="533" y="529"/>
                  </a:cubicBezTo>
                  <a:cubicBezTo>
                    <a:pt x="518" y="534"/>
                    <a:pt x="503" y="539"/>
                    <a:pt x="487" y="543"/>
                  </a:cubicBezTo>
                  <a:cubicBezTo>
                    <a:pt x="486" y="543"/>
                    <a:pt x="484" y="543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78" y="545"/>
                    <a:pt x="474" y="545"/>
                    <a:pt x="470" y="546"/>
                  </a:cubicBezTo>
                  <a:cubicBezTo>
                    <a:pt x="461" y="547"/>
                    <a:pt x="452" y="548"/>
                    <a:pt x="443" y="549"/>
                  </a:cubicBezTo>
                  <a:cubicBezTo>
                    <a:pt x="435" y="549"/>
                    <a:pt x="426" y="550"/>
                    <a:pt x="418" y="550"/>
                  </a:cubicBezTo>
                  <a:cubicBezTo>
                    <a:pt x="417" y="550"/>
                    <a:pt x="416" y="550"/>
                    <a:pt x="415" y="550"/>
                  </a:cubicBezTo>
                  <a:cubicBezTo>
                    <a:pt x="416" y="550"/>
                    <a:pt x="417" y="550"/>
                    <a:pt x="418" y="550"/>
                  </a:cubicBezTo>
                  <a:cubicBezTo>
                    <a:pt x="416" y="550"/>
                    <a:pt x="415" y="550"/>
                    <a:pt x="414" y="550"/>
                  </a:cubicBezTo>
                  <a:cubicBezTo>
                    <a:pt x="413" y="550"/>
                    <a:pt x="413" y="550"/>
                    <a:pt x="413" y="550"/>
                  </a:cubicBezTo>
                  <a:cubicBezTo>
                    <a:pt x="413" y="550"/>
                    <a:pt x="412" y="550"/>
                    <a:pt x="412" y="550"/>
                  </a:cubicBezTo>
                  <a:cubicBezTo>
                    <a:pt x="406" y="549"/>
                    <a:pt x="401" y="549"/>
                    <a:pt x="395" y="549"/>
                  </a:cubicBezTo>
                  <a:cubicBezTo>
                    <a:pt x="375" y="547"/>
                    <a:pt x="356" y="544"/>
                    <a:pt x="336" y="540"/>
                  </a:cubicBezTo>
                  <a:cubicBezTo>
                    <a:pt x="336" y="540"/>
                    <a:pt x="336" y="540"/>
                    <a:pt x="336" y="540"/>
                  </a:cubicBezTo>
                  <a:cubicBezTo>
                    <a:pt x="334" y="540"/>
                    <a:pt x="332" y="539"/>
                    <a:pt x="330" y="539"/>
                  </a:cubicBezTo>
                  <a:cubicBezTo>
                    <a:pt x="326" y="538"/>
                    <a:pt x="322" y="537"/>
                    <a:pt x="318" y="536"/>
                  </a:cubicBezTo>
                  <a:cubicBezTo>
                    <a:pt x="308" y="533"/>
                    <a:pt x="299" y="530"/>
                    <a:pt x="290" y="526"/>
                  </a:cubicBezTo>
                  <a:cubicBezTo>
                    <a:pt x="282" y="524"/>
                    <a:pt x="275" y="521"/>
                    <a:pt x="268" y="518"/>
                  </a:cubicBezTo>
                  <a:cubicBezTo>
                    <a:pt x="268" y="518"/>
                    <a:pt x="268" y="518"/>
                    <a:pt x="268" y="518"/>
                  </a:cubicBezTo>
                  <a:cubicBezTo>
                    <a:pt x="267" y="517"/>
                    <a:pt x="267" y="517"/>
                    <a:pt x="267" y="517"/>
                  </a:cubicBezTo>
                  <a:cubicBezTo>
                    <a:pt x="266" y="517"/>
                    <a:pt x="264" y="516"/>
                    <a:pt x="263" y="515"/>
                  </a:cubicBezTo>
                  <a:cubicBezTo>
                    <a:pt x="258" y="513"/>
                    <a:pt x="254" y="511"/>
                    <a:pt x="249" y="508"/>
                  </a:cubicBezTo>
                  <a:cubicBezTo>
                    <a:pt x="243" y="505"/>
                    <a:pt x="237" y="501"/>
                    <a:pt x="231" y="497"/>
                  </a:cubicBezTo>
                  <a:cubicBezTo>
                    <a:pt x="227" y="495"/>
                    <a:pt x="224" y="493"/>
                    <a:pt x="221" y="491"/>
                  </a:cubicBezTo>
                  <a:cubicBezTo>
                    <a:pt x="219" y="489"/>
                    <a:pt x="210" y="483"/>
                    <a:pt x="213" y="484"/>
                  </a:cubicBezTo>
                  <a:cubicBezTo>
                    <a:pt x="201" y="475"/>
                    <a:pt x="191" y="466"/>
                    <a:pt x="181" y="456"/>
                  </a:cubicBezTo>
                  <a:cubicBezTo>
                    <a:pt x="176" y="451"/>
                    <a:pt x="172" y="446"/>
                    <a:pt x="167" y="441"/>
                  </a:cubicBezTo>
                  <a:cubicBezTo>
                    <a:pt x="166" y="440"/>
                    <a:pt x="160" y="432"/>
                    <a:pt x="163" y="435"/>
                  </a:cubicBezTo>
                  <a:cubicBezTo>
                    <a:pt x="160" y="432"/>
                    <a:pt x="158" y="429"/>
                    <a:pt x="156" y="426"/>
                  </a:cubicBezTo>
                  <a:cubicBezTo>
                    <a:pt x="139" y="402"/>
                    <a:pt x="125" y="377"/>
                    <a:pt x="114" y="351"/>
                  </a:cubicBezTo>
                  <a:cubicBezTo>
                    <a:pt x="114" y="350"/>
                    <a:pt x="113" y="350"/>
                    <a:pt x="113" y="349"/>
                  </a:cubicBezTo>
                  <a:cubicBezTo>
                    <a:pt x="113" y="349"/>
                    <a:pt x="113" y="348"/>
                    <a:pt x="112" y="347"/>
                  </a:cubicBezTo>
                  <a:cubicBezTo>
                    <a:pt x="111" y="344"/>
                    <a:pt x="110" y="341"/>
                    <a:pt x="109" y="338"/>
                  </a:cubicBezTo>
                  <a:cubicBezTo>
                    <a:pt x="106" y="331"/>
                    <a:pt x="104" y="324"/>
                    <a:pt x="102" y="317"/>
                  </a:cubicBezTo>
                  <a:cubicBezTo>
                    <a:pt x="97" y="303"/>
                    <a:pt x="94" y="290"/>
                    <a:pt x="91" y="276"/>
                  </a:cubicBezTo>
                  <a:cubicBezTo>
                    <a:pt x="84" y="249"/>
                    <a:pt x="80" y="222"/>
                    <a:pt x="78" y="195"/>
                  </a:cubicBezTo>
                  <a:cubicBezTo>
                    <a:pt x="77" y="188"/>
                    <a:pt x="76" y="182"/>
                    <a:pt x="76" y="176"/>
                  </a:cubicBezTo>
                  <a:cubicBezTo>
                    <a:pt x="76" y="173"/>
                    <a:pt x="76" y="169"/>
                    <a:pt x="75" y="166"/>
                  </a:cubicBezTo>
                  <a:cubicBezTo>
                    <a:pt x="76" y="175"/>
                    <a:pt x="75" y="163"/>
                    <a:pt x="75" y="161"/>
                  </a:cubicBezTo>
                  <a:cubicBezTo>
                    <a:pt x="75" y="149"/>
                    <a:pt x="74" y="137"/>
                    <a:pt x="74" y="124"/>
                  </a:cubicBezTo>
                  <a:cubicBezTo>
                    <a:pt x="74" y="103"/>
                    <a:pt x="75" y="81"/>
                    <a:pt x="77" y="60"/>
                  </a:cubicBezTo>
                  <a:cubicBezTo>
                    <a:pt x="78" y="44"/>
                    <a:pt x="80" y="28"/>
                    <a:pt x="82" y="12"/>
                  </a:cubicBezTo>
                  <a:cubicBezTo>
                    <a:pt x="71" y="13"/>
                    <a:pt x="59" y="12"/>
                    <a:pt x="49" y="10"/>
                  </a:cubicBezTo>
                  <a:cubicBezTo>
                    <a:pt x="36" y="8"/>
                    <a:pt x="22" y="5"/>
                    <a:pt x="9" y="0"/>
                  </a:cubicBezTo>
                  <a:moveTo>
                    <a:pt x="335" y="540"/>
                  </a:moveTo>
                  <a:cubicBezTo>
                    <a:pt x="334" y="540"/>
                    <a:pt x="330" y="539"/>
                    <a:pt x="335" y="540"/>
                  </a:cubicBezTo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i$ľîḍè">
              <a:extLst>
                <a:ext uri="{FF2B5EF4-FFF2-40B4-BE49-F238E27FC236}">
                  <a16:creationId xmlns:a16="http://schemas.microsoft.com/office/drawing/2014/main" id="{01F67F03-2C13-4535-9551-B93954DDE284}"/>
                </a:ext>
              </a:extLst>
            </p:cNvPr>
            <p:cNvSpPr/>
            <p:nvPr/>
          </p:nvSpPr>
          <p:spPr bwMode="auto">
            <a:xfrm>
              <a:off x="6335713" y="3033713"/>
              <a:ext cx="250825" cy="425450"/>
            </a:xfrm>
            <a:custGeom>
              <a:avLst/>
              <a:gdLst>
                <a:gd name="T0" fmla="*/ 188 w 208"/>
                <a:gd name="T1" fmla="*/ 19 h 354"/>
                <a:gd name="T2" fmla="*/ 67 w 208"/>
                <a:gd name="T3" fmla="*/ 1 h 354"/>
                <a:gd name="T4" fmla="*/ 49 w 208"/>
                <a:gd name="T5" fmla="*/ 15 h 354"/>
                <a:gd name="T6" fmla="*/ 9 w 208"/>
                <a:gd name="T7" fmla="*/ 290 h 354"/>
                <a:gd name="T8" fmla="*/ 3 w 208"/>
                <a:gd name="T9" fmla="*/ 329 h 354"/>
                <a:gd name="T10" fmla="*/ 35 w 208"/>
                <a:gd name="T11" fmla="*/ 334 h 354"/>
                <a:gd name="T12" fmla="*/ 75 w 208"/>
                <a:gd name="T13" fmla="*/ 58 h 354"/>
                <a:gd name="T14" fmla="*/ 78 w 208"/>
                <a:gd name="T15" fmla="*/ 35 h 354"/>
                <a:gd name="T16" fmla="*/ 183 w 208"/>
                <a:gd name="T17" fmla="*/ 51 h 354"/>
                <a:gd name="T18" fmla="*/ 188 w 208"/>
                <a:gd name="T19" fmla="*/ 1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354">
                  <a:moveTo>
                    <a:pt x="188" y="19"/>
                  </a:moveTo>
                  <a:cubicBezTo>
                    <a:pt x="147" y="13"/>
                    <a:pt x="107" y="7"/>
                    <a:pt x="67" y="1"/>
                  </a:cubicBezTo>
                  <a:cubicBezTo>
                    <a:pt x="58" y="0"/>
                    <a:pt x="50" y="6"/>
                    <a:pt x="49" y="15"/>
                  </a:cubicBezTo>
                  <a:cubicBezTo>
                    <a:pt x="35" y="107"/>
                    <a:pt x="22" y="199"/>
                    <a:pt x="9" y="290"/>
                  </a:cubicBezTo>
                  <a:cubicBezTo>
                    <a:pt x="7" y="303"/>
                    <a:pt x="5" y="316"/>
                    <a:pt x="3" y="329"/>
                  </a:cubicBezTo>
                  <a:cubicBezTo>
                    <a:pt x="0" y="350"/>
                    <a:pt x="32" y="354"/>
                    <a:pt x="35" y="334"/>
                  </a:cubicBezTo>
                  <a:cubicBezTo>
                    <a:pt x="48" y="242"/>
                    <a:pt x="62" y="150"/>
                    <a:pt x="75" y="58"/>
                  </a:cubicBezTo>
                  <a:cubicBezTo>
                    <a:pt x="76" y="51"/>
                    <a:pt x="77" y="43"/>
                    <a:pt x="78" y="35"/>
                  </a:cubicBezTo>
                  <a:cubicBezTo>
                    <a:pt x="113" y="40"/>
                    <a:pt x="148" y="46"/>
                    <a:pt x="183" y="51"/>
                  </a:cubicBezTo>
                  <a:cubicBezTo>
                    <a:pt x="204" y="54"/>
                    <a:pt x="208" y="22"/>
                    <a:pt x="188" y="19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šḷîḍe">
              <a:extLst>
                <a:ext uri="{FF2B5EF4-FFF2-40B4-BE49-F238E27FC236}">
                  <a16:creationId xmlns:a16="http://schemas.microsoft.com/office/drawing/2014/main" id="{6DE03E50-2B45-4D4C-A3F9-FB96AA331FF1}"/>
                </a:ext>
              </a:extLst>
            </p:cNvPr>
            <p:cNvSpPr/>
            <p:nvPr/>
          </p:nvSpPr>
          <p:spPr bwMode="auto">
            <a:xfrm>
              <a:off x="6565900" y="3036888"/>
              <a:ext cx="85725" cy="85725"/>
            </a:xfrm>
            <a:custGeom>
              <a:avLst/>
              <a:gdLst>
                <a:gd name="T0" fmla="*/ 41 w 71"/>
                <a:gd name="T1" fmla="*/ 70 h 71"/>
                <a:gd name="T2" fmla="*/ 0 w 71"/>
                <a:gd name="T3" fmla="*/ 64 h 71"/>
                <a:gd name="T4" fmla="*/ 9 w 71"/>
                <a:gd name="T5" fmla="*/ 0 h 71"/>
                <a:gd name="T6" fmla="*/ 50 w 71"/>
                <a:gd name="T7" fmla="*/ 6 h 71"/>
                <a:gd name="T8" fmla="*/ 70 w 71"/>
                <a:gd name="T9" fmla="*/ 32 h 71"/>
                <a:gd name="T10" fmla="*/ 67 w 71"/>
                <a:gd name="T11" fmla="*/ 50 h 71"/>
                <a:gd name="T12" fmla="*/ 41 w 71"/>
                <a:gd name="T13" fmla="*/ 7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1">
                  <a:moveTo>
                    <a:pt x="41" y="7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63" y="8"/>
                    <a:pt x="71" y="20"/>
                    <a:pt x="70" y="32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5" y="63"/>
                    <a:pt x="53" y="71"/>
                    <a:pt x="41" y="70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ṩļîďè">
              <a:extLst>
                <a:ext uri="{FF2B5EF4-FFF2-40B4-BE49-F238E27FC236}">
                  <a16:creationId xmlns:a16="http://schemas.microsoft.com/office/drawing/2014/main" id="{868053DC-AD71-450D-AF92-88EE7AB1359D}"/>
                </a:ext>
              </a:extLst>
            </p:cNvPr>
            <p:cNvSpPr/>
            <p:nvPr/>
          </p:nvSpPr>
          <p:spPr bwMode="auto">
            <a:xfrm>
              <a:off x="6497638" y="3024188"/>
              <a:ext cx="85725" cy="95250"/>
            </a:xfrm>
            <a:custGeom>
              <a:avLst/>
              <a:gdLst>
                <a:gd name="T0" fmla="*/ 60 w 71"/>
                <a:gd name="T1" fmla="*/ 80 h 80"/>
                <a:gd name="T2" fmla="*/ 25 w 71"/>
                <a:gd name="T3" fmla="*/ 75 h 80"/>
                <a:gd name="T4" fmla="*/ 2 w 71"/>
                <a:gd name="T5" fmla="*/ 45 h 80"/>
                <a:gd name="T6" fmla="*/ 5 w 71"/>
                <a:gd name="T7" fmla="*/ 25 h 80"/>
                <a:gd name="T8" fmla="*/ 35 w 71"/>
                <a:gd name="T9" fmla="*/ 2 h 80"/>
                <a:gd name="T10" fmla="*/ 71 w 71"/>
                <a:gd name="T11" fmla="*/ 7 h 80"/>
                <a:gd name="T12" fmla="*/ 60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60" y="80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10" y="73"/>
                    <a:pt x="0" y="60"/>
                    <a:pt x="2" y="4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10"/>
                    <a:pt x="21" y="0"/>
                    <a:pt x="35" y="2"/>
                  </a:cubicBezTo>
                  <a:cubicBezTo>
                    <a:pt x="71" y="7"/>
                    <a:pt x="71" y="7"/>
                    <a:pt x="71" y="7"/>
                  </a:cubicBezTo>
                  <a:lnTo>
                    <a:pt x="60" y="80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ṥḷiḍe">
              <a:extLst>
                <a:ext uri="{FF2B5EF4-FFF2-40B4-BE49-F238E27FC236}">
                  <a16:creationId xmlns:a16="http://schemas.microsoft.com/office/drawing/2014/main" id="{83D10149-5889-4710-B4E1-57029378B081}"/>
                </a:ext>
              </a:extLst>
            </p:cNvPr>
            <p:cNvSpPr/>
            <p:nvPr/>
          </p:nvSpPr>
          <p:spPr bwMode="auto">
            <a:xfrm>
              <a:off x="6913563" y="3103563"/>
              <a:ext cx="193675" cy="450850"/>
            </a:xfrm>
            <a:custGeom>
              <a:avLst/>
              <a:gdLst>
                <a:gd name="T0" fmla="*/ 25 w 160"/>
                <a:gd name="T1" fmla="*/ 3 h 374"/>
                <a:gd name="T2" fmla="*/ 146 w 160"/>
                <a:gd name="T3" fmla="*/ 21 h 374"/>
                <a:gd name="T4" fmla="*/ 159 w 160"/>
                <a:gd name="T5" fmla="*/ 39 h 374"/>
                <a:gd name="T6" fmla="*/ 119 w 160"/>
                <a:gd name="T7" fmla="*/ 314 h 374"/>
                <a:gd name="T8" fmla="*/ 114 w 160"/>
                <a:gd name="T9" fmla="*/ 353 h 374"/>
                <a:gd name="T10" fmla="*/ 82 w 160"/>
                <a:gd name="T11" fmla="*/ 349 h 374"/>
                <a:gd name="T12" fmla="*/ 122 w 160"/>
                <a:gd name="T13" fmla="*/ 73 h 374"/>
                <a:gd name="T14" fmla="*/ 125 w 160"/>
                <a:gd name="T15" fmla="*/ 50 h 374"/>
                <a:gd name="T16" fmla="*/ 20 w 160"/>
                <a:gd name="T17" fmla="*/ 35 h 374"/>
                <a:gd name="T18" fmla="*/ 25 w 160"/>
                <a:gd name="T19" fmla="*/ 3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74">
                  <a:moveTo>
                    <a:pt x="25" y="3"/>
                  </a:moveTo>
                  <a:cubicBezTo>
                    <a:pt x="65" y="9"/>
                    <a:pt x="105" y="15"/>
                    <a:pt x="146" y="21"/>
                  </a:cubicBezTo>
                  <a:cubicBezTo>
                    <a:pt x="154" y="22"/>
                    <a:pt x="160" y="30"/>
                    <a:pt x="159" y="39"/>
                  </a:cubicBezTo>
                  <a:cubicBezTo>
                    <a:pt x="146" y="131"/>
                    <a:pt x="133" y="222"/>
                    <a:pt x="119" y="314"/>
                  </a:cubicBezTo>
                  <a:cubicBezTo>
                    <a:pt x="118" y="327"/>
                    <a:pt x="116" y="340"/>
                    <a:pt x="114" y="353"/>
                  </a:cubicBezTo>
                  <a:cubicBezTo>
                    <a:pt x="111" y="374"/>
                    <a:pt x="79" y="369"/>
                    <a:pt x="82" y="349"/>
                  </a:cubicBezTo>
                  <a:cubicBezTo>
                    <a:pt x="95" y="257"/>
                    <a:pt x="108" y="165"/>
                    <a:pt x="122" y="73"/>
                  </a:cubicBezTo>
                  <a:cubicBezTo>
                    <a:pt x="123" y="65"/>
                    <a:pt x="124" y="58"/>
                    <a:pt x="125" y="50"/>
                  </a:cubicBezTo>
                  <a:cubicBezTo>
                    <a:pt x="90" y="45"/>
                    <a:pt x="55" y="40"/>
                    <a:pt x="20" y="35"/>
                  </a:cubicBezTo>
                  <a:cubicBezTo>
                    <a:pt x="0" y="32"/>
                    <a:pt x="4" y="0"/>
                    <a:pt x="25" y="3"/>
                  </a:cubicBez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ṩḻídê">
              <a:extLst>
                <a:ext uri="{FF2B5EF4-FFF2-40B4-BE49-F238E27FC236}">
                  <a16:creationId xmlns:a16="http://schemas.microsoft.com/office/drawing/2014/main" id="{CD0272A2-E612-463D-AA43-AD3A5EF97F9D}"/>
                </a:ext>
              </a:extLst>
            </p:cNvPr>
            <p:cNvSpPr/>
            <p:nvPr/>
          </p:nvSpPr>
          <p:spPr bwMode="auto">
            <a:xfrm>
              <a:off x="6850063" y="3076575"/>
              <a:ext cx="85725" cy="87313"/>
            </a:xfrm>
            <a:custGeom>
              <a:avLst/>
              <a:gdLst>
                <a:gd name="T0" fmla="*/ 21 w 71"/>
                <a:gd name="T1" fmla="*/ 66 h 72"/>
                <a:gd name="T2" fmla="*/ 62 w 71"/>
                <a:gd name="T3" fmla="*/ 72 h 72"/>
                <a:gd name="T4" fmla="*/ 71 w 71"/>
                <a:gd name="T5" fmla="*/ 8 h 72"/>
                <a:gd name="T6" fmla="*/ 30 w 71"/>
                <a:gd name="T7" fmla="*/ 2 h 72"/>
                <a:gd name="T8" fmla="*/ 4 w 71"/>
                <a:gd name="T9" fmla="*/ 22 h 72"/>
                <a:gd name="T10" fmla="*/ 2 w 71"/>
                <a:gd name="T11" fmla="*/ 39 h 72"/>
                <a:gd name="T12" fmla="*/ 21 w 71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2">
                  <a:moveTo>
                    <a:pt x="21" y="66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18" y="0"/>
                    <a:pt x="6" y="9"/>
                    <a:pt x="4" y="22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0" y="52"/>
                    <a:pt x="9" y="64"/>
                    <a:pt x="21" y="66"/>
                  </a:cubicBezTo>
                  <a:close/>
                </a:path>
              </a:pathLst>
            </a:custGeom>
            <a:solidFill>
              <a:srgbClr val="3538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îšľiďè">
              <a:extLst>
                <a:ext uri="{FF2B5EF4-FFF2-40B4-BE49-F238E27FC236}">
                  <a16:creationId xmlns:a16="http://schemas.microsoft.com/office/drawing/2014/main" id="{9CE41E03-FFD1-4AD4-B0FF-AFA70E502542}"/>
                </a:ext>
              </a:extLst>
            </p:cNvPr>
            <p:cNvSpPr/>
            <p:nvPr/>
          </p:nvSpPr>
          <p:spPr bwMode="auto">
            <a:xfrm>
              <a:off x="6916738" y="3078163"/>
              <a:ext cx="85725" cy="98425"/>
            </a:xfrm>
            <a:custGeom>
              <a:avLst/>
              <a:gdLst>
                <a:gd name="T0" fmla="*/ 0 w 71"/>
                <a:gd name="T1" fmla="*/ 74 h 81"/>
                <a:gd name="T2" fmla="*/ 36 w 71"/>
                <a:gd name="T3" fmla="*/ 79 h 81"/>
                <a:gd name="T4" fmla="*/ 66 w 71"/>
                <a:gd name="T5" fmla="*/ 56 h 81"/>
                <a:gd name="T6" fmla="*/ 69 w 71"/>
                <a:gd name="T7" fmla="*/ 36 h 81"/>
                <a:gd name="T8" fmla="*/ 46 w 71"/>
                <a:gd name="T9" fmla="*/ 5 h 81"/>
                <a:gd name="T10" fmla="*/ 11 w 71"/>
                <a:gd name="T11" fmla="*/ 0 h 81"/>
                <a:gd name="T12" fmla="*/ 0 w 71"/>
                <a:gd name="T13" fmla="*/ 7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1">
                  <a:moveTo>
                    <a:pt x="0" y="74"/>
                  </a:moveTo>
                  <a:cubicBezTo>
                    <a:pt x="36" y="79"/>
                    <a:pt x="36" y="79"/>
                    <a:pt x="36" y="79"/>
                  </a:cubicBezTo>
                  <a:cubicBezTo>
                    <a:pt x="50" y="81"/>
                    <a:pt x="64" y="71"/>
                    <a:pt x="66" y="5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1" y="21"/>
                    <a:pt x="61" y="8"/>
                    <a:pt x="46" y="5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ṧlîdê">
              <a:extLst>
                <a:ext uri="{FF2B5EF4-FFF2-40B4-BE49-F238E27FC236}">
                  <a16:creationId xmlns:a16="http://schemas.microsoft.com/office/drawing/2014/main" id="{1632A807-5108-44BE-989A-170EB8AD83C4}"/>
                </a:ext>
              </a:extLst>
            </p:cNvPr>
            <p:cNvSpPr/>
            <p:nvPr/>
          </p:nvSpPr>
          <p:spPr bwMode="auto">
            <a:xfrm>
              <a:off x="6630988" y="4132263"/>
              <a:ext cx="1588" cy="47625"/>
            </a:xfrm>
            <a:custGeom>
              <a:avLst/>
              <a:gdLst>
                <a:gd name="T0" fmla="*/ 2 w 2"/>
                <a:gd name="T1" fmla="*/ 0 h 39"/>
                <a:gd name="T2" fmla="*/ 2 w 2"/>
                <a:gd name="T3" fmla="*/ 3 h 39"/>
                <a:gd name="T4" fmla="*/ 0 w 2"/>
                <a:gd name="T5" fmla="*/ 39 h 39"/>
                <a:gd name="T6" fmla="*/ 0 w 2"/>
                <a:gd name="T7" fmla="*/ 39 h 39"/>
                <a:gd name="T8" fmla="*/ 2 w 2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9">
                  <a:moveTo>
                    <a:pt x="2" y="0"/>
                  </a:moveTo>
                  <a:cubicBezTo>
                    <a:pt x="2" y="1"/>
                    <a:pt x="2" y="2"/>
                    <a:pt x="2" y="3"/>
                  </a:cubicBezTo>
                  <a:cubicBezTo>
                    <a:pt x="1" y="15"/>
                    <a:pt x="0" y="27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4"/>
                    <a:pt x="1" y="9"/>
                    <a:pt x="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ṧ1îḋe">
              <a:extLst>
                <a:ext uri="{FF2B5EF4-FFF2-40B4-BE49-F238E27FC236}">
                  <a16:creationId xmlns:a16="http://schemas.microsoft.com/office/drawing/2014/main" id="{9C89203D-5DA5-4235-A2DA-B7760D0C433C}"/>
                </a:ext>
              </a:extLst>
            </p:cNvPr>
            <p:cNvSpPr/>
            <p:nvPr/>
          </p:nvSpPr>
          <p:spPr bwMode="auto">
            <a:xfrm>
              <a:off x="6545263" y="4095750"/>
              <a:ext cx="88900" cy="84138"/>
            </a:xfrm>
            <a:custGeom>
              <a:avLst/>
              <a:gdLst>
                <a:gd name="T0" fmla="*/ 4 w 74"/>
                <a:gd name="T1" fmla="*/ 0 h 69"/>
                <a:gd name="T2" fmla="*/ 0 w 74"/>
                <a:gd name="T3" fmla="*/ 28 h 69"/>
                <a:gd name="T4" fmla="*/ 71 w 74"/>
                <a:gd name="T5" fmla="*/ 69 h 69"/>
                <a:gd name="T6" fmla="*/ 73 w 74"/>
                <a:gd name="T7" fmla="*/ 33 h 69"/>
                <a:gd name="T8" fmla="*/ 73 w 74"/>
                <a:gd name="T9" fmla="*/ 30 h 69"/>
                <a:gd name="T10" fmla="*/ 74 w 74"/>
                <a:gd name="T11" fmla="*/ 18 h 69"/>
                <a:gd name="T12" fmla="*/ 4 w 74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9">
                  <a:moveTo>
                    <a:pt x="4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57"/>
                    <a:pt x="72" y="45"/>
                    <a:pt x="73" y="33"/>
                  </a:cubicBezTo>
                  <a:cubicBezTo>
                    <a:pt x="73" y="32"/>
                    <a:pt x="73" y="31"/>
                    <a:pt x="73" y="30"/>
                  </a:cubicBezTo>
                  <a:cubicBezTo>
                    <a:pt x="74" y="22"/>
                    <a:pt x="74" y="18"/>
                    <a:pt x="74" y="18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386F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ṥḷíḓê">
              <a:extLst>
                <a:ext uri="{FF2B5EF4-FFF2-40B4-BE49-F238E27FC236}">
                  <a16:creationId xmlns:a16="http://schemas.microsoft.com/office/drawing/2014/main" id="{444299CA-296A-42E1-BE4F-31573B6BA2DE}"/>
                </a:ext>
              </a:extLst>
            </p:cNvPr>
            <p:cNvSpPr/>
            <p:nvPr/>
          </p:nvSpPr>
          <p:spPr bwMode="auto">
            <a:xfrm>
              <a:off x="6303963" y="3402013"/>
              <a:ext cx="763588" cy="760413"/>
            </a:xfrm>
            <a:custGeom>
              <a:avLst/>
              <a:gdLst>
                <a:gd name="T0" fmla="*/ 1 w 633"/>
                <a:gd name="T1" fmla="*/ 199 h 631"/>
                <a:gd name="T2" fmla="*/ 377 w 633"/>
                <a:gd name="T3" fmla="*/ 580 h 631"/>
                <a:gd name="T4" fmla="*/ 613 w 633"/>
                <a:gd name="T5" fmla="*/ 190 h 631"/>
                <a:gd name="T6" fmla="*/ 628 w 633"/>
                <a:gd name="T7" fmla="*/ 112 h 631"/>
                <a:gd name="T8" fmla="*/ 568 w 633"/>
                <a:gd name="T9" fmla="*/ 154 h 631"/>
                <a:gd name="T10" fmla="*/ 551 w 633"/>
                <a:gd name="T11" fmla="*/ 223 h 631"/>
                <a:gd name="T12" fmla="*/ 548 w 633"/>
                <a:gd name="T13" fmla="*/ 234 h 631"/>
                <a:gd name="T14" fmla="*/ 476 w 633"/>
                <a:gd name="T15" fmla="*/ 408 h 631"/>
                <a:gd name="T16" fmla="*/ 469 w 633"/>
                <a:gd name="T17" fmla="*/ 419 h 631"/>
                <a:gd name="T18" fmla="*/ 435 w 633"/>
                <a:gd name="T19" fmla="*/ 467 h 631"/>
                <a:gd name="T20" fmla="*/ 418 w 633"/>
                <a:gd name="T21" fmla="*/ 487 h 631"/>
                <a:gd name="T22" fmla="*/ 413 w 633"/>
                <a:gd name="T23" fmla="*/ 491 h 631"/>
                <a:gd name="T24" fmla="*/ 371 w 633"/>
                <a:gd name="T25" fmla="*/ 524 h 631"/>
                <a:gd name="T26" fmla="*/ 359 w 633"/>
                <a:gd name="T27" fmla="*/ 531 h 631"/>
                <a:gd name="T28" fmla="*/ 322 w 633"/>
                <a:gd name="T29" fmla="*/ 546 h 631"/>
                <a:gd name="T30" fmla="*/ 314 w 633"/>
                <a:gd name="T31" fmla="*/ 548 h 631"/>
                <a:gd name="T32" fmla="*/ 276 w 633"/>
                <a:gd name="T33" fmla="*/ 552 h 631"/>
                <a:gd name="T34" fmla="*/ 272 w 633"/>
                <a:gd name="T35" fmla="*/ 551 h 631"/>
                <a:gd name="T36" fmla="*/ 218 w 633"/>
                <a:gd name="T37" fmla="*/ 543 h 631"/>
                <a:gd name="T38" fmla="*/ 214 w 633"/>
                <a:gd name="T39" fmla="*/ 542 h 631"/>
                <a:gd name="T40" fmla="*/ 186 w 633"/>
                <a:gd name="T41" fmla="*/ 531 h 631"/>
                <a:gd name="T42" fmla="*/ 171 w 633"/>
                <a:gd name="T43" fmla="*/ 523 h 631"/>
                <a:gd name="T44" fmla="*/ 159 w 633"/>
                <a:gd name="T45" fmla="*/ 515 h 631"/>
                <a:gd name="T46" fmla="*/ 139 w 633"/>
                <a:gd name="T47" fmla="*/ 499 h 631"/>
                <a:gd name="T48" fmla="*/ 113 w 633"/>
                <a:gd name="T49" fmla="*/ 467 h 631"/>
                <a:gd name="T50" fmla="*/ 102 w 633"/>
                <a:gd name="T51" fmla="*/ 450 h 631"/>
                <a:gd name="T52" fmla="*/ 70 w 633"/>
                <a:gd name="T53" fmla="*/ 371 h 631"/>
                <a:gd name="T54" fmla="*/ 69 w 633"/>
                <a:gd name="T55" fmla="*/ 367 h 631"/>
                <a:gd name="T56" fmla="*/ 63 w 633"/>
                <a:gd name="T57" fmla="*/ 340 h 631"/>
                <a:gd name="T58" fmla="*/ 52 w 633"/>
                <a:gd name="T59" fmla="*/ 228 h 631"/>
                <a:gd name="T60" fmla="*/ 52 w 633"/>
                <a:gd name="T61" fmla="*/ 202 h 631"/>
                <a:gd name="T62" fmla="*/ 53 w 633"/>
                <a:gd name="T63" fmla="*/ 163 h 631"/>
                <a:gd name="T64" fmla="*/ 68 w 633"/>
                <a:gd name="T65" fmla="*/ 35 h 631"/>
                <a:gd name="T66" fmla="*/ 47 w 633"/>
                <a:gd name="T67" fmla="*/ 2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3" h="631">
                  <a:moveTo>
                    <a:pt x="18" y="24"/>
                  </a:moveTo>
                  <a:cubicBezTo>
                    <a:pt x="6" y="81"/>
                    <a:pt x="2" y="141"/>
                    <a:pt x="1" y="199"/>
                  </a:cubicBezTo>
                  <a:cubicBezTo>
                    <a:pt x="0" y="303"/>
                    <a:pt x="12" y="418"/>
                    <a:pt x="75" y="503"/>
                  </a:cubicBezTo>
                  <a:cubicBezTo>
                    <a:pt x="143" y="594"/>
                    <a:pt x="274" y="631"/>
                    <a:pt x="377" y="580"/>
                  </a:cubicBezTo>
                  <a:cubicBezTo>
                    <a:pt x="475" y="531"/>
                    <a:pt x="532" y="426"/>
                    <a:pt x="570" y="328"/>
                  </a:cubicBezTo>
                  <a:cubicBezTo>
                    <a:pt x="587" y="283"/>
                    <a:pt x="601" y="237"/>
                    <a:pt x="613" y="190"/>
                  </a:cubicBezTo>
                  <a:cubicBezTo>
                    <a:pt x="618" y="165"/>
                    <a:pt x="624" y="140"/>
                    <a:pt x="628" y="115"/>
                  </a:cubicBezTo>
                  <a:cubicBezTo>
                    <a:pt x="628" y="114"/>
                    <a:pt x="628" y="113"/>
                    <a:pt x="628" y="112"/>
                  </a:cubicBezTo>
                  <a:cubicBezTo>
                    <a:pt x="633" y="79"/>
                    <a:pt x="582" y="72"/>
                    <a:pt x="577" y="104"/>
                  </a:cubicBezTo>
                  <a:cubicBezTo>
                    <a:pt x="575" y="121"/>
                    <a:pt x="572" y="138"/>
                    <a:pt x="568" y="154"/>
                  </a:cubicBezTo>
                  <a:cubicBezTo>
                    <a:pt x="564" y="172"/>
                    <a:pt x="560" y="190"/>
                    <a:pt x="555" y="208"/>
                  </a:cubicBezTo>
                  <a:cubicBezTo>
                    <a:pt x="554" y="213"/>
                    <a:pt x="552" y="218"/>
                    <a:pt x="551" y="223"/>
                  </a:cubicBezTo>
                  <a:cubicBezTo>
                    <a:pt x="549" y="230"/>
                    <a:pt x="552" y="219"/>
                    <a:pt x="550" y="225"/>
                  </a:cubicBezTo>
                  <a:cubicBezTo>
                    <a:pt x="550" y="228"/>
                    <a:pt x="549" y="231"/>
                    <a:pt x="548" y="234"/>
                  </a:cubicBezTo>
                  <a:cubicBezTo>
                    <a:pt x="545" y="245"/>
                    <a:pt x="541" y="256"/>
                    <a:pt x="537" y="267"/>
                  </a:cubicBezTo>
                  <a:cubicBezTo>
                    <a:pt x="521" y="316"/>
                    <a:pt x="502" y="363"/>
                    <a:pt x="476" y="408"/>
                  </a:cubicBezTo>
                  <a:cubicBezTo>
                    <a:pt x="475" y="410"/>
                    <a:pt x="473" y="413"/>
                    <a:pt x="471" y="416"/>
                  </a:cubicBezTo>
                  <a:cubicBezTo>
                    <a:pt x="474" y="411"/>
                    <a:pt x="470" y="418"/>
                    <a:pt x="469" y="419"/>
                  </a:cubicBezTo>
                  <a:cubicBezTo>
                    <a:pt x="466" y="425"/>
                    <a:pt x="462" y="431"/>
                    <a:pt x="458" y="436"/>
                  </a:cubicBezTo>
                  <a:cubicBezTo>
                    <a:pt x="451" y="447"/>
                    <a:pt x="443" y="457"/>
                    <a:pt x="435" y="467"/>
                  </a:cubicBezTo>
                  <a:cubicBezTo>
                    <a:pt x="431" y="472"/>
                    <a:pt x="427" y="476"/>
                    <a:pt x="423" y="480"/>
                  </a:cubicBezTo>
                  <a:cubicBezTo>
                    <a:pt x="421" y="483"/>
                    <a:pt x="420" y="485"/>
                    <a:pt x="418" y="487"/>
                  </a:cubicBezTo>
                  <a:cubicBezTo>
                    <a:pt x="416" y="488"/>
                    <a:pt x="415" y="489"/>
                    <a:pt x="414" y="491"/>
                  </a:cubicBezTo>
                  <a:cubicBezTo>
                    <a:pt x="413" y="492"/>
                    <a:pt x="408" y="496"/>
                    <a:pt x="413" y="491"/>
                  </a:cubicBezTo>
                  <a:cubicBezTo>
                    <a:pt x="404" y="500"/>
                    <a:pt x="395" y="507"/>
                    <a:pt x="385" y="515"/>
                  </a:cubicBezTo>
                  <a:cubicBezTo>
                    <a:pt x="381" y="518"/>
                    <a:pt x="376" y="521"/>
                    <a:pt x="371" y="524"/>
                  </a:cubicBezTo>
                  <a:cubicBezTo>
                    <a:pt x="369" y="526"/>
                    <a:pt x="367" y="527"/>
                    <a:pt x="364" y="528"/>
                  </a:cubicBezTo>
                  <a:cubicBezTo>
                    <a:pt x="370" y="525"/>
                    <a:pt x="361" y="530"/>
                    <a:pt x="359" y="531"/>
                  </a:cubicBezTo>
                  <a:cubicBezTo>
                    <a:pt x="348" y="537"/>
                    <a:pt x="337" y="541"/>
                    <a:pt x="326" y="545"/>
                  </a:cubicBezTo>
                  <a:cubicBezTo>
                    <a:pt x="324" y="545"/>
                    <a:pt x="323" y="545"/>
                    <a:pt x="322" y="546"/>
                  </a:cubicBezTo>
                  <a:cubicBezTo>
                    <a:pt x="316" y="548"/>
                    <a:pt x="328" y="544"/>
                    <a:pt x="322" y="546"/>
                  </a:cubicBezTo>
                  <a:cubicBezTo>
                    <a:pt x="319" y="546"/>
                    <a:pt x="316" y="547"/>
                    <a:pt x="314" y="548"/>
                  </a:cubicBezTo>
                  <a:cubicBezTo>
                    <a:pt x="307" y="549"/>
                    <a:pt x="301" y="550"/>
                    <a:pt x="294" y="551"/>
                  </a:cubicBezTo>
                  <a:cubicBezTo>
                    <a:pt x="288" y="551"/>
                    <a:pt x="282" y="551"/>
                    <a:pt x="276" y="552"/>
                  </a:cubicBezTo>
                  <a:cubicBezTo>
                    <a:pt x="274" y="552"/>
                    <a:pt x="270" y="551"/>
                    <a:pt x="276" y="552"/>
                  </a:cubicBezTo>
                  <a:cubicBezTo>
                    <a:pt x="275" y="552"/>
                    <a:pt x="273" y="552"/>
                    <a:pt x="272" y="551"/>
                  </a:cubicBezTo>
                  <a:cubicBezTo>
                    <a:pt x="268" y="551"/>
                    <a:pt x="264" y="551"/>
                    <a:pt x="260" y="551"/>
                  </a:cubicBezTo>
                  <a:cubicBezTo>
                    <a:pt x="246" y="549"/>
                    <a:pt x="232" y="547"/>
                    <a:pt x="218" y="543"/>
                  </a:cubicBezTo>
                  <a:cubicBezTo>
                    <a:pt x="217" y="543"/>
                    <a:pt x="214" y="542"/>
                    <a:pt x="219" y="544"/>
                  </a:cubicBezTo>
                  <a:cubicBezTo>
                    <a:pt x="218" y="543"/>
                    <a:pt x="216" y="543"/>
                    <a:pt x="214" y="542"/>
                  </a:cubicBezTo>
                  <a:cubicBezTo>
                    <a:pt x="212" y="541"/>
                    <a:pt x="209" y="540"/>
                    <a:pt x="206" y="539"/>
                  </a:cubicBezTo>
                  <a:cubicBezTo>
                    <a:pt x="199" y="537"/>
                    <a:pt x="193" y="534"/>
                    <a:pt x="186" y="531"/>
                  </a:cubicBezTo>
                  <a:cubicBezTo>
                    <a:pt x="181" y="529"/>
                    <a:pt x="176" y="526"/>
                    <a:pt x="171" y="523"/>
                  </a:cubicBezTo>
                  <a:cubicBezTo>
                    <a:pt x="166" y="520"/>
                    <a:pt x="176" y="526"/>
                    <a:pt x="171" y="523"/>
                  </a:cubicBezTo>
                  <a:cubicBezTo>
                    <a:pt x="170" y="522"/>
                    <a:pt x="169" y="522"/>
                    <a:pt x="168" y="521"/>
                  </a:cubicBezTo>
                  <a:cubicBezTo>
                    <a:pt x="165" y="519"/>
                    <a:pt x="162" y="517"/>
                    <a:pt x="159" y="515"/>
                  </a:cubicBezTo>
                  <a:cubicBezTo>
                    <a:pt x="154" y="511"/>
                    <a:pt x="150" y="508"/>
                    <a:pt x="146" y="505"/>
                  </a:cubicBezTo>
                  <a:cubicBezTo>
                    <a:pt x="144" y="503"/>
                    <a:pt x="141" y="501"/>
                    <a:pt x="139" y="499"/>
                  </a:cubicBezTo>
                  <a:cubicBezTo>
                    <a:pt x="138" y="497"/>
                    <a:pt x="130" y="489"/>
                    <a:pt x="135" y="494"/>
                  </a:cubicBezTo>
                  <a:cubicBezTo>
                    <a:pt x="127" y="486"/>
                    <a:pt x="119" y="477"/>
                    <a:pt x="113" y="467"/>
                  </a:cubicBezTo>
                  <a:cubicBezTo>
                    <a:pt x="109" y="462"/>
                    <a:pt x="107" y="458"/>
                    <a:pt x="104" y="453"/>
                  </a:cubicBezTo>
                  <a:cubicBezTo>
                    <a:pt x="103" y="452"/>
                    <a:pt x="98" y="443"/>
                    <a:pt x="102" y="450"/>
                  </a:cubicBezTo>
                  <a:cubicBezTo>
                    <a:pt x="100" y="447"/>
                    <a:pt x="98" y="443"/>
                    <a:pt x="96" y="440"/>
                  </a:cubicBezTo>
                  <a:cubicBezTo>
                    <a:pt x="85" y="418"/>
                    <a:pt x="77" y="395"/>
                    <a:pt x="70" y="371"/>
                  </a:cubicBezTo>
                  <a:cubicBezTo>
                    <a:pt x="70" y="370"/>
                    <a:pt x="70" y="369"/>
                    <a:pt x="69" y="367"/>
                  </a:cubicBezTo>
                  <a:cubicBezTo>
                    <a:pt x="71" y="373"/>
                    <a:pt x="70" y="369"/>
                    <a:pt x="69" y="367"/>
                  </a:cubicBezTo>
                  <a:cubicBezTo>
                    <a:pt x="69" y="365"/>
                    <a:pt x="68" y="362"/>
                    <a:pt x="67" y="359"/>
                  </a:cubicBezTo>
                  <a:cubicBezTo>
                    <a:pt x="66" y="353"/>
                    <a:pt x="64" y="346"/>
                    <a:pt x="63" y="340"/>
                  </a:cubicBezTo>
                  <a:cubicBezTo>
                    <a:pt x="61" y="327"/>
                    <a:pt x="59" y="315"/>
                    <a:pt x="57" y="302"/>
                  </a:cubicBezTo>
                  <a:cubicBezTo>
                    <a:pt x="54" y="277"/>
                    <a:pt x="53" y="253"/>
                    <a:pt x="52" y="228"/>
                  </a:cubicBezTo>
                  <a:cubicBezTo>
                    <a:pt x="52" y="222"/>
                    <a:pt x="52" y="216"/>
                    <a:pt x="52" y="210"/>
                  </a:cubicBezTo>
                  <a:cubicBezTo>
                    <a:pt x="52" y="207"/>
                    <a:pt x="52" y="204"/>
                    <a:pt x="52" y="202"/>
                  </a:cubicBezTo>
                  <a:cubicBezTo>
                    <a:pt x="52" y="210"/>
                    <a:pt x="52" y="199"/>
                    <a:pt x="52" y="197"/>
                  </a:cubicBezTo>
                  <a:cubicBezTo>
                    <a:pt x="52" y="186"/>
                    <a:pt x="53" y="174"/>
                    <a:pt x="53" y="163"/>
                  </a:cubicBezTo>
                  <a:cubicBezTo>
                    <a:pt x="54" y="143"/>
                    <a:pt x="56" y="123"/>
                    <a:pt x="58" y="104"/>
                  </a:cubicBezTo>
                  <a:cubicBezTo>
                    <a:pt x="61" y="81"/>
                    <a:pt x="64" y="58"/>
                    <a:pt x="68" y="35"/>
                  </a:cubicBezTo>
                  <a:cubicBezTo>
                    <a:pt x="68" y="34"/>
                    <a:pt x="68" y="33"/>
                    <a:pt x="69" y="31"/>
                  </a:cubicBezTo>
                  <a:cubicBezTo>
                    <a:pt x="72" y="18"/>
                    <a:pt x="60" y="4"/>
                    <a:pt x="47" y="2"/>
                  </a:cubicBezTo>
                  <a:cubicBezTo>
                    <a:pt x="32" y="0"/>
                    <a:pt x="21" y="10"/>
                    <a:pt x="18" y="24"/>
                  </a:cubicBezTo>
                  <a:close/>
                </a:path>
              </a:pathLst>
            </a:custGeom>
            <a:solidFill>
              <a:srgbClr val="4080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šḷíḓê">
              <a:extLst>
                <a:ext uri="{FF2B5EF4-FFF2-40B4-BE49-F238E27FC236}">
                  <a16:creationId xmlns:a16="http://schemas.microsoft.com/office/drawing/2014/main" id="{5020C854-C563-4947-AFE5-D403A63A72AA}"/>
                </a:ext>
              </a:extLst>
            </p:cNvPr>
            <p:cNvSpPr/>
            <p:nvPr/>
          </p:nvSpPr>
          <p:spPr bwMode="auto">
            <a:xfrm>
              <a:off x="7037388" y="3629025"/>
              <a:ext cx="430213" cy="360363"/>
            </a:xfrm>
            <a:custGeom>
              <a:avLst/>
              <a:gdLst>
                <a:gd name="T0" fmla="*/ 356 w 356"/>
                <a:gd name="T1" fmla="*/ 201 h 300"/>
                <a:gd name="T2" fmla="*/ 239 w 356"/>
                <a:gd name="T3" fmla="*/ 118 h 300"/>
                <a:gd name="T4" fmla="*/ 30 w 356"/>
                <a:gd name="T5" fmla="*/ 0 h 300"/>
                <a:gd name="T6" fmla="*/ 0 w 356"/>
                <a:gd name="T7" fmla="*/ 48 h 300"/>
                <a:gd name="T8" fmla="*/ 198 w 356"/>
                <a:gd name="T9" fmla="*/ 273 h 300"/>
                <a:gd name="T10" fmla="*/ 314 w 356"/>
                <a:gd name="T11" fmla="*/ 288 h 300"/>
                <a:gd name="T12" fmla="*/ 356 w 356"/>
                <a:gd name="T13" fmla="*/ 201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300">
                  <a:moveTo>
                    <a:pt x="356" y="201"/>
                  </a:moveTo>
                  <a:cubicBezTo>
                    <a:pt x="239" y="118"/>
                    <a:pt x="239" y="118"/>
                    <a:pt x="239" y="1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73"/>
                    <a:pt x="310" y="300"/>
                    <a:pt x="314" y="288"/>
                  </a:cubicBezTo>
                  <a:cubicBezTo>
                    <a:pt x="318" y="276"/>
                    <a:pt x="356" y="201"/>
                    <a:pt x="356" y="201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ŝḷïďé">
              <a:extLst>
                <a:ext uri="{FF2B5EF4-FFF2-40B4-BE49-F238E27FC236}">
                  <a16:creationId xmlns:a16="http://schemas.microsoft.com/office/drawing/2014/main" id="{0DB03730-D1F2-44EC-AEB0-8D16058AC3DD}"/>
                </a:ext>
              </a:extLst>
            </p:cNvPr>
            <p:cNvSpPr/>
            <p:nvPr/>
          </p:nvSpPr>
          <p:spPr bwMode="auto">
            <a:xfrm>
              <a:off x="6935788" y="3544888"/>
              <a:ext cx="166688" cy="163513"/>
            </a:xfrm>
            <a:custGeom>
              <a:avLst/>
              <a:gdLst>
                <a:gd name="T0" fmla="*/ 94 w 105"/>
                <a:gd name="T1" fmla="*/ 61 h 103"/>
                <a:gd name="T2" fmla="*/ 61 w 105"/>
                <a:gd name="T3" fmla="*/ 0 h 103"/>
                <a:gd name="T4" fmla="*/ 0 w 105"/>
                <a:gd name="T5" fmla="*/ 8 h 103"/>
                <a:gd name="T6" fmla="*/ 1 w 105"/>
                <a:gd name="T7" fmla="*/ 96 h 103"/>
                <a:gd name="T8" fmla="*/ 12 w 105"/>
                <a:gd name="T9" fmla="*/ 103 h 103"/>
                <a:gd name="T10" fmla="*/ 18 w 105"/>
                <a:gd name="T11" fmla="*/ 86 h 103"/>
                <a:gd name="T12" fmla="*/ 58 w 105"/>
                <a:gd name="T13" fmla="*/ 103 h 103"/>
                <a:gd name="T14" fmla="*/ 105 w 105"/>
                <a:gd name="T15" fmla="*/ 81 h 103"/>
                <a:gd name="T16" fmla="*/ 94 w 105"/>
                <a:gd name="T17" fmla="*/ 6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3">
                  <a:moveTo>
                    <a:pt x="94" y="61"/>
                  </a:moveTo>
                  <a:lnTo>
                    <a:pt x="61" y="0"/>
                  </a:lnTo>
                  <a:lnTo>
                    <a:pt x="0" y="8"/>
                  </a:lnTo>
                  <a:lnTo>
                    <a:pt x="1" y="96"/>
                  </a:lnTo>
                  <a:lnTo>
                    <a:pt x="12" y="103"/>
                  </a:lnTo>
                  <a:lnTo>
                    <a:pt x="18" y="86"/>
                  </a:lnTo>
                  <a:lnTo>
                    <a:pt x="58" y="103"/>
                  </a:lnTo>
                  <a:lnTo>
                    <a:pt x="105" y="81"/>
                  </a:lnTo>
                  <a:lnTo>
                    <a:pt x="94" y="61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Sľiḍe">
              <a:extLst>
                <a:ext uri="{FF2B5EF4-FFF2-40B4-BE49-F238E27FC236}">
                  <a16:creationId xmlns:a16="http://schemas.microsoft.com/office/drawing/2014/main" id="{3B491D4A-C463-4E43-BCDE-59BE1ECBDB1B}"/>
                </a:ext>
              </a:extLst>
            </p:cNvPr>
            <p:cNvSpPr/>
            <p:nvPr/>
          </p:nvSpPr>
          <p:spPr bwMode="auto">
            <a:xfrm>
              <a:off x="6091238" y="3381375"/>
              <a:ext cx="342900" cy="511175"/>
            </a:xfrm>
            <a:custGeom>
              <a:avLst/>
              <a:gdLst>
                <a:gd name="T0" fmla="*/ 0 w 284"/>
                <a:gd name="T1" fmla="*/ 320 h 424"/>
                <a:gd name="T2" fmla="*/ 20 w 284"/>
                <a:gd name="T3" fmla="*/ 232 h 424"/>
                <a:gd name="T4" fmla="*/ 192 w 284"/>
                <a:gd name="T5" fmla="*/ 20 h 424"/>
                <a:gd name="T6" fmla="*/ 268 w 284"/>
                <a:gd name="T7" fmla="*/ 0 h 424"/>
                <a:gd name="T8" fmla="*/ 284 w 284"/>
                <a:gd name="T9" fmla="*/ 60 h 424"/>
                <a:gd name="T10" fmla="*/ 232 w 284"/>
                <a:gd name="T11" fmla="*/ 150 h 424"/>
                <a:gd name="T12" fmla="*/ 224 w 284"/>
                <a:gd name="T13" fmla="*/ 136 h 424"/>
                <a:gd name="T14" fmla="*/ 182 w 284"/>
                <a:gd name="T15" fmla="*/ 134 h 424"/>
                <a:gd name="T16" fmla="*/ 176 w 284"/>
                <a:gd name="T17" fmla="*/ 160 h 424"/>
                <a:gd name="T18" fmla="*/ 142 w 284"/>
                <a:gd name="T19" fmla="*/ 162 h 424"/>
                <a:gd name="T20" fmla="*/ 120 w 284"/>
                <a:gd name="T21" fmla="*/ 372 h 424"/>
                <a:gd name="T22" fmla="*/ 36 w 284"/>
                <a:gd name="T23" fmla="*/ 424 h 424"/>
                <a:gd name="T24" fmla="*/ 0 w 284"/>
                <a:gd name="T25" fmla="*/ 32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424">
                  <a:moveTo>
                    <a:pt x="0" y="320"/>
                  </a:moveTo>
                  <a:cubicBezTo>
                    <a:pt x="0" y="316"/>
                    <a:pt x="20" y="232"/>
                    <a:pt x="20" y="232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2" y="20"/>
                    <a:pt x="260" y="0"/>
                    <a:pt x="268" y="0"/>
                  </a:cubicBezTo>
                  <a:cubicBezTo>
                    <a:pt x="276" y="0"/>
                    <a:pt x="284" y="60"/>
                    <a:pt x="284" y="6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182" y="134"/>
                    <a:pt x="182" y="134"/>
                    <a:pt x="182" y="134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42" y="162"/>
                    <a:pt x="142" y="162"/>
                    <a:pt x="142" y="162"/>
                  </a:cubicBezTo>
                  <a:cubicBezTo>
                    <a:pt x="120" y="372"/>
                    <a:pt x="120" y="372"/>
                    <a:pt x="120" y="372"/>
                  </a:cubicBezTo>
                  <a:cubicBezTo>
                    <a:pt x="36" y="424"/>
                    <a:pt x="36" y="424"/>
                    <a:pt x="36" y="424"/>
                  </a:cubicBezTo>
                  <a:lnTo>
                    <a:pt x="0" y="320"/>
                  </a:ln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s1îḍé">
              <a:extLst>
                <a:ext uri="{FF2B5EF4-FFF2-40B4-BE49-F238E27FC236}">
                  <a16:creationId xmlns:a16="http://schemas.microsoft.com/office/drawing/2014/main" id="{027D61A7-C229-4A00-88C5-5C1E91570DF7}"/>
                </a:ext>
              </a:extLst>
            </p:cNvPr>
            <p:cNvSpPr/>
            <p:nvPr/>
          </p:nvSpPr>
          <p:spPr bwMode="auto">
            <a:xfrm>
              <a:off x="5029200" y="4210050"/>
              <a:ext cx="565150" cy="1128713"/>
            </a:xfrm>
            <a:custGeom>
              <a:avLst/>
              <a:gdLst>
                <a:gd name="T0" fmla="*/ 237 w 356"/>
                <a:gd name="T1" fmla="*/ 0 h 711"/>
                <a:gd name="T2" fmla="*/ 356 w 356"/>
                <a:gd name="T3" fmla="*/ 183 h 711"/>
                <a:gd name="T4" fmla="*/ 171 w 356"/>
                <a:gd name="T5" fmla="*/ 711 h 711"/>
                <a:gd name="T6" fmla="*/ 95 w 356"/>
                <a:gd name="T7" fmla="*/ 711 h 711"/>
                <a:gd name="T8" fmla="*/ 168 w 356"/>
                <a:gd name="T9" fmla="*/ 224 h 711"/>
                <a:gd name="T10" fmla="*/ 0 w 356"/>
                <a:gd name="T11" fmla="*/ 25 h 711"/>
                <a:gd name="T12" fmla="*/ 237 w 356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711">
                  <a:moveTo>
                    <a:pt x="237" y="0"/>
                  </a:moveTo>
                  <a:lnTo>
                    <a:pt x="356" y="183"/>
                  </a:lnTo>
                  <a:lnTo>
                    <a:pt x="171" y="711"/>
                  </a:lnTo>
                  <a:lnTo>
                    <a:pt x="95" y="711"/>
                  </a:lnTo>
                  <a:lnTo>
                    <a:pt x="168" y="224"/>
                  </a:lnTo>
                  <a:lnTo>
                    <a:pt x="0" y="25"/>
                  </a:lnTo>
                  <a:lnTo>
                    <a:pt x="23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iS1îḍe">
              <a:extLst>
                <a:ext uri="{FF2B5EF4-FFF2-40B4-BE49-F238E27FC236}">
                  <a16:creationId xmlns:a16="http://schemas.microsoft.com/office/drawing/2014/main" id="{4EF8DE95-2A0E-47C0-8911-F252AC6EB5D9}"/>
                </a:ext>
              </a:extLst>
            </p:cNvPr>
            <p:cNvSpPr/>
            <p:nvPr/>
          </p:nvSpPr>
          <p:spPr bwMode="auto">
            <a:xfrm>
              <a:off x="4637088" y="4160838"/>
              <a:ext cx="587375" cy="1177925"/>
            </a:xfrm>
            <a:custGeom>
              <a:avLst/>
              <a:gdLst>
                <a:gd name="T0" fmla="*/ 320 w 370"/>
                <a:gd name="T1" fmla="*/ 50 h 742"/>
                <a:gd name="T2" fmla="*/ 370 w 370"/>
                <a:gd name="T3" fmla="*/ 251 h 742"/>
                <a:gd name="T4" fmla="*/ 251 w 370"/>
                <a:gd name="T5" fmla="*/ 742 h 742"/>
                <a:gd name="T6" fmla="*/ 173 w 370"/>
                <a:gd name="T7" fmla="*/ 729 h 742"/>
                <a:gd name="T8" fmla="*/ 185 w 370"/>
                <a:gd name="T9" fmla="*/ 264 h 742"/>
                <a:gd name="T10" fmla="*/ 0 w 370"/>
                <a:gd name="T11" fmla="*/ 138 h 742"/>
                <a:gd name="T12" fmla="*/ 132 w 370"/>
                <a:gd name="T13" fmla="*/ 0 h 742"/>
                <a:gd name="T14" fmla="*/ 320 w 370"/>
                <a:gd name="T15" fmla="*/ 5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0" h="742">
                  <a:moveTo>
                    <a:pt x="320" y="50"/>
                  </a:moveTo>
                  <a:lnTo>
                    <a:pt x="370" y="251"/>
                  </a:lnTo>
                  <a:lnTo>
                    <a:pt x="251" y="742"/>
                  </a:lnTo>
                  <a:lnTo>
                    <a:pt x="173" y="729"/>
                  </a:lnTo>
                  <a:lnTo>
                    <a:pt x="185" y="264"/>
                  </a:lnTo>
                  <a:lnTo>
                    <a:pt x="0" y="138"/>
                  </a:lnTo>
                  <a:lnTo>
                    <a:pt x="132" y="0"/>
                  </a:lnTo>
                  <a:lnTo>
                    <a:pt x="320" y="50"/>
                  </a:lnTo>
                  <a:close/>
                </a:path>
              </a:pathLst>
            </a:custGeom>
            <a:solidFill>
              <a:srgbClr val="59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ṧḻíḋè">
              <a:extLst>
                <a:ext uri="{FF2B5EF4-FFF2-40B4-BE49-F238E27FC236}">
                  <a16:creationId xmlns:a16="http://schemas.microsoft.com/office/drawing/2014/main" id="{2241AFFD-A4D8-44C7-AEE6-41C1BABE0F72}"/>
                </a:ext>
              </a:extLst>
            </p:cNvPr>
            <p:cNvSpPr/>
            <p:nvPr/>
          </p:nvSpPr>
          <p:spPr bwMode="auto">
            <a:xfrm>
              <a:off x="4595813" y="2919413"/>
              <a:ext cx="977900" cy="1535113"/>
            </a:xfrm>
            <a:custGeom>
              <a:avLst/>
              <a:gdLst>
                <a:gd name="T0" fmla="*/ 384 w 811"/>
                <a:gd name="T1" fmla="*/ 88 h 1274"/>
                <a:gd name="T2" fmla="*/ 544 w 811"/>
                <a:gd name="T3" fmla="*/ 274 h 1274"/>
                <a:gd name="T4" fmla="*/ 680 w 811"/>
                <a:gd name="T5" fmla="*/ 885 h 1274"/>
                <a:gd name="T6" fmla="*/ 692 w 811"/>
                <a:gd name="T7" fmla="*/ 1164 h 1274"/>
                <a:gd name="T8" fmla="*/ 76 w 811"/>
                <a:gd name="T9" fmla="*/ 1233 h 1274"/>
                <a:gd name="T10" fmla="*/ 16 w 811"/>
                <a:gd name="T11" fmla="*/ 1055 h 1274"/>
                <a:gd name="T12" fmla="*/ 384 w 811"/>
                <a:gd name="T13" fmla="*/ 88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1" h="1274">
                  <a:moveTo>
                    <a:pt x="384" y="88"/>
                  </a:moveTo>
                  <a:cubicBezTo>
                    <a:pt x="384" y="88"/>
                    <a:pt x="508" y="104"/>
                    <a:pt x="544" y="274"/>
                  </a:cubicBezTo>
                  <a:cubicBezTo>
                    <a:pt x="580" y="444"/>
                    <a:pt x="592" y="744"/>
                    <a:pt x="680" y="885"/>
                  </a:cubicBezTo>
                  <a:cubicBezTo>
                    <a:pt x="768" y="1027"/>
                    <a:pt x="811" y="1234"/>
                    <a:pt x="692" y="1164"/>
                  </a:cubicBezTo>
                  <a:cubicBezTo>
                    <a:pt x="556" y="1084"/>
                    <a:pt x="328" y="1108"/>
                    <a:pt x="76" y="1233"/>
                  </a:cubicBezTo>
                  <a:cubicBezTo>
                    <a:pt x="0" y="1274"/>
                    <a:pt x="8" y="1185"/>
                    <a:pt x="16" y="1055"/>
                  </a:cubicBezTo>
                  <a:cubicBezTo>
                    <a:pt x="24" y="926"/>
                    <a:pt x="36" y="0"/>
                    <a:pt x="384" y="88"/>
                  </a:cubicBezTo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ṡḷîdè">
              <a:extLst>
                <a:ext uri="{FF2B5EF4-FFF2-40B4-BE49-F238E27FC236}">
                  <a16:creationId xmlns:a16="http://schemas.microsoft.com/office/drawing/2014/main" id="{60BE6B41-A906-4D44-B6F8-3825D26FC60C}"/>
                </a:ext>
              </a:extLst>
            </p:cNvPr>
            <p:cNvSpPr/>
            <p:nvPr/>
          </p:nvSpPr>
          <p:spPr bwMode="auto">
            <a:xfrm>
              <a:off x="5189538" y="5338763"/>
              <a:ext cx="166688" cy="114300"/>
            </a:xfrm>
            <a:custGeom>
              <a:avLst/>
              <a:gdLst>
                <a:gd name="T0" fmla="*/ 57 w 105"/>
                <a:gd name="T1" fmla="*/ 0 h 72"/>
                <a:gd name="T2" fmla="*/ 105 w 105"/>
                <a:gd name="T3" fmla="*/ 50 h 72"/>
                <a:gd name="T4" fmla="*/ 82 w 105"/>
                <a:gd name="T5" fmla="*/ 72 h 72"/>
                <a:gd name="T6" fmla="*/ 0 w 105"/>
                <a:gd name="T7" fmla="*/ 44 h 72"/>
                <a:gd name="T8" fmla="*/ 7 w 105"/>
                <a:gd name="T9" fmla="*/ 0 h 72"/>
                <a:gd name="T10" fmla="*/ 57 w 105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72">
                  <a:moveTo>
                    <a:pt x="57" y="0"/>
                  </a:moveTo>
                  <a:lnTo>
                    <a:pt x="105" y="50"/>
                  </a:lnTo>
                  <a:lnTo>
                    <a:pt x="82" y="72"/>
                  </a:lnTo>
                  <a:lnTo>
                    <a:pt x="0" y="44"/>
                  </a:lnTo>
                  <a:lnTo>
                    <a:pt x="7" y="0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ṧ1îḋê">
              <a:extLst>
                <a:ext uri="{FF2B5EF4-FFF2-40B4-BE49-F238E27FC236}">
                  <a16:creationId xmlns:a16="http://schemas.microsoft.com/office/drawing/2014/main" id="{F8C47EC4-A6AE-4365-AFE8-2DC814833C11}"/>
                </a:ext>
              </a:extLst>
            </p:cNvPr>
            <p:cNvSpPr/>
            <p:nvPr/>
          </p:nvSpPr>
          <p:spPr bwMode="auto">
            <a:xfrm>
              <a:off x="4911725" y="5321300"/>
              <a:ext cx="184150" cy="131763"/>
            </a:xfrm>
            <a:custGeom>
              <a:avLst/>
              <a:gdLst>
                <a:gd name="T0" fmla="*/ 68 w 116"/>
                <a:gd name="T1" fmla="*/ 9 h 83"/>
                <a:gd name="T2" fmla="*/ 116 w 116"/>
                <a:gd name="T3" fmla="*/ 55 h 83"/>
                <a:gd name="T4" fmla="*/ 91 w 116"/>
                <a:gd name="T5" fmla="*/ 83 h 83"/>
                <a:gd name="T6" fmla="*/ 0 w 116"/>
                <a:gd name="T7" fmla="*/ 45 h 83"/>
                <a:gd name="T8" fmla="*/ 9 w 116"/>
                <a:gd name="T9" fmla="*/ 0 h 83"/>
                <a:gd name="T10" fmla="*/ 68 w 116"/>
                <a:gd name="T11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" h="83">
                  <a:moveTo>
                    <a:pt x="68" y="9"/>
                  </a:moveTo>
                  <a:lnTo>
                    <a:pt x="116" y="55"/>
                  </a:lnTo>
                  <a:lnTo>
                    <a:pt x="91" y="83"/>
                  </a:lnTo>
                  <a:lnTo>
                    <a:pt x="0" y="45"/>
                  </a:lnTo>
                  <a:lnTo>
                    <a:pt x="9" y="0"/>
                  </a:lnTo>
                  <a:lnTo>
                    <a:pt x="68" y="9"/>
                  </a:lnTo>
                  <a:close/>
                </a:path>
              </a:pathLst>
            </a:custGeom>
            <a:solidFill>
              <a:srgbClr val="5149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ṥḻïḍé">
              <a:extLst>
                <a:ext uri="{FF2B5EF4-FFF2-40B4-BE49-F238E27FC236}">
                  <a16:creationId xmlns:a16="http://schemas.microsoft.com/office/drawing/2014/main" id="{48B50056-C32F-48BC-B60D-55694483800C}"/>
                </a:ext>
              </a:extLst>
            </p:cNvPr>
            <p:cNvSpPr/>
            <p:nvPr/>
          </p:nvSpPr>
          <p:spPr bwMode="auto">
            <a:xfrm>
              <a:off x="5099050" y="2622550"/>
              <a:ext cx="149225" cy="212725"/>
            </a:xfrm>
            <a:custGeom>
              <a:avLst/>
              <a:gdLst>
                <a:gd name="T0" fmla="*/ 0 w 124"/>
                <a:gd name="T1" fmla="*/ 70 h 177"/>
                <a:gd name="T2" fmla="*/ 83 w 124"/>
                <a:gd name="T3" fmla="*/ 177 h 177"/>
                <a:gd name="T4" fmla="*/ 121 w 124"/>
                <a:gd name="T5" fmla="*/ 85 h 177"/>
                <a:gd name="T6" fmla="*/ 68 w 124"/>
                <a:gd name="T7" fmla="*/ 0 h 177"/>
                <a:gd name="T8" fmla="*/ 4 w 124"/>
                <a:gd name="T9" fmla="*/ 71 h 177"/>
                <a:gd name="T10" fmla="*/ 0 w 124"/>
                <a:gd name="T11" fmla="*/ 7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77">
                  <a:moveTo>
                    <a:pt x="0" y="70"/>
                  </a:moveTo>
                  <a:cubicBezTo>
                    <a:pt x="46" y="85"/>
                    <a:pt x="80" y="129"/>
                    <a:pt x="83" y="177"/>
                  </a:cubicBezTo>
                  <a:cubicBezTo>
                    <a:pt x="109" y="155"/>
                    <a:pt x="124" y="119"/>
                    <a:pt x="121" y="85"/>
                  </a:cubicBezTo>
                  <a:cubicBezTo>
                    <a:pt x="118" y="50"/>
                    <a:pt x="98" y="18"/>
                    <a:pt x="68" y="0"/>
                  </a:cubicBezTo>
                  <a:cubicBezTo>
                    <a:pt x="38" y="14"/>
                    <a:pt x="15" y="40"/>
                    <a:pt x="4" y="71"/>
                  </a:cubicBezTo>
                  <a:lnTo>
                    <a:pt x="0" y="70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ŝľiḑê">
              <a:extLst>
                <a:ext uri="{FF2B5EF4-FFF2-40B4-BE49-F238E27FC236}">
                  <a16:creationId xmlns:a16="http://schemas.microsoft.com/office/drawing/2014/main" id="{A692A3FF-00A5-4C12-9EB3-B78731A88E7B}"/>
                </a:ext>
              </a:extLst>
            </p:cNvPr>
            <p:cNvSpPr/>
            <p:nvPr/>
          </p:nvSpPr>
          <p:spPr bwMode="auto">
            <a:xfrm>
              <a:off x="5081588" y="2657475"/>
              <a:ext cx="188913" cy="455613"/>
            </a:xfrm>
            <a:custGeom>
              <a:avLst/>
              <a:gdLst>
                <a:gd name="T0" fmla="*/ 117 w 156"/>
                <a:gd name="T1" fmla="*/ 4 h 379"/>
                <a:gd name="T2" fmla="*/ 131 w 156"/>
                <a:gd name="T3" fmla="*/ 160 h 379"/>
                <a:gd name="T4" fmla="*/ 113 w 156"/>
                <a:gd name="T5" fmla="*/ 362 h 379"/>
                <a:gd name="T6" fmla="*/ 41 w 156"/>
                <a:gd name="T7" fmla="*/ 359 h 379"/>
                <a:gd name="T8" fmla="*/ 14 w 156"/>
                <a:gd name="T9" fmla="*/ 285 h 379"/>
                <a:gd name="T10" fmla="*/ 62 w 156"/>
                <a:gd name="T11" fmla="*/ 0 h 379"/>
                <a:gd name="T12" fmla="*/ 117 w 156"/>
                <a:gd name="T13" fmla="*/ 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79">
                  <a:moveTo>
                    <a:pt x="117" y="4"/>
                  </a:moveTo>
                  <a:cubicBezTo>
                    <a:pt x="117" y="4"/>
                    <a:pt x="156" y="39"/>
                    <a:pt x="131" y="160"/>
                  </a:cubicBezTo>
                  <a:cubicBezTo>
                    <a:pt x="106" y="282"/>
                    <a:pt x="113" y="362"/>
                    <a:pt x="113" y="362"/>
                  </a:cubicBezTo>
                  <a:cubicBezTo>
                    <a:pt x="113" y="362"/>
                    <a:pt x="70" y="379"/>
                    <a:pt x="41" y="359"/>
                  </a:cubicBezTo>
                  <a:cubicBezTo>
                    <a:pt x="11" y="338"/>
                    <a:pt x="0" y="334"/>
                    <a:pt x="14" y="285"/>
                  </a:cubicBezTo>
                  <a:cubicBezTo>
                    <a:pt x="28" y="236"/>
                    <a:pt x="62" y="0"/>
                    <a:pt x="62" y="0"/>
                  </a:cubicBezTo>
                  <a:lnTo>
                    <a:pt x="117" y="4"/>
                  </a:ln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şļíḑé">
              <a:extLst>
                <a:ext uri="{FF2B5EF4-FFF2-40B4-BE49-F238E27FC236}">
                  <a16:creationId xmlns:a16="http://schemas.microsoft.com/office/drawing/2014/main" id="{687C77CC-501F-4E57-B96B-E655894DC026}"/>
                </a:ext>
              </a:extLst>
            </p:cNvPr>
            <p:cNvSpPr/>
            <p:nvPr/>
          </p:nvSpPr>
          <p:spPr bwMode="auto">
            <a:xfrm>
              <a:off x="4900613" y="2633663"/>
              <a:ext cx="314325" cy="449263"/>
            </a:xfrm>
            <a:custGeom>
              <a:avLst/>
              <a:gdLst>
                <a:gd name="T0" fmla="*/ 255 w 261"/>
                <a:gd name="T1" fmla="*/ 127 h 373"/>
                <a:gd name="T2" fmla="*/ 28 w 261"/>
                <a:gd name="T3" fmla="*/ 114 h 373"/>
                <a:gd name="T4" fmla="*/ 72 w 261"/>
                <a:gd name="T5" fmla="*/ 308 h 373"/>
                <a:gd name="T6" fmla="*/ 80 w 261"/>
                <a:gd name="T7" fmla="*/ 364 h 373"/>
                <a:gd name="T8" fmla="*/ 130 w 261"/>
                <a:gd name="T9" fmla="*/ 364 h 373"/>
                <a:gd name="T10" fmla="*/ 139 w 261"/>
                <a:gd name="T11" fmla="*/ 361 h 373"/>
                <a:gd name="T12" fmla="*/ 144 w 261"/>
                <a:gd name="T13" fmla="*/ 326 h 373"/>
                <a:gd name="T14" fmla="*/ 170 w 261"/>
                <a:gd name="T15" fmla="*/ 322 h 373"/>
                <a:gd name="T16" fmla="*/ 249 w 261"/>
                <a:gd name="T17" fmla="*/ 242 h 373"/>
                <a:gd name="T18" fmla="*/ 255 w 261"/>
                <a:gd name="T19" fmla="*/ 127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1" h="373">
                  <a:moveTo>
                    <a:pt x="255" y="127"/>
                  </a:moveTo>
                  <a:cubicBezTo>
                    <a:pt x="238" y="0"/>
                    <a:pt x="79" y="14"/>
                    <a:pt x="28" y="114"/>
                  </a:cubicBezTo>
                  <a:cubicBezTo>
                    <a:pt x="0" y="171"/>
                    <a:pt x="0" y="285"/>
                    <a:pt x="72" y="308"/>
                  </a:cubicBezTo>
                  <a:cubicBezTo>
                    <a:pt x="72" y="319"/>
                    <a:pt x="72" y="356"/>
                    <a:pt x="80" y="364"/>
                  </a:cubicBezTo>
                  <a:cubicBezTo>
                    <a:pt x="89" y="373"/>
                    <a:pt x="119" y="366"/>
                    <a:pt x="130" y="364"/>
                  </a:cubicBezTo>
                  <a:cubicBezTo>
                    <a:pt x="133" y="364"/>
                    <a:pt x="137" y="363"/>
                    <a:pt x="139" y="361"/>
                  </a:cubicBezTo>
                  <a:cubicBezTo>
                    <a:pt x="142" y="358"/>
                    <a:pt x="144" y="334"/>
                    <a:pt x="144" y="326"/>
                  </a:cubicBezTo>
                  <a:cubicBezTo>
                    <a:pt x="153" y="326"/>
                    <a:pt x="161" y="324"/>
                    <a:pt x="170" y="322"/>
                  </a:cubicBezTo>
                  <a:cubicBezTo>
                    <a:pt x="208" y="312"/>
                    <a:pt x="236" y="279"/>
                    <a:pt x="249" y="242"/>
                  </a:cubicBezTo>
                  <a:cubicBezTo>
                    <a:pt x="261" y="206"/>
                    <a:pt x="261" y="166"/>
                    <a:pt x="255" y="127"/>
                  </a:cubicBezTo>
                  <a:close/>
                </a:path>
              </a:pathLst>
            </a:custGeom>
            <a:solidFill>
              <a:srgbClr val="EAC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šļidé">
              <a:extLst>
                <a:ext uri="{FF2B5EF4-FFF2-40B4-BE49-F238E27FC236}">
                  <a16:creationId xmlns:a16="http://schemas.microsoft.com/office/drawing/2014/main" id="{8B61DA7C-384E-47B6-8569-E6C4D4F212EB}"/>
                </a:ext>
              </a:extLst>
            </p:cNvPr>
            <p:cNvSpPr/>
            <p:nvPr/>
          </p:nvSpPr>
          <p:spPr bwMode="auto">
            <a:xfrm>
              <a:off x="4694238" y="2509838"/>
              <a:ext cx="496888" cy="596900"/>
            </a:xfrm>
            <a:custGeom>
              <a:avLst/>
              <a:gdLst>
                <a:gd name="T0" fmla="*/ 400 w 412"/>
                <a:gd name="T1" fmla="*/ 93 h 495"/>
                <a:gd name="T2" fmla="*/ 323 w 412"/>
                <a:gd name="T3" fmla="*/ 177 h 495"/>
                <a:gd name="T4" fmla="*/ 186 w 412"/>
                <a:gd name="T5" fmla="*/ 331 h 495"/>
                <a:gd name="T6" fmla="*/ 224 w 412"/>
                <a:gd name="T7" fmla="*/ 478 h 495"/>
                <a:gd name="T8" fmla="*/ 64 w 412"/>
                <a:gd name="T9" fmla="*/ 470 h 495"/>
                <a:gd name="T10" fmla="*/ 109 w 412"/>
                <a:gd name="T11" fmla="*/ 105 h 495"/>
                <a:gd name="T12" fmla="*/ 400 w 412"/>
                <a:gd name="T13" fmla="*/ 93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95">
                  <a:moveTo>
                    <a:pt x="400" y="93"/>
                  </a:moveTo>
                  <a:cubicBezTo>
                    <a:pt x="400" y="93"/>
                    <a:pt x="412" y="162"/>
                    <a:pt x="323" y="177"/>
                  </a:cubicBezTo>
                  <a:cubicBezTo>
                    <a:pt x="234" y="192"/>
                    <a:pt x="174" y="257"/>
                    <a:pt x="186" y="331"/>
                  </a:cubicBezTo>
                  <a:cubicBezTo>
                    <a:pt x="197" y="404"/>
                    <a:pt x="260" y="460"/>
                    <a:pt x="224" y="478"/>
                  </a:cubicBezTo>
                  <a:cubicBezTo>
                    <a:pt x="189" y="495"/>
                    <a:pt x="64" y="470"/>
                    <a:pt x="64" y="470"/>
                  </a:cubicBezTo>
                  <a:cubicBezTo>
                    <a:pt x="64" y="470"/>
                    <a:pt x="0" y="211"/>
                    <a:pt x="109" y="105"/>
                  </a:cubicBezTo>
                  <a:cubicBezTo>
                    <a:pt x="217" y="0"/>
                    <a:pt x="366" y="3"/>
                    <a:pt x="400" y="93"/>
                  </a:cubicBezTo>
                  <a:close/>
                </a:path>
              </a:pathLst>
            </a:custGeom>
            <a:solidFill>
              <a:srgbClr val="9E66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ṩ1ïdé">
              <a:extLst>
                <a:ext uri="{FF2B5EF4-FFF2-40B4-BE49-F238E27FC236}">
                  <a16:creationId xmlns:a16="http://schemas.microsoft.com/office/drawing/2014/main" id="{3065CB37-2633-4E55-A9C8-A00BB26534CC}"/>
                </a:ext>
              </a:extLst>
            </p:cNvPr>
            <p:cNvSpPr/>
            <p:nvPr/>
          </p:nvSpPr>
          <p:spPr bwMode="auto">
            <a:xfrm>
              <a:off x="4943475" y="2828925"/>
              <a:ext cx="273050" cy="220663"/>
            </a:xfrm>
            <a:custGeom>
              <a:avLst/>
              <a:gdLst>
                <a:gd name="T0" fmla="*/ 0 w 227"/>
                <a:gd name="T1" fmla="*/ 49 h 184"/>
                <a:gd name="T2" fmla="*/ 9 w 227"/>
                <a:gd name="T3" fmla="*/ 145 h 184"/>
                <a:gd name="T4" fmla="*/ 185 w 227"/>
                <a:gd name="T5" fmla="*/ 146 h 184"/>
                <a:gd name="T6" fmla="*/ 227 w 227"/>
                <a:gd name="T7" fmla="*/ 35 h 184"/>
                <a:gd name="T8" fmla="*/ 0 w 227"/>
                <a:gd name="T9" fmla="*/ 4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84">
                  <a:moveTo>
                    <a:pt x="0" y="49"/>
                  </a:moveTo>
                  <a:cubicBezTo>
                    <a:pt x="9" y="145"/>
                    <a:pt x="9" y="145"/>
                    <a:pt x="9" y="145"/>
                  </a:cubicBezTo>
                  <a:cubicBezTo>
                    <a:pt x="9" y="145"/>
                    <a:pt x="100" y="184"/>
                    <a:pt x="185" y="146"/>
                  </a:cubicBezTo>
                  <a:cubicBezTo>
                    <a:pt x="206" y="118"/>
                    <a:pt x="222" y="103"/>
                    <a:pt x="227" y="35"/>
                  </a:cubicBezTo>
                  <a:cubicBezTo>
                    <a:pt x="205" y="26"/>
                    <a:pt x="100" y="0"/>
                    <a:pt x="0" y="49"/>
                  </a:cubicBez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îṥḷiḍê">
              <a:extLst>
                <a:ext uri="{FF2B5EF4-FFF2-40B4-BE49-F238E27FC236}">
                  <a16:creationId xmlns:a16="http://schemas.microsoft.com/office/drawing/2014/main" id="{6CB1EF62-EF93-44BA-80C4-346A089BE1EE}"/>
                </a:ext>
              </a:extLst>
            </p:cNvPr>
            <p:cNvSpPr/>
            <p:nvPr/>
          </p:nvSpPr>
          <p:spPr bwMode="auto">
            <a:xfrm>
              <a:off x="4960938" y="2851150"/>
              <a:ext cx="254000" cy="179388"/>
            </a:xfrm>
            <a:custGeom>
              <a:avLst/>
              <a:gdLst>
                <a:gd name="T0" fmla="*/ 0 w 211"/>
                <a:gd name="T1" fmla="*/ 37 h 149"/>
                <a:gd name="T2" fmla="*/ 4 w 211"/>
                <a:gd name="T3" fmla="*/ 115 h 149"/>
                <a:gd name="T4" fmla="*/ 177 w 211"/>
                <a:gd name="T5" fmla="*/ 117 h 149"/>
                <a:gd name="T6" fmla="*/ 211 w 211"/>
                <a:gd name="T7" fmla="*/ 27 h 149"/>
                <a:gd name="T8" fmla="*/ 0 w 211"/>
                <a:gd name="T9" fmla="*/ 3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149">
                  <a:moveTo>
                    <a:pt x="0" y="37"/>
                  </a:move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103" y="149"/>
                    <a:pt x="177" y="117"/>
                  </a:cubicBezTo>
                  <a:cubicBezTo>
                    <a:pt x="185" y="108"/>
                    <a:pt x="210" y="79"/>
                    <a:pt x="211" y="27"/>
                  </a:cubicBezTo>
                  <a:cubicBezTo>
                    <a:pt x="171" y="12"/>
                    <a:pt x="77" y="0"/>
                    <a:pt x="0" y="37"/>
                  </a:cubicBez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ŝľíḑé">
              <a:extLst>
                <a:ext uri="{FF2B5EF4-FFF2-40B4-BE49-F238E27FC236}">
                  <a16:creationId xmlns:a16="http://schemas.microsoft.com/office/drawing/2014/main" id="{6D973AF1-F21D-4AD8-83F9-44BCAB611FC5}"/>
                </a:ext>
              </a:extLst>
            </p:cNvPr>
            <p:cNvSpPr/>
            <p:nvPr/>
          </p:nvSpPr>
          <p:spPr bwMode="auto">
            <a:xfrm>
              <a:off x="4916488" y="2881313"/>
              <a:ext cx="26988" cy="9525"/>
            </a:xfrm>
            <a:custGeom>
              <a:avLst/>
              <a:gdLst>
                <a:gd name="T0" fmla="*/ 17 w 17"/>
                <a:gd name="T1" fmla="*/ 4 h 6"/>
                <a:gd name="T2" fmla="*/ 0 w 17"/>
                <a:gd name="T3" fmla="*/ 0 h 6"/>
                <a:gd name="T4" fmla="*/ 0 w 17"/>
                <a:gd name="T5" fmla="*/ 3 h 6"/>
                <a:gd name="T6" fmla="*/ 17 w 17"/>
                <a:gd name="T7" fmla="*/ 6 h 6"/>
                <a:gd name="T8" fmla="*/ 17 w 17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17" y="4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6"/>
                  </a:lnTo>
                  <a:lnTo>
                    <a:pt x="17" y="4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şḻïde">
              <a:extLst>
                <a:ext uri="{FF2B5EF4-FFF2-40B4-BE49-F238E27FC236}">
                  <a16:creationId xmlns:a16="http://schemas.microsoft.com/office/drawing/2014/main" id="{E4E587E2-EDDE-45DB-B9ED-FEB5C898C722}"/>
                </a:ext>
              </a:extLst>
            </p:cNvPr>
            <p:cNvSpPr/>
            <p:nvPr/>
          </p:nvSpPr>
          <p:spPr bwMode="auto">
            <a:xfrm>
              <a:off x="4926013" y="2941638"/>
              <a:ext cx="23813" cy="23813"/>
            </a:xfrm>
            <a:custGeom>
              <a:avLst/>
              <a:gdLst>
                <a:gd name="T0" fmla="*/ 14 w 15"/>
                <a:gd name="T1" fmla="*/ 11 h 15"/>
                <a:gd name="T2" fmla="*/ 0 w 15"/>
                <a:gd name="T3" fmla="*/ 0 h 15"/>
                <a:gd name="T4" fmla="*/ 2 w 15"/>
                <a:gd name="T5" fmla="*/ 5 h 15"/>
                <a:gd name="T6" fmla="*/ 15 w 15"/>
                <a:gd name="T7" fmla="*/ 15 h 15"/>
                <a:gd name="T8" fmla="*/ 14 w 15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4" y="11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15" y="15"/>
                  </a:lnTo>
                  <a:lnTo>
                    <a:pt x="14" y="11"/>
                  </a:lnTo>
                  <a:close/>
                </a:path>
              </a:pathLst>
            </a:custGeom>
            <a:solidFill>
              <a:srgbClr val="DD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ślíḑè">
              <a:extLst>
                <a:ext uri="{FF2B5EF4-FFF2-40B4-BE49-F238E27FC236}">
                  <a16:creationId xmlns:a16="http://schemas.microsoft.com/office/drawing/2014/main" id="{9D2A6956-134B-44AA-BCB3-3889F431C59E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í$ļíďê">
              <a:extLst>
                <a:ext uri="{FF2B5EF4-FFF2-40B4-BE49-F238E27FC236}">
                  <a16:creationId xmlns:a16="http://schemas.microsoft.com/office/drawing/2014/main" id="{3DAA13F9-7469-4813-A904-D9C67C8B2F85}"/>
                </a:ext>
              </a:extLst>
            </p:cNvPr>
            <p:cNvSpPr/>
            <p:nvPr/>
          </p:nvSpPr>
          <p:spPr bwMode="auto">
            <a:xfrm>
              <a:off x="4451350" y="3089275"/>
              <a:ext cx="428625" cy="841375"/>
            </a:xfrm>
            <a:custGeom>
              <a:avLst/>
              <a:gdLst>
                <a:gd name="T0" fmla="*/ 253 w 270"/>
                <a:gd name="T1" fmla="*/ 0 h 530"/>
                <a:gd name="T2" fmla="*/ 155 w 270"/>
                <a:gd name="T3" fmla="*/ 63 h 530"/>
                <a:gd name="T4" fmla="*/ 0 w 270"/>
                <a:gd name="T5" fmla="*/ 460 h 530"/>
                <a:gd name="T6" fmla="*/ 54 w 270"/>
                <a:gd name="T7" fmla="*/ 530 h 530"/>
                <a:gd name="T8" fmla="*/ 155 w 270"/>
                <a:gd name="T9" fmla="*/ 482 h 530"/>
                <a:gd name="T10" fmla="*/ 270 w 270"/>
                <a:gd name="T11" fmla="*/ 20 h 530"/>
                <a:gd name="T12" fmla="*/ 253 w 270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530">
                  <a:moveTo>
                    <a:pt x="253" y="0"/>
                  </a:moveTo>
                  <a:lnTo>
                    <a:pt x="155" y="63"/>
                  </a:lnTo>
                  <a:lnTo>
                    <a:pt x="0" y="460"/>
                  </a:lnTo>
                  <a:lnTo>
                    <a:pt x="54" y="530"/>
                  </a:lnTo>
                  <a:lnTo>
                    <a:pt x="155" y="482"/>
                  </a:lnTo>
                  <a:lnTo>
                    <a:pt x="270" y="20"/>
                  </a:lnTo>
                  <a:lnTo>
                    <a:pt x="2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šļïḑê">
              <a:extLst>
                <a:ext uri="{FF2B5EF4-FFF2-40B4-BE49-F238E27FC236}">
                  <a16:creationId xmlns:a16="http://schemas.microsoft.com/office/drawing/2014/main" id="{F761E4D2-15AE-4FAA-A6E7-EA27540F227C}"/>
                </a:ext>
              </a:extLst>
            </p:cNvPr>
            <p:cNvSpPr/>
            <p:nvPr/>
          </p:nvSpPr>
          <p:spPr bwMode="auto">
            <a:xfrm>
              <a:off x="4437063" y="3014663"/>
              <a:ext cx="1339850" cy="1393825"/>
            </a:xfrm>
            <a:custGeom>
              <a:avLst/>
              <a:gdLst>
                <a:gd name="T0" fmla="*/ 881 w 1111"/>
                <a:gd name="T1" fmla="*/ 0 h 1156"/>
                <a:gd name="T2" fmla="*/ 408 w 1111"/>
                <a:gd name="T3" fmla="*/ 77 h 1156"/>
                <a:gd name="T4" fmla="*/ 407 w 1111"/>
                <a:gd name="T5" fmla="*/ 76 h 1156"/>
                <a:gd name="T6" fmla="*/ 406 w 1111"/>
                <a:gd name="T7" fmla="*/ 78 h 1156"/>
                <a:gd name="T8" fmla="*/ 0 w 1111"/>
                <a:gd name="T9" fmla="*/ 331 h 1156"/>
                <a:gd name="T10" fmla="*/ 386 w 1111"/>
                <a:gd name="T11" fmla="*/ 992 h 1156"/>
                <a:gd name="T12" fmla="*/ 813 w 1111"/>
                <a:gd name="T13" fmla="*/ 1155 h 1156"/>
                <a:gd name="T14" fmla="*/ 1027 w 1111"/>
                <a:gd name="T15" fmla="*/ 750 h 1156"/>
                <a:gd name="T16" fmla="*/ 881 w 1111"/>
                <a:gd name="T17" fmla="*/ 0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1" h="1156">
                  <a:moveTo>
                    <a:pt x="881" y="0"/>
                  </a:moveTo>
                  <a:cubicBezTo>
                    <a:pt x="625" y="165"/>
                    <a:pt x="435" y="89"/>
                    <a:pt x="408" y="77"/>
                  </a:cubicBezTo>
                  <a:cubicBezTo>
                    <a:pt x="408" y="77"/>
                    <a:pt x="407" y="75"/>
                    <a:pt x="407" y="76"/>
                  </a:cubicBezTo>
                  <a:cubicBezTo>
                    <a:pt x="406" y="76"/>
                    <a:pt x="406" y="78"/>
                    <a:pt x="406" y="78"/>
                  </a:cubicBezTo>
                  <a:cubicBezTo>
                    <a:pt x="394" y="104"/>
                    <a:pt x="302" y="287"/>
                    <a:pt x="0" y="331"/>
                  </a:cubicBezTo>
                  <a:cubicBezTo>
                    <a:pt x="0" y="331"/>
                    <a:pt x="146" y="849"/>
                    <a:pt x="386" y="992"/>
                  </a:cubicBezTo>
                  <a:cubicBezTo>
                    <a:pt x="642" y="1145"/>
                    <a:pt x="813" y="1156"/>
                    <a:pt x="813" y="1155"/>
                  </a:cubicBezTo>
                  <a:cubicBezTo>
                    <a:pt x="814" y="1155"/>
                    <a:pt x="937" y="1035"/>
                    <a:pt x="1027" y="750"/>
                  </a:cubicBezTo>
                  <a:cubicBezTo>
                    <a:pt x="1111" y="484"/>
                    <a:pt x="881" y="0"/>
                    <a:pt x="881" y="0"/>
                  </a:cubicBezTo>
                </a:path>
              </a:pathLst>
            </a:custGeom>
            <a:solidFill>
              <a:srgbClr val="066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śļïḋê">
              <a:extLst>
                <a:ext uri="{FF2B5EF4-FFF2-40B4-BE49-F238E27FC236}">
                  <a16:creationId xmlns:a16="http://schemas.microsoft.com/office/drawing/2014/main" id="{B232EF47-AD4E-4258-97BA-B8C9BD503F1A}"/>
                </a:ext>
              </a:extLst>
            </p:cNvPr>
            <p:cNvSpPr/>
            <p:nvPr/>
          </p:nvSpPr>
          <p:spPr bwMode="auto">
            <a:xfrm>
              <a:off x="4510088" y="3095625"/>
              <a:ext cx="1211263" cy="1258888"/>
            </a:xfrm>
            <a:custGeom>
              <a:avLst/>
              <a:gdLst>
                <a:gd name="T0" fmla="*/ 799 w 1005"/>
                <a:gd name="T1" fmla="*/ 0 h 1044"/>
                <a:gd name="T2" fmla="*/ 371 w 1005"/>
                <a:gd name="T3" fmla="*/ 71 h 1044"/>
                <a:gd name="T4" fmla="*/ 370 w 1005"/>
                <a:gd name="T5" fmla="*/ 70 h 1044"/>
                <a:gd name="T6" fmla="*/ 369 w 1005"/>
                <a:gd name="T7" fmla="*/ 72 h 1044"/>
                <a:gd name="T8" fmla="*/ 0 w 1005"/>
                <a:gd name="T9" fmla="*/ 300 h 1044"/>
                <a:gd name="T10" fmla="*/ 346 w 1005"/>
                <a:gd name="T11" fmla="*/ 888 h 1044"/>
                <a:gd name="T12" fmla="*/ 736 w 1005"/>
                <a:gd name="T13" fmla="*/ 1043 h 1044"/>
                <a:gd name="T14" fmla="*/ 927 w 1005"/>
                <a:gd name="T15" fmla="*/ 669 h 1044"/>
                <a:gd name="T16" fmla="*/ 799 w 1005"/>
                <a:gd name="T17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5" h="1044">
                  <a:moveTo>
                    <a:pt x="799" y="0"/>
                  </a:moveTo>
                  <a:cubicBezTo>
                    <a:pt x="567" y="148"/>
                    <a:pt x="395" y="82"/>
                    <a:pt x="371" y="71"/>
                  </a:cubicBezTo>
                  <a:cubicBezTo>
                    <a:pt x="371" y="71"/>
                    <a:pt x="370" y="69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130" y="761"/>
                    <a:pt x="346" y="888"/>
                  </a:cubicBezTo>
                  <a:cubicBezTo>
                    <a:pt x="576" y="1023"/>
                    <a:pt x="736" y="1044"/>
                    <a:pt x="736" y="1043"/>
                  </a:cubicBezTo>
                  <a:cubicBezTo>
                    <a:pt x="737" y="1043"/>
                    <a:pt x="845" y="923"/>
                    <a:pt x="927" y="669"/>
                  </a:cubicBezTo>
                  <a:cubicBezTo>
                    <a:pt x="1005" y="431"/>
                    <a:pt x="799" y="0"/>
                    <a:pt x="799" y="0"/>
                  </a:cubicBezTo>
                </a:path>
              </a:pathLst>
            </a:custGeom>
            <a:solidFill>
              <a:srgbClr val="4498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sľïḋé">
              <a:extLst>
                <a:ext uri="{FF2B5EF4-FFF2-40B4-BE49-F238E27FC236}">
                  <a16:creationId xmlns:a16="http://schemas.microsoft.com/office/drawing/2014/main" id="{10E308AF-5D6C-4B4B-84B3-367F32D5CACA}"/>
                </a:ext>
              </a:extLst>
            </p:cNvPr>
            <p:cNvSpPr/>
            <p:nvPr/>
          </p:nvSpPr>
          <p:spPr bwMode="auto">
            <a:xfrm>
              <a:off x="4510088" y="3095625"/>
              <a:ext cx="990600" cy="425450"/>
            </a:xfrm>
            <a:custGeom>
              <a:avLst/>
              <a:gdLst>
                <a:gd name="T0" fmla="*/ 799 w 821"/>
                <a:gd name="T1" fmla="*/ 0 h 353"/>
                <a:gd name="T2" fmla="*/ 504 w 821"/>
                <a:gd name="T3" fmla="*/ 95 h 353"/>
                <a:gd name="T4" fmla="*/ 371 w 821"/>
                <a:gd name="T5" fmla="*/ 71 h 353"/>
                <a:gd name="T6" fmla="*/ 370 w 821"/>
                <a:gd name="T7" fmla="*/ 70 h 353"/>
                <a:gd name="T8" fmla="*/ 370 w 821"/>
                <a:gd name="T9" fmla="*/ 70 h 353"/>
                <a:gd name="T10" fmla="*/ 370 w 821"/>
                <a:gd name="T11" fmla="*/ 70 h 353"/>
                <a:gd name="T12" fmla="*/ 369 w 821"/>
                <a:gd name="T13" fmla="*/ 72 h 353"/>
                <a:gd name="T14" fmla="*/ 0 w 821"/>
                <a:gd name="T15" fmla="*/ 300 h 353"/>
                <a:gd name="T16" fmla="*/ 17 w 821"/>
                <a:gd name="T17" fmla="*/ 353 h 353"/>
                <a:gd name="T18" fmla="*/ 386 w 821"/>
                <a:gd name="T19" fmla="*/ 116 h 353"/>
                <a:gd name="T20" fmla="*/ 386 w 821"/>
                <a:gd name="T21" fmla="*/ 114 h 353"/>
                <a:gd name="T22" fmla="*/ 386 w 821"/>
                <a:gd name="T23" fmla="*/ 114 h 353"/>
                <a:gd name="T24" fmla="*/ 387 w 821"/>
                <a:gd name="T25" fmla="*/ 114 h 353"/>
                <a:gd name="T26" fmla="*/ 388 w 821"/>
                <a:gd name="T27" fmla="*/ 115 h 353"/>
                <a:gd name="T28" fmla="*/ 527 w 821"/>
                <a:gd name="T29" fmla="*/ 140 h 353"/>
                <a:gd name="T30" fmla="*/ 821 w 821"/>
                <a:gd name="T31" fmla="*/ 49 h 353"/>
                <a:gd name="T32" fmla="*/ 799 w 821"/>
                <a:gd name="T33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1" h="353">
                  <a:moveTo>
                    <a:pt x="799" y="0"/>
                  </a:moveTo>
                  <a:cubicBezTo>
                    <a:pt x="681" y="75"/>
                    <a:pt x="579" y="95"/>
                    <a:pt x="504" y="95"/>
                  </a:cubicBezTo>
                  <a:cubicBezTo>
                    <a:pt x="431" y="95"/>
                    <a:pt x="383" y="76"/>
                    <a:pt x="371" y="71"/>
                  </a:cubicBezTo>
                  <a:cubicBezTo>
                    <a:pt x="371" y="71"/>
                    <a:pt x="371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69" y="70"/>
                    <a:pt x="369" y="72"/>
                    <a:pt x="369" y="72"/>
                  </a:cubicBezTo>
                  <a:cubicBezTo>
                    <a:pt x="358" y="95"/>
                    <a:pt x="273" y="259"/>
                    <a:pt x="0" y="300"/>
                  </a:cubicBezTo>
                  <a:cubicBezTo>
                    <a:pt x="0" y="300"/>
                    <a:pt x="6" y="320"/>
                    <a:pt x="17" y="353"/>
                  </a:cubicBezTo>
                  <a:cubicBezTo>
                    <a:pt x="289" y="305"/>
                    <a:pt x="375" y="140"/>
                    <a:pt x="386" y="116"/>
                  </a:cubicBezTo>
                  <a:cubicBezTo>
                    <a:pt x="386" y="116"/>
                    <a:pt x="386" y="114"/>
                    <a:pt x="386" y="114"/>
                  </a:cubicBezTo>
                  <a:cubicBezTo>
                    <a:pt x="386" y="114"/>
                    <a:pt x="386" y="114"/>
                    <a:pt x="386" y="114"/>
                  </a:cubicBezTo>
                  <a:cubicBezTo>
                    <a:pt x="387" y="114"/>
                    <a:pt x="387" y="114"/>
                    <a:pt x="387" y="114"/>
                  </a:cubicBezTo>
                  <a:cubicBezTo>
                    <a:pt x="387" y="114"/>
                    <a:pt x="388" y="115"/>
                    <a:pt x="388" y="115"/>
                  </a:cubicBezTo>
                  <a:cubicBezTo>
                    <a:pt x="400" y="120"/>
                    <a:pt x="450" y="140"/>
                    <a:pt x="527" y="140"/>
                  </a:cubicBezTo>
                  <a:cubicBezTo>
                    <a:pt x="602" y="140"/>
                    <a:pt x="704" y="121"/>
                    <a:pt x="821" y="49"/>
                  </a:cubicBezTo>
                  <a:cubicBezTo>
                    <a:pt x="808" y="18"/>
                    <a:pt x="799" y="0"/>
                    <a:pt x="799" y="0"/>
                  </a:cubicBezTo>
                </a:path>
              </a:pathLst>
            </a:custGeom>
            <a:solidFill>
              <a:srgbClr val="408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ṧḷíḓé">
              <a:extLst>
                <a:ext uri="{FF2B5EF4-FFF2-40B4-BE49-F238E27FC236}">
                  <a16:creationId xmlns:a16="http://schemas.microsoft.com/office/drawing/2014/main" id="{A8100813-79EE-4135-9494-4A3CD7302A17}"/>
                </a:ext>
              </a:extLst>
            </p:cNvPr>
            <p:cNvSpPr/>
            <p:nvPr/>
          </p:nvSpPr>
          <p:spPr bwMode="auto">
            <a:xfrm>
              <a:off x="4451350" y="3563938"/>
              <a:ext cx="650875" cy="366713"/>
            </a:xfrm>
            <a:custGeom>
              <a:avLst/>
              <a:gdLst>
                <a:gd name="T0" fmla="*/ 0 w 410"/>
                <a:gd name="T1" fmla="*/ 161 h 231"/>
                <a:gd name="T2" fmla="*/ 89 w 410"/>
                <a:gd name="T3" fmla="*/ 79 h 231"/>
                <a:gd name="T4" fmla="*/ 389 w 410"/>
                <a:gd name="T5" fmla="*/ 0 h 231"/>
                <a:gd name="T6" fmla="*/ 410 w 410"/>
                <a:gd name="T7" fmla="*/ 55 h 231"/>
                <a:gd name="T8" fmla="*/ 143 w 410"/>
                <a:gd name="T9" fmla="*/ 231 h 231"/>
                <a:gd name="T10" fmla="*/ 54 w 410"/>
                <a:gd name="T11" fmla="*/ 231 h 231"/>
                <a:gd name="T12" fmla="*/ 0 w 410"/>
                <a:gd name="T13" fmla="*/ 16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" h="231">
                  <a:moveTo>
                    <a:pt x="0" y="161"/>
                  </a:moveTo>
                  <a:lnTo>
                    <a:pt x="89" y="79"/>
                  </a:lnTo>
                  <a:lnTo>
                    <a:pt x="389" y="0"/>
                  </a:lnTo>
                  <a:lnTo>
                    <a:pt x="410" y="55"/>
                  </a:lnTo>
                  <a:lnTo>
                    <a:pt x="143" y="231"/>
                  </a:lnTo>
                  <a:lnTo>
                    <a:pt x="54" y="231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8" name="i$1íḑê">
            <a:extLst>
              <a:ext uri="{FF2B5EF4-FFF2-40B4-BE49-F238E27FC236}">
                <a16:creationId xmlns:a16="http://schemas.microsoft.com/office/drawing/2014/main" id="{96479E3F-D591-4344-BD82-468C95BC5B72}"/>
              </a:ext>
            </a:extLst>
          </p:cNvPr>
          <p:cNvSpPr/>
          <p:nvPr/>
        </p:nvSpPr>
        <p:spPr>
          <a:xfrm rot="5400000">
            <a:off x="462604" y="1492378"/>
            <a:ext cx="4724646" cy="4356099"/>
          </a:xfrm>
          <a:prstGeom prst="blockArc">
            <a:avLst>
              <a:gd name="adj1" fmla="val 11276733"/>
              <a:gd name="adj2" fmla="val 20956921"/>
              <a:gd name="adj3" fmla="val 8266"/>
            </a:avLst>
          </a:prstGeom>
          <a:gradFill>
            <a:gsLst>
              <a:gs pos="0">
                <a:schemeClr val="bg1">
                  <a:lumMod val="85000"/>
                  <a:alpha val="51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1" name="iṧlïďe">
            <a:extLst>
              <a:ext uri="{FF2B5EF4-FFF2-40B4-BE49-F238E27FC236}">
                <a16:creationId xmlns:a16="http://schemas.microsoft.com/office/drawing/2014/main" id="{0659F492-AD17-40CD-A782-9ADF5EEA4E4D}"/>
              </a:ext>
            </a:extLst>
          </p:cNvPr>
          <p:cNvSpPr txBox="1"/>
          <p:nvPr/>
        </p:nvSpPr>
        <p:spPr bwMode="auto">
          <a:xfrm>
            <a:off x="5315898" y="1321733"/>
            <a:ext cx="2715364" cy="4418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600" b="1" dirty="0"/>
              <a:t>Step 1.  Lower case</a:t>
            </a:r>
          </a:p>
        </p:txBody>
      </p:sp>
      <p:grpSp>
        <p:nvGrpSpPr>
          <p:cNvPr id="503" name="8b3f14cc-9f84-41e8-8138-7054b945ee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9A955C2-EA32-4A68-8A1E-218E6C22101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0787" y="2381790"/>
            <a:ext cx="2574972" cy="2556606"/>
            <a:chOff x="3870325" y="1222375"/>
            <a:chExt cx="4451350" cy="4419601"/>
          </a:xfrm>
        </p:grpSpPr>
        <p:sp>
          <p:nvSpPr>
            <p:cNvPr id="504" name="iś1îḋé">
              <a:extLst>
                <a:ext uri="{FF2B5EF4-FFF2-40B4-BE49-F238E27FC236}">
                  <a16:creationId xmlns:a16="http://schemas.microsoft.com/office/drawing/2014/main" id="{2140A1A5-D1F9-469E-B43C-3432C43CBE1D}"/>
                </a:ext>
              </a:extLst>
            </p:cNvPr>
            <p:cNvSpPr/>
            <p:nvPr/>
          </p:nvSpPr>
          <p:spPr bwMode="auto">
            <a:xfrm>
              <a:off x="5173663" y="5332413"/>
              <a:ext cx="733425" cy="111125"/>
            </a:xfrm>
            <a:custGeom>
              <a:avLst/>
              <a:gdLst>
                <a:gd name="T0" fmla="*/ 36 w 277"/>
                <a:gd name="T1" fmla="*/ 0 h 42"/>
                <a:gd name="T2" fmla="*/ 241 w 277"/>
                <a:gd name="T3" fmla="*/ 0 h 42"/>
                <a:gd name="T4" fmla="*/ 277 w 277"/>
                <a:gd name="T5" fmla="*/ 36 h 42"/>
                <a:gd name="T6" fmla="*/ 277 w 277"/>
                <a:gd name="T7" fmla="*/ 42 h 42"/>
                <a:gd name="T8" fmla="*/ 0 w 277"/>
                <a:gd name="T9" fmla="*/ 42 h 42"/>
                <a:gd name="T10" fmla="*/ 0 w 277"/>
                <a:gd name="T11" fmla="*/ 36 h 42"/>
                <a:gd name="T12" fmla="*/ 36 w 277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42">
                  <a:moveTo>
                    <a:pt x="36" y="0"/>
                  </a:moveTo>
                  <a:cubicBezTo>
                    <a:pt x="241" y="0"/>
                    <a:pt x="241" y="0"/>
                    <a:pt x="241" y="0"/>
                  </a:cubicBezTo>
                  <a:cubicBezTo>
                    <a:pt x="261" y="0"/>
                    <a:pt x="277" y="16"/>
                    <a:pt x="277" y="36"/>
                  </a:cubicBezTo>
                  <a:cubicBezTo>
                    <a:pt x="277" y="42"/>
                    <a:pt x="277" y="42"/>
                    <a:pt x="277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lose/>
                </a:path>
              </a:pathLst>
            </a:cu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išlïḑé">
              <a:extLst>
                <a:ext uri="{FF2B5EF4-FFF2-40B4-BE49-F238E27FC236}">
                  <a16:creationId xmlns:a16="http://schemas.microsoft.com/office/drawing/2014/main" id="{18DFA911-C41A-4BB0-998F-852C31966C54}"/>
                </a:ext>
              </a:extLst>
            </p:cNvPr>
            <p:cNvSpPr/>
            <p:nvPr/>
          </p:nvSpPr>
          <p:spPr bwMode="auto">
            <a:xfrm>
              <a:off x="5043488" y="1544638"/>
              <a:ext cx="1077913" cy="3843338"/>
            </a:xfrm>
            <a:custGeom>
              <a:avLst/>
              <a:gdLst>
                <a:gd name="T0" fmla="*/ 406 w 407"/>
                <a:gd name="T1" fmla="*/ 187 h 1453"/>
                <a:gd name="T2" fmla="*/ 238 w 407"/>
                <a:gd name="T3" fmla="*/ 284 h 1453"/>
                <a:gd name="T4" fmla="*/ 155 w 407"/>
                <a:gd name="T5" fmla="*/ 237 h 1453"/>
                <a:gd name="T6" fmla="*/ 155 w 407"/>
                <a:gd name="T7" fmla="*/ 140 h 1453"/>
                <a:gd name="T8" fmla="*/ 322 w 407"/>
                <a:gd name="T9" fmla="*/ 44 h 1453"/>
                <a:gd name="T10" fmla="*/ 167 w 407"/>
                <a:gd name="T11" fmla="*/ 12 h 1453"/>
                <a:gd name="T12" fmla="*/ 10 w 407"/>
                <a:gd name="T13" fmla="*/ 179 h 1453"/>
                <a:gd name="T14" fmla="*/ 75 w 407"/>
                <a:gd name="T15" fmla="*/ 356 h 1453"/>
                <a:gd name="T16" fmla="*/ 96 w 407"/>
                <a:gd name="T17" fmla="*/ 401 h 1453"/>
                <a:gd name="T18" fmla="*/ 96 w 407"/>
                <a:gd name="T19" fmla="*/ 555 h 1453"/>
                <a:gd name="T20" fmla="*/ 73 w 407"/>
                <a:gd name="T21" fmla="*/ 1337 h 1453"/>
                <a:gd name="T22" fmla="*/ 186 w 407"/>
                <a:gd name="T23" fmla="*/ 1453 h 1453"/>
                <a:gd name="T24" fmla="*/ 186 w 407"/>
                <a:gd name="T25" fmla="*/ 1453 h 1453"/>
                <a:gd name="T26" fmla="*/ 299 w 407"/>
                <a:gd name="T27" fmla="*/ 1337 h 1453"/>
                <a:gd name="T28" fmla="*/ 276 w 407"/>
                <a:gd name="T29" fmla="*/ 555 h 1453"/>
                <a:gd name="T30" fmla="*/ 276 w 407"/>
                <a:gd name="T31" fmla="*/ 431 h 1453"/>
                <a:gd name="T32" fmla="*/ 307 w 407"/>
                <a:gd name="T33" fmla="*/ 380 h 1453"/>
                <a:gd name="T34" fmla="*/ 407 w 407"/>
                <a:gd name="T35" fmla="*/ 207 h 1453"/>
                <a:gd name="T36" fmla="*/ 406 w 407"/>
                <a:gd name="T37" fmla="*/ 187 h 1453"/>
                <a:gd name="T38" fmla="*/ 188 w 407"/>
                <a:gd name="T39" fmla="*/ 1386 h 1453"/>
                <a:gd name="T40" fmla="*/ 129 w 407"/>
                <a:gd name="T41" fmla="*/ 1327 h 1453"/>
                <a:gd name="T42" fmla="*/ 188 w 407"/>
                <a:gd name="T43" fmla="*/ 1268 h 1453"/>
                <a:gd name="T44" fmla="*/ 247 w 407"/>
                <a:gd name="T45" fmla="*/ 1327 h 1453"/>
                <a:gd name="T46" fmla="*/ 188 w 407"/>
                <a:gd name="T47" fmla="*/ 1386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7" h="1453">
                  <a:moveTo>
                    <a:pt x="406" y="187"/>
                  </a:moveTo>
                  <a:cubicBezTo>
                    <a:pt x="238" y="284"/>
                    <a:pt x="238" y="284"/>
                    <a:pt x="238" y="284"/>
                  </a:cubicBezTo>
                  <a:cubicBezTo>
                    <a:pt x="155" y="237"/>
                    <a:pt x="155" y="237"/>
                    <a:pt x="155" y="237"/>
                  </a:cubicBezTo>
                  <a:cubicBezTo>
                    <a:pt x="155" y="140"/>
                    <a:pt x="155" y="140"/>
                    <a:pt x="155" y="140"/>
                  </a:cubicBezTo>
                  <a:cubicBezTo>
                    <a:pt x="322" y="44"/>
                    <a:pt x="322" y="44"/>
                    <a:pt x="322" y="44"/>
                  </a:cubicBezTo>
                  <a:cubicBezTo>
                    <a:pt x="280" y="14"/>
                    <a:pt x="225" y="0"/>
                    <a:pt x="167" y="12"/>
                  </a:cubicBezTo>
                  <a:cubicBezTo>
                    <a:pt x="84" y="28"/>
                    <a:pt x="22" y="94"/>
                    <a:pt x="10" y="179"/>
                  </a:cubicBezTo>
                  <a:cubicBezTo>
                    <a:pt x="0" y="249"/>
                    <a:pt x="28" y="314"/>
                    <a:pt x="75" y="356"/>
                  </a:cubicBezTo>
                  <a:cubicBezTo>
                    <a:pt x="88" y="368"/>
                    <a:pt x="96" y="384"/>
                    <a:pt x="96" y="401"/>
                  </a:cubicBezTo>
                  <a:cubicBezTo>
                    <a:pt x="96" y="555"/>
                    <a:pt x="96" y="555"/>
                    <a:pt x="96" y="555"/>
                  </a:cubicBezTo>
                  <a:cubicBezTo>
                    <a:pt x="73" y="1337"/>
                    <a:pt x="73" y="1337"/>
                    <a:pt x="73" y="1337"/>
                  </a:cubicBezTo>
                  <a:cubicBezTo>
                    <a:pt x="72" y="1400"/>
                    <a:pt x="123" y="1453"/>
                    <a:pt x="186" y="1453"/>
                  </a:cubicBezTo>
                  <a:cubicBezTo>
                    <a:pt x="186" y="1453"/>
                    <a:pt x="186" y="1453"/>
                    <a:pt x="186" y="1453"/>
                  </a:cubicBezTo>
                  <a:cubicBezTo>
                    <a:pt x="250" y="1453"/>
                    <a:pt x="301" y="1400"/>
                    <a:pt x="299" y="1337"/>
                  </a:cubicBezTo>
                  <a:cubicBezTo>
                    <a:pt x="276" y="555"/>
                    <a:pt x="276" y="555"/>
                    <a:pt x="276" y="555"/>
                  </a:cubicBezTo>
                  <a:cubicBezTo>
                    <a:pt x="276" y="431"/>
                    <a:pt x="276" y="431"/>
                    <a:pt x="276" y="431"/>
                  </a:cubicBezTo>
                  <a:cubicBezTo>
                    <a:pt x="276" y="410"/>
                    <a:pt x="288" y="390"/>
                    <a:pt x="307" y="380"/>
                  </a:cubicBezTo>
                  <a:cubicBezTo>
                    <a:pt x="367" y="345"/>
                    <a:pt x="407" y="281"/>
                    <a:pt x="407" y="207"/>
                  </a:cubicBezTo>
                  <a:cubicBezTo>
                    <a:pt x="407" y="200"/>
                    <a:pt x="407" y="194"/>
                    <a:pt x="406" y="187"/>
                  </a:cubicBezTo>
                  <a:close/>
                  <a:moveTo>
                    <a:pt x="188" y="1386"/>
                  </a:moveTo>
                  <a:cubicBezTo>
                    <a:pt x="156" y="1386"/>
                    <a:pt x="129" y="1360"/>
                    <a:pt x="129" y="1327"/>
                  </a:cubicBezTo>
                  <a:cubicBezTo>
                    <a:pt x="129" y="1295"/>
                    <a:pt x="156" y="1268"/>
                    <a:pt x="188" y="1268"/>
                  </a:cubicBezTo>
                  <a:cubicBezTo>
                    <a:pt x="221" y="1268"/>
                    <a:pt x="247" y="1295"/>
                    <a:pt x="247" y="1327"/>
                  </a:cubicBezTo>
                  <a:cubicBezTo>
                    <a:pt x="247" y="1360"/>
                    <a:pt x="221" y="1386"/>
                    <a:pt x="188" y="1386"/>
                  </a:cubicBez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íŝḻïḍé">
              <a:extLst>
                <a:ext uri="{FF2B5EF4-FFF2-40B4-BE49-F238E27FC236}">
                  <a16:creationId xmlns:a16="http://schemas.microsoft.com/office/drawing/2014/main" id="{5B009DC3-5D13-45AC-9B0A-27F638DC0230}"/>
                </a:ext>
              </a:extLst>
            </p:cNvPr>
            <p:cNvSpPr/>
            <p:nvPr/>
          </p:nvSpPr>
          <p:spPr bwMode="auto">
            <a:xfrm>
              <a:off x="5453063" y="2038350"/>
              <a:ext cx="665163" cy="328613"/>
            </a:xfrm>
            <a:custGeom>
              <a:avLst/>
              <a:gdLst>
                <a:gd name="T0" fmla="*/ 0 w 419"/>
                <a:gd name="T1" fmla="*/ 84 h 207"/>
                <a:gd name="T2" fmla="*/ 0 w 419"/>
                <a:gd name="T3" fmla="*/ 125 h 207"/>
                <a:gd name="T4" fmla="*/ 149 w 419"/>
                <a:gd name="T5" fmla="*/ 207 h 207"/>
                <a:gd name="T6" fmla="*/ 419 w 419"/>
                <a:gd name="T7" fmla="*/ 0 h 207"/>
                <a:gd name="T8" fmla="*/ 139 w 419"/>
                <a:gd name="T9" fmla="*/ 162 h 207"/>
                <a:gd name="T10" fmla="*/ 0 w 419"/>
                <a:gd name="T11" fmla="*/ 8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207">
                  <a:moveTo>
                    <a:pt x="0" y="84"/>
                  </a:moveTo>
                  <a:lnTo>
                    <a:pt x="0" y="125"/>
                  </a:lnTo>
                  <a:lnTo>
                    <a:pt x="149" y="207"/>
                  </a:lnTo>
                  <a:lnTo>
                    <a:pt x="419" y="0"/>
                  </a:lnTo>
                  <a:lnTo>
                    <a:pt x="139" y="16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7" name="î$lîḋê">
              <a:extLst>
                <a:ext uri="{FF2B5EF4-FFF2-40B4-BE49-F238E27FC236}">
                  <a16:creationId xmlns:a16="http://schemas.microsoft.com/office/drawing/2014/main" id="{103ACE64-A4A2-4446-8AFB-037D6DA1FA89}"/>
                </a:ext>
              </a:extLst>
            </p:cNvPr>
            <p:cNvSpPr/>
            <p:nvPr/>
          </p:nvSpPr>
          <p:spPr bwMode="auto">
            <a:xfrm>
              <a:off x="5419725" y="1636713"/>
              <a:ext cx="476250" cy="600075"/>
            </a:xfrm>
            <a:custGeom>
              <a:avLst/>
              <a:gdLst>
                <a:gd name="T0" fmla="*/ 21 w 300"/>
                <a:gd name="T1" fmla="*/ 378 h 378"/>
                <a:gd name="T2" fmla="*/ 0 w 300"/>
                <a:gd name="T3" fmla="*/ 367 h 378"/>
                <a:gd name="T4" fmla="*/ 0 w 300"/>
                <a:gd name="T5" fmla="*/ 163 h 378"/>
                <a:gd name="T6" fmla="*/ 277 w 300"/>
                <a:gd name="T7" fmla="*/ 0 h 378"/>
                <a:gd name="T8" fmla="*/ 300 w 300"/>
                <a:gd name="T9" fmla="*/ 15 h 378"/>
                <a:gd name="T10" fmla="*/ 21 w 300"/>
                <a:gd name="T11" fmla="*/ 175 h 378"/>
                <a:gd name="T12" fmla="*/ 21 w 300"/>
                <a:gd name="T13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0" h="378">
                  <a:moveTo>
                    <a:pt x="21" y="378"/>
                  </a:moveTo>
                  <a:lnTo>
                    <a:pt x="0" y="367"/>
                  </a:lnTo>
                  <a:lnTo>
                    <a:pt x="0" y="163"/>
                  </a:lnTo>
                  <a:lnTo>
                    <a:pt x="277" y="0"/>
                  </a:lnTo>
                  <a:lnTo>
                    <a:pt x="300" y="15"/>
                  </a:lnTo>
                  <a:lnTo>
                    <a:pt x="21" y="175"/>
                  </a:lnTo>
                  <a:lnTo>
                    <a:pt x="21" y="378"/>
                  </a:ln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8" name="íṥlïḓè">
              <a:extLst>
                <a:ext uri="{FF2B5EF4-FFF2-40B4-BE49-F238E27FC236}">
                  <a16:creationId xmlns:a16="http://schemas.microsoft.com/office/drawing/2014/main" id="{39894FE3-7072-4308-BF5F-6CD646EF35CE}"/>
                </a:ext>
              </a:extLst>
            </p:cNvPr>
            <p:cNvSpPr/>
            <p:nvPr/>
          </p:nvSpPr>
          <p:spPr bwMode="auto">
            <a:xfrm>
              <a:off x="5043488" y="1560513"/>
              <a:ext cx="693738" cy="3827463"/>
            </a:xfrm>
            <a:custGeom>
              <a:avLst/>
              <a:gdLst>
                <a:gd name="T0" fmla="*/ 160 w 262"/>
                <a:gd name="T1" fmla="*/ 1423 h 1447"/>
                <a:gd name="T2" fmla="*/ 94 w 262"/>
                <a:gd name="T3" fmla="*/ 1307 h 1447"/>
                <a:gd name="T4" fmla="*/ 120 w 262"/>
                <a:gd name="T5" fmla="*/ 394 h 1447"/>
                <a:gd name="T6" fmla="*/ 39 w 262"/>
                <a:gd name="T7" fmla="*/ 177 h 1447"/>
                <a:gd name="T8" fmla="*/ 262 w 262"/>
                <a:gd name="T9" fmla="*/ 10 h 1447"/>
                <a:gd name="T10" fmla="*/ 179 w 262"/>
                <a:gd name="T11" fmla="*/ 4 h 1447"/>
                <a:gd name="T12" fmla="*/ 10 w 262"/>
                <a:gd name="T13" fmla="*/ 172 h 1447"/>
                <a:gd name="T14" fmla="*/ 77 w 262"/>
                <a:gd name="T15" fmla="*/ 352 h 1447"/>
                <a:gd name="T16" fmla="*/ 96 w 262"/>
                <a:gd name="T17" fmla="*/ 395 h 1447"/>
                <a:gd name="T18" fmla="*/ 96 w 262"/>
                <a:gd name="T19" fmla="*/ 519 h 1447"/>
                <a:gd name="T20" fmla="*/ 96 w 262"/>
                <a:gd name="T21" fmla="*/ 519 h 1447"/>
                <a:gd name="T22" fmla="*/ 96 w 262"/>
                <a:gd name="T23" fmla="*/ 549 h 1447"/>
                <a:gd name="T24" fmla="*/ 73 w 262"/>
                <a:gd name="T25" fmla="*/ 1331 h 1447"/>
                <a:gd name="T26" fmla="*/ 186 w 262"/>
                <a:gd name="T27" fmla="*/ 1447 h 1447"/>
                <a:gd name="T28" fmla="*/ 254 w 262"/>
                <a:gd name="T29" fmla="*/ 1424 h 1447"/>
                <a:gd name="T30" fmla="*/ 160 w 262"/>
                <a:gd name="T31" fmla="*/ 1423 h 1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2" h="1447">
                  <a:moveTo>
                    <a:pt x="160" y="1423"/>
                  </a:moveTo>
                  <a:cubicBezTo>
                    <a:pt x="115" y="1407"/>
                    <a:pt x="94" y="1368"/>
                    <a:pt x="94" y="1307"/>
                  </a:cubicBezTo>
                  <a:cubicBezTo>
                    <a:pt x="94" y="1207"/>
                    <a:pt x="120" y="441"/>
                    <a:pt x="120" y="394"/>
                  </a:cubicBezTo>
                  <a:cubicBezTo>
                    <a:pt x="120" y="318"/>
                    <a:pt x="21" y="318"/>
                    <a:pt x="39" y="177"/>
                  </a:cubicBezTo>
                  <a:cubicBezTo>
                    <a:pt x="58" y="30"/>
                    <a:pt x="207" y="2"/>
                    <a:pt x="262" y="10"/>
                  </a:cubicBezTo>
                  <a:cubicBezTo>
                    <a:pt x="236" y="2"/>
                    <a:pt x="208" y="0"/>
                    <a:pt x="179" y="4"/>
                  </a:cubicBezTo>
                  <a:cubicBezTo>
                    <a:pt x="92" y="16"/>
                    <a:pt x="22" y="86"/>
                    <a:pt x="10" y="172"/>
                  </a:cubicBezTo>
                  <a:cubicBezTo>
                    <a:pt x="0" y="244"/>
                    <a:pt x="28" y="309"/>
                    <a:pt x="77" y="352"/>
                  </a:cubicBezTo>
                  <a:cubicBezTo>
                    <a:pt x="90" y="363"/>
                    <a:pt x="96" y="379"/>
                    <a:pt x="96" y="395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19"/>
                    <a:pt x="96" y="519"/>
                    <a:pt x="96" y="519"/>
                  </a:cubicBezTo>
                  <a:cubicBezTo>
                    <a:pt x="96" y="549"/>
                    <a:pt x="96" y="549"/>
                    <a:pt x="96" y="549"/>
                  </a:cubicBezTo>
                  <a:cubicBezTo>
                    <a:pt x="73" y="1331"/>
                    <a:pt x="73" y="1331"/>
                    <a:pt x="73" y="1331"/>
                  </a:cubicBezTo>
                  <a:cubicBezTo>
                    <a:pt x="72" y="1394"/>
                    <a:pt x="123" y="1447"/>
                    <a:pt x="186" y="1447"/>
                  </a:cubicBezTo>
                  <a:cubicBezTo>
                    <a:pt x="212" y="1447"/>
                    <a:pt x="235" y="1438"/>
                    <a:pt x="254" y="1424"/>
                  </a:cubicBezTo>
                  <a:cubicBezTo>
                    <a:pt x="255" y="1423"/>
                    <a:pt x="208" y="1441"/>
                    <a:pt x="160" y="1423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9" name="îṥľîḑè">
              <a:extLst>
                <a:ext uri="{FF2B5EF4-FFF2-40B4-BE49-F238E27FC236}">
                  <a16:creationId xmlns:a16="http://schemas.microsoft.com/office/drawing/2014/main" id="{BD1F1B36-7355-4FFD-8AA0-00D392E20FA6}"/>
                </a:ext>
              </a:extLst>
            </p:cNvPr>
            <p:cNvSpPr/>
            <p:nvPr/>
          </p:nvSpPr>
          <p:spPr bwMode="auto">
            <a:xfrm>
              <a:off x="5740400" y="2038350"/>
              <a:ext cx="381000" cy="3167063"/>
            </a:xfrm>
            <a:custGeom>
              <a:avLst/>
              <a:gdLst>
                <a:gd name="T0" fmla="*/ 143 w 144"/>
                <a:gd name="T1" fmla="*/ 0 h 1197"/>
                <a:gd name="T2" fmla="*/ 132 w 144"/>
                <a:gd name="T3" fmla="*/ 6 h 1197"/>
                <a:gd name="T4" fmla="*/ 108 w 144"/>
                <a:gd name="T5" fmla="*/ 114 h 1197"/>
                <a:gd name="T6" fmla="*/ 12 w 144"/>
                <a:gd name="T7" fmla="*/ 205 h 1197"/>
                <a:gd name="T8" fmla="*/ 2 w 144"/>
                <a:gd name="T9" fmla="*/ 284 h 1197"/>
                <a:gd name="T10" fmla="*/ 27 w 144"/>
                <a:gd name="T11" fmla="*/ 1035 h 1197"/>
                <a:gd name="T12" fmla="*/ 27 w 144"/>
                <a:gd name="T13" fmla="*/ 1197 h 1197"/>
                <a:gd name="T14" fmla="*/ 36 w 144"/>
                <a:gd name="T15" fmla="*/ 1150 h 1197"/>
                <a:gd name="T16" fmla="*/ 13 w 144"/>
                <a:gd name="T17" fmla="*/ 368 h 1197"/>
                <a:gd name="T18" fmla="*/ 13 w 144"/>
                <a:gd name="T19" fmla="*/ 355 h 1197"/>
                <a:gd name="T20" fmla="*/ 13 w 144"/>
                <a:gd name="T21" fmla="*/ 355 h 1197"/>
                <a:gd name="T22" fmla="*/ 13 w 144"/>
                <a:gd name="T23" fmla="*/ 244 h 1197"/>
                <a:gd name="T24" fmla="*/ 44 w 144"/>
                <a:gd name="T25" fmla="*/ 193 h 1197"/>
                <a:gd name="T26" fmla="*/ 144 w 144"/>
                <a:gd name="T27" fmla="*/ 20 h 1197"/>
                <a:gd name="T28" fmla="*/ 143 w 144"/>
                <a:gd name="T29" fmla="*/ 0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1197">
                  <a:moveTo>
                    <a:pt x="143" y="0"/>
                  </a:moveTo>
                  <a:cubicBezTo>
                    <a:pt x="132" y="6"/>
                    <a:pt x="132" y="6"/>
                    <a:pt x="132" y="6"/>
                  </a:cubicBezTo>
                  <a:cubicBezTo>
                    <a:pt x="132" y="6"/>
                    <a:pt x="138" y="60"/>
                    <a:pt x="108" y="114"/>
                  </a:cubicBezTo>
                  <a:cubicBezTo>
                    <a:pt x="78" y="168"/>
                    <a:pt x="38" y="169"/>
                    <a:pt x="12" y="205"/>
                  </a:cubicBezTo>
                  <a:cubicBezTo>
                    <a:pt x="0" y="220"/>
                    <a:pt x="1" y="246"/>
                    <a:pt x="2" y="284"/>
                  </a:cubicBezTo>
                  <a:cubicBezTo>
                    <a:pt x="2" y="308"/>
                    <a:pt x="15" y="789"/>
                    <a:pt x="27" y="1035"/>
                  </a:cubicBezTo>
                  <a:cubicBezTo>
                    <a:pt x="30" y="1101"/>
                    <a:pt x="36" y="1163"/>
                    <a:pt x="27" y="1197"/>
                  </a:cubicBezTo>
                  <a:cubicBezTo>
                    <a:pt x="33" y="1183"/>
                    <a:pt x="37" y="1167"/>
                    <a:pt x="36" y="1150"/>
                  </a:cubicBezTo>
                  <a:cubicBezTo>
                    <a:pt x="13" y="368"/>
                    <a:pt x="13" y="368"/>
                    <a:pt x="13" y="368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355"/>
                    <a:pt x="13" y="355"/>
                    <a:pt x="13" y="355"/>
                  </a:cubicBezTo>
                  <a:cubicBezTo>
                    <a:pt x="13" y="244"/>
                    <a:pt x="13" y="244"/>
                    <a:pt x="13" y="244"/>
                  </a:cubicBezTo>
                  <a:cubicBezTo>
                    <a:pt x="13" y="223"/>
                    <a:pt x="25" y="203"/>
                    <a:pt x="44" y="193"/>
                  </a:cubicBezTo>
                  <a:cubicBezTo>
                    <a:pt x="104" y="158"/>
                    <a:pt x="144" y="94"/>
                    <a:pt x="144" y="20"/>
                  </a:cubicBezTo>
                  <a:cubicBezTo>
                    <a:pt x="144" y="13"/>
                    <a:pt x="144" y="7"/>
                    <a:pt x="143" y="0"/>
                  </a:cubicBezTo>
                  <a:close/>
                </a:path>
              </a:pathLst>
            </a:custGeom>
            <a:solidFill>
              <a:srgbClr val="FFF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0" name="íšľîḋé">
              <a:extLst>
                <a:ext uri="{FF2B5EF4-FFF2-40B4-BE49-F238E27FC236}">
                  <a16:creationId xmlns:a16="http://schemas.microsoft.com/office/drawing/2014/main" id="{77706F0F-1BF6-4B79-9B2F-4366DC575D85}"/>
                </a:ext>
              </a:extLst>
            </p:cNvPr>
            <p:cNvSpPr/>
            <p:nvPr/>
          </p:nvSpPr>
          <p:spPr bwMode="auto">
            <a:xfrm>
              <a:off x="5372100" y="2608263"/>
              <a:ext cx="333375" cy="2208213"/>
            </a:xfrm>
            <a:custGeom>
              <a:avLst/>
              <a:gdLst>
                <a:gd name="T0" fmla="*/ 126 w 126"/>
                <a:gd name="T1" fmla="*/ 833 h 835"/>
                <a:gd name="T2" fmla="*/ 109 w 126"/>
                <a:gd name="T3" fmla="*/ 824 h 835"/>
                <a:gd name="T4" fmla="*/ 64 w 126"/>
                <a:gd name="T5" fmla="*/ 814 h 835"/>
                <a:gd name="T6" fmla="*/ 56 w 126"/>
                <a:gd name="T7" fmla="*/ 815 h 835"/>
                <a:gd name="T8" fmla="*/ 0 w 126"/>
                <a:gd name="T9" fmla="*/ 835 h 835"/>
                <a:gd name="T10" fmla="*/ 1 w 126"/>
                <a:gd name="T11" fmla="*/ 824 h 835"/>
                <a:gd name="T12" fmla="*/ 25 w 126"/>
                <a:gd name="T13" fmla="*/ 39 h 835"/>
                <a:gd name="T14" fmla="*/ 37 w 126"/>
                <a:gd name="T15" fmla="*/ 11 h 835"/>
                <a:gd name="T16" fmla="*/ 57 w 126"/>
                <a:gd name="T17" fmla="*/ 1 h 835"/>
                <a:gd name="T18" fmla="*/ 65 w 126"/>
                <a:gd name="T19" fmla="*/ 0 h 835"/>
                <a:gd name="T20" fmla="*/ 105 w 126"/>
                <a:gd name="T21" fmla="*/ 39 h 835"/>
                <a:gd name="T22" fmla="*/ 126 w 126"/>
                <a:gd name="T23" fmla="*/ 833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6" h="835">
                  <a:moveTo>
                    <a:pt x="126" y="833"/>
                  </a:moveTo>
                  <a:cubicBezTo>
                    <a:pt x="121" y="829"/>
                    <a:pt x="115" y="826"/>
                    <a:pt x="109" y="824"/>
                  </a:cubicBezTo>
                  <a:cubicBezTo>
                    <a:pt x="95" y="818"/>
                    <a:pt x="80" y="814"/>
                    <a:pt x="64" y="814"/>
                  </a:cubicBezTo>
                  <a:cubicBezTo>
                    <a:pt x="61" y="814"/>
                    <a:pt x="59" y="814"/>
                    <a:pt x="56" y="815"/>
                  </a:cubicBezTo>
                  <a:cubicBezTo>
                    <a:pt x="35" y="816"/>
                    <a:pt x="16" y="823"/>
                    <a:pt x="0" y="835"/>
                  </a:cubicBezTo>
                  <a:cubicBezTo>
                    <a:pt x="1" y="824"/>
                    <a:pt x="1" y="824"/>
                    <a:pt x="1" y="82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6" y="28"/>
                    <a:pt x="30" y="18"/>
                    <a:pt x="37" y="11"/>
                  </a:cubicBezTo>
                  <a:cubicBezTo>
                    <a:pt x="43" y="6"/>
                    <a:pt x="49" y="2"/>
                    <a:pt x="57" y="1"/>
                  </a:cubicBezTo>
                  <a:cubicBezTo>
                    <a:pt x="59" y="0"/>
                    <a:pt x="62" y="0"/>
                    <a:pt x="65" y="0"/>
                  </a:cubicBezTo>
                  <a:cubicBezTo>
                    <a:pt x="87" y="0"/>
                    <a:pt x="105" y="17"/>
                    <a:pt x="105" y="39"/>
                  </a:cubicBezTo>
                  <a:lnTo>
                    <a:pt x="126" y="833"/>
                  </a:ln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1" name="îṩlîḓè">
              <a:extLst>
                <a:ext uri="{FF2B5EF4-FFF2-40B4-BE49-F238E27FC236}">
                  <a16:creationId xmlns:a16="http://schemas.microsoft.com/office/drawing/2014/main" id="{EA9A78A7-637B-4D51-A22D-0C3F39A4D9C7}"/>
                </a:ext>
              </a:extLst>
            </p:cNvPr>
            <p:cNvSpPr/>
            <p:nvPr/>
          </p:nvSpPr>
          <p:spPr bwMode="auto">
            <a:xfrm>
              <a:off x="5372100" y="2609850"/>
              <a:ext cx="288925" cy="2206625"/>
            </a:xfrm>
            <a:custGeom>
              <a:avLst/>
              <a:gdLst>
                <a:gd name="T0" fmla="*/ 109 w 109"/>
                <a:gd name="T1" fmla="*/ 823 h 834"/>
                <a:gd name="T2" fmla="*/ 0 w 109"/>
                <a:gd name="T3" fmla="*/ 834 h 834"/>
                <a:gd name="T4" fmla="*/ 25 w 109"/>
                <a:gd name="T5" fmla="*/ 38 h 834"/>
                <a:gd name="T6" fmla="*/ 37 w 109"/>
                <a:gd name="T7" fmla="*/ 10 h 834"/>
                <a:gd name="T8" fmla="*/ 57 w 109"/>
                <a:gd name="T9" fmla="*/ 0 h 834"/>
                <a:gd name="T10" fmla="*/ 88 w 109"/>
                <a:gd name="T11" fmla="*/ 38 h 834"/>
                <a:gd name="T12" fmla="*/ 109 w 109"/>
                <a:gd name="T13" fmla="*/ 823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834">
                  <a:moveTo>
                    <a:pt x="109" y="823"/>
                  </a:moveTo>
                  <a:cubicBezTo>
                    <a:pt x="75" y="811"/>
                    <a:pt x="38" y="807"/>
                    <a:pt x="0" y="834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6" y="27"/>
                    <a:pt x="30" y="17"/>
                    <a:pt x="37" y="10"/>
                  </a:cubicBezTo>
                  <a:cubicBezTo>
                    <a:pt x="43" y="5"/>
                    <a:pt x="49" y="1"/>
                    <a:pt x="57" y="0"/>
                  </a:cubicBezTo>
                  <a:cubicBezTo>
                    <a:pt x="74" y="4"/>
                    <a:pt x="88" y="19"/>
                    <a:pt x="88" y="38"/>
                  </a:cubicBezTo>
                  <a:cubicBezTo>
                    <a:pt x="109" y="823"/>
                    <a:pt x="109" y="823"/>
                    <a:pt x="109" y="82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2" name="ïsľîḍe">
              <a:extLst>
                <a:ext uri="{FF2B5EF4-FFF2-40B4-BE49-F238E27FC236}">
                  <a16:creationId xmlns:a16="http://schemas.microsoft.com/office/drawing/2014/main" id="{DEF16381-D280-4F5E-A5CF-F78D44095A3D}"/>
                </a:ext>
              </a:extLst>
            </p:cNvPr>
            <p:cNvSpPr/>
            <p:nvPr/>
          </p:nvSpPr>
          <p:spPr bwMode="auto">
            <a:xfrm>
              <a:off x="5387975" y="5032375"/>
              <a:ext cx="309563" cy="177800"/>
            </a:xfrm>
            <a:custGeom>
              <a:avLst/>
              <a:gdLst>
                <a:gd name="T0" fmla="*/ 117 w 117"/>
                <a:gd name="T1" fmla="*/ 8 h 67"/>
                <a:gd name="T2" fmla="*/ 58 w 117"/>
                <a:gd name="T3" fmla="*/ 67 h 67"/>
                <a:gd name="T4" fmla="*/ 0 w 117"/>
                <a:gd name="T5" fmla="*/ 8 h 67"/>
                <a:gd name="T6" fmla="*/ 0 w 117"/>
                <a:gd name="T7" fmla="*/ 0 h 67"/>
                <a:gd name="T8" fmla="*/ 58 w 117"/>
                <a:gd name="T9" fmla="*/ 50 h 67"/>
                <a:gd name="T10" fmla="*/ 117 w 117"/>
                <a:gd name="T11" fmla="*/ 0 h 67"/>
                <a:gd name="T12" fmla="*/ 117 w 117"/>
                <a:gd name="T13" fmla="*/ 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67">
                  <a:moveTo>
                    <a:pt x="117" y="8"/>
                  </a:moveTo>
                  <a:cubicBezTo>
                    <a:pt x="117" y="41"/>
                    <a:pt x="91" y="67"/>
                    <a:pt x="58" y="67"/>
                  </a:cubicBezTo>
                  <a:cubicBezTo>
                    <a:pt x="26" y="67"/>
                    <a:pt x="0" y="41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  <a:cubicBezTo>
                    <a:pt x="4" y="28"/>
                    <a:pt x="29" y="50"/>
                    <a:pt x="58" y="50"/>
                  </a:cubicBezTo>
                  <a:cubicBezTo>
                    <a:pt x="88" y="50"/>
                    <a:pt x="113" y="28"/>
                    <a:pt x="117" y="0"/>
                  </a:cubicBezTo>
                  <a:cubicBezTo>
                    <a:pt x="117" y="3"/>
                    <a:pt x="117" y="5"/>
                    <a:pt x="117" y="8"/>
                  </a:cubicBezTo>
                  <a:close/>
                </a:path>
              </a:pathLst>
            </a:custGeom>
            <a:solidFill>
              <a:srgbClr val="FAB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3" name="ïṩ1íḋé">
              <a:extLst>
                <a:ext uri="{FF2B5EF4-FFF2-40B4-BE49-F238E27FC236}">
                  <a16:creationId xmlns:a16="http://schemas.microsoft.com/office/drawing/2014/main" id="{D2564FE4-A153-4F22-BA63-69F41240A476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4" name="í$lïde">
              <a:extLst>
                <a:ext uri="{FF2B5EF4-FFF2-40B4-BE49-F238E27FC236}">
                  <a16:creationId xmlns:a16="http://schemas.microsoft.com/office/drawing/2014/main" id="{72F2BD48-BC50-4310-B72A-EFE402D90DB8}"/>
                </a:ext>
              </a:extLst>
            </p:cNvPr>
            <p:cNvSpPr/>
            <p:nvPr/>
          </p:nvSpPr>
          <p:spPr bwMode="auto">
            <a:xfrm>
              <a:off x="5091113" y="5443538"/>
              <a:ext cx="896938" cy="144463"/>
            </a:xfrm>
            <a:custGeom>
              <a:avLst/>
              <a:gdLst>
                <a:gd name="T0" fmla="*/ 0 w 565"/>
                <a:gd name="T1" fmla="*/ 91 h 91"/>
                <a:gd name="T2" fmla="*/ 565 w 565"/>
                <a:gd name="T3" fmla="*/ 0 h 91"/>
                <a:gd name="T4" fmla="*/ 0 w 565"/>
                <a:gd name="T5" fmla="*/ 0 h 91"/>
                <a:gd name="T6" fmla="*/ 0 w 565"/>
                <a:gd name="T7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91">
                  <a:moveTo>
                    <a:pt x="0" y="91"/>
                  </a:moveTo>
                  <a:lnTo>
                    <a:pt x="565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5" name="íṧ1íḑé">
              <a:extLst>
                <a:ext uri="{FF2B5EF4-FFF2-40B4-BE49-F238E27FC236}">
                  <a16:creationId xmlns:a16="http://schemas.microsoft.com/office/drawing/2014/main" id="{CAF5F313-57A5-40E3-9E31-3203F11BEC4D}"/>
                </a:ext>
              </a:extLst>
            </p:cNvPr>
            <p:cNvSpPr/>
            <p:nvPr/>
          </p:nvSpPr>
          <p:spPr bwMode="auto">
            <a:xfrm>
              <a:off x="5035550" y="5588000"/>
              <a:ext cx="1006475" cy="53975"/>
            </a:xfrm>
            <a:prstGeom prst="rect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6" name="isḻîďé">
              <a:extLst>
                <a:ext uri="{FF2B5EF4-FFF2-40B4-BE49-F238E27FC236}">
                  <a16:creationId xmlns:a16="http://schemas.microsoft.com/office/drawing/2014/main" id="{5A49CA1A-67FB-492C-BD21-621B4DCFD536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249238"/>
            </a:xfrm>
            <a:custGeom>
              <a:avLst/>
              <a:gdLst>
                <a:gd name="T0" fmla="*/ 142 w 147"/>
                <a:gd name="T1" fmla="*/ 157 h 157"/>
                <a:gd name="T2" fmla="*/ 7 w 147"/>
                <a:gd name="T3" fmla="*/ 157 h 157"/>
                <a:gd name="T4" fmla="*/ 0 w 147"/>
                <a:gd name="T5" fmla="*/ 0 h 157"/>
                <a:gd name="T6" fmla="*/ 147 w 147"/>
                <a:gd name="T7" fmla="*/ 0 h 157"/>
                <a:gd name="T8" fmla="*/ 142 w 147"/>
                <a:gd name="T9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7">
                  <a:moveTo>
                    <a:pt x="142" y="157"/>
                  </a:moveTo>
                  <a:lnTo>
                    <a:pt x="7" y="157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7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7" name="îṣḷîḋé">
              <a:extLst>
                <a:ext uri="{FF2B5EF4-FFF2-40B4-BE49-F238E27FC236}">
                  <a16:creationId xmlns:a16="http://schemas.microsoft.com/office/drawing/2014/main" id="{E25F0C7E-D155-4626-98E8-6BD1BCAD3637}"/>
                </a:ext>
              </a:extLst>
            </p:cNvPr>
            <p:cNvSpPr/>
            <p:nvPr/>
          </p:nvSpPr>
          <p:spPr bwMode="auto">
            <a:xfrm>
              <a:off x="3875088" y="5392738"/>
              <a:ext cx="225425" cy="249238"/>
            </a:xfrm>
            <a:custGeom>
              <a:avLst/>
              <a:gdLst>
                <a:gd name="T0" fmla="*/ 0 w 85"/>
                <a:gd name="T1" fmla="*/ 0 h 94"/>
                <a:gd name="T2" fmla="*/ 32 w 85"/>
                <a:gd name="T3" fmla="*/ 74 h 94"/>
                <a:gd name="T4" fmla="*/ 85 w 85"/>
                <a:gd name="T5" fmla="*/ 74 h 94"/>
                <a:gd name="T6" fmla="*/ 85 w 85"/>
                <a:gd name="T7" fmla="*/ 94 h 94"/>
                <a:gd name="T8" fmla="*/ 4 w 85"/>
                <a:gd name="T9" fmla="*/ 94 h 94"/>
                <a:gd name="T10" fmla="*/ 0 w 85"/>
                <a:gd name="T11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4">
                  <a:moveTo>
                    <a:pt x="0" y="0"/>
                  </a:moveTo>
                  <a:cubicBezTo>
                    <a:pt x="0" y="0"/>
                    <a:pt x="3" y="55"/>
                    <a:pt x="32" y="74"/>
                  </a:cubicBezTo>
                  <a:cubicBezTo>
                    <a:pt x="61" y="94"/>
                    <a:pt x="85" y="74"/>
                    <a:pt x="85" y="74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4" y="94"/>
                    <a:pt x="4" y="94"/>
                    <a:pt x="4" y="9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8" name="ïslíḓe">
              <a:extLst>
                <a:ext uri="{FF2B5EF4-FFF2-40B4-BE49-F238E27FC236}">
                  <a16:creationId xmlns:a16="http://schemas.microsoft.com/office/drawing/2014/main" id="{29C868C1-3009-422B-AF69-AFB2C25B27C8}"/>
                </a:ext>
              </a:extLst>
            </p:cNvPr>
            <p:cNvSpPr/>
            <p:nvPr/>
          </p:nvSpPr>
          <p:spPr bwMode="auto">
            <a:xfrm>
              <a:off x="3943350" y="5411788"/>
              <a:ext cx="26988" cy="25400"/>
            </a:xfrm>
            <a:custGeom>
              <a:avLst/>
              <a:gdLst>
                <a:gd name="T0" fmla="*/ 0 w 10"/>
                <a:gd name="T1" fmla="*/ 5 h 10"/>
                <a:gd name="T2" fmla="*/ 5 w 10"/>
                <a:gd name="T3" fmla="*/ 1 h 10"/>
                <a:gd name="T4" fmla="*/ 9 w 10"/>
                <a:gd name="T5" fmla="*/ 6 h 10"/>
                <a:gd name="T6" fmla="*/ 4 w 10"/>
                <a:gd name="T7" fmla="*/ 10 h 10"/>
                <a:gd name="T8" fmla="*/ 0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5"/>
                  </a:moveTo>
                  <a:cubicBezTo>
                    <a:pt x="0" y="2"/>
                    <a:pt x="3" y="0"/>
                    <a:pt x="5" y="1"/>
                  </a:cubicBezTo>
                  <a:cubicBezTo>
                    <a:pt x="8" y="1"/>
                    <a:pt x="10" y="3"/>
                    <a:pt x="9" y="6"/>
                  </a:cubicBezTo>
                  <a:cubicBezTo>
                    <a:pt x="9" y="8"/>
                    <a:pt x="7" y="10"/>
                    <a:pt x="4" y="10"/>
                  </a:cubicBezTo>
                  <a:cubicBezTo>
                    <a:pt x="2" y="10"/>
                    <a:pt x="0" y="7"/>
                    <a:pt x="0" y="5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9" name="íSļîḋe">
              <a:extLst>
                <a:ext uri="{FF2B5EF4-FFF2-40B4-BE49-F238E27FC236}">
                  <a16:creationId xmlns:a16="http://schemas.microsoft.com/office/drawing/2014/main" id="{33D22A43-2DC0-43BD-9981-3A364F73FEE0}"/>
                </a:ext>
              </a:extLst>
            </p:cNvPr>
            <p:cNvSpPr/>
            <p:nvPr/>
          </p:nvSpPr>
          <p:spPr bwMode="auto">
            <a:xfrm>
              <a:off x="3957638" y="5424488"/>
              <a:ext cx="171450" cy="123825"/>
            </a:xfrm>
            <a:custGeom>
              <a:avLst/>
              <a:gdLst>
                <a:gd name="T0" fmla="*/ 0 w 65"/>
                <a:gd name="T1" fmla="*/ 0 h 47"/>
                <a:gd name="T2" fmla="*/ 65 w 65"/>
                <a:gd name="T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7">
                  <a:moveTo>
                    <a:pt x="0" y="0"/>
                  </a:moveTo>
                  <a:cubicBezTo>
                    <a:pt x="12" y="17"/>
                    <a:pt x="34" y="41"/>
                    <a:pt x="65" y="47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0" name="íŝľiḍe">
              <a:extLst>
                <a:ext uri="{FF2B5EF4-FFF2-40B4-BE49-F238E27FC236}">
                  <a16:creationId xmlns:a16="http://schemas.microsoft.com/office/drawing/2014/main" id="{11713F6C-B7FF-4E2F-A4A2-5AF6DDF7AF75}"/>
                </a:ext>
              </a:extLst>
            </p:cNvPr>
            <p:cNvSpPr/>
            <p:nvPr/>
          </p:nvSpPr>
          <p:spPr bwMode="auto">
            <a:xfrm>
              <a:off x="4105275" y="5535613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6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2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3"/>
                    <a:pt x="14" y="4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1" name="íṡļïḍe">
              <a:extLst>
                <a:ext uri="{FF2B5EF4-FFF2-40B4-BE49-F238E27FC236}">
                  <a16:creationId xmlns:a16="http://schemas.microsoft.com/office/drawing/2014/main" id="{CA55C231-15FC-4A1D-8C19-5ED00883D96F}"/>
                </a:ext>
              </a:extLst>
            </p:cNvPr>
            <p:cNvSpPr/>
            <p:nvPr/>
          </p:nvSpPr>
          <p:spPr bwMode="auto">
            <a:xfrm>
              <a:off x="3875088" y="5392738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6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6"/>
                  </a:cubicBezTo>
                  <a:cubicBezTo>
                    <a:pt x="87" y="26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2" name="iṡļíḑé">
              <a:extLst>
                <a:ext uri="{FF2B5EF4-FFF2-40B4-BE49-F238E27FC236}">
                  <a16:creationId xmlns:a16="http://schemas.microsoft.com/office/drawing/2014/main" id="{ABEDC04F-4C5F-4B64-8EBA-CFA160A1B68E}"/>
                </a:ext>
              </a:extLst>
            </p:cNvPr>
            <p:cNvSpPr/>
            <p:nvPr/>
          </p:nvSpPr>
          <p:spPr bwMode="auto">
            <a:xfrm>
              <a:off x="4049713" y="5392738"/>
              <a:ext cx="19050" cy="68263"/>
            </a:xfrm>
            <a:custGeom>
              <a:avLst/>
              <a:gdLst>
                <a:gd name="T0" fmla="*/ 3 w 7"/>
                <a:gd name="T1" fmla="*/ 26 h 26"/>
                <a:gd name="T2" fmla="*/ 3 w 7"/>
                <a:gd name="T3" fmla="*/ 26 h 26"/>
                <a:gd name="T4" fmla="*/ 0 w 7"/>
                <a:gd name="T5" fmla="*/ 22 h 26"/>
                <a:gd name="T6" fmla="*/ 0 w 7"/>
                <a:gd name="T7" fmla="*/ 0 h 26"/>
                <a:gd name="T8" fmla="*/ 7 w 7"/>
                <a:gd name="T9" fmla="*/ 0 h 26"/>
                <a:gd name="T10" fmla="*/ 7 w 7"/>
                <a:gd name="T11" fmla="*/ 22 h 26"/>
                <a:gd name="T12" fmla="*/ 3 w 7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6"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5" y="26"/>
                    <a:pt x="3" y="26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3" name="iṣ1îde">
              <a:extLst>
                <a:ext uri="{FF2B5EF4-FFF2-40B4-BE49-F238E27FC236}">
                  <a16:creationId xmlns:a16="http://schemas.microsoft.com/office/drawing/2014/main" id="{ACD087E8-9F3C-4B56-B1DE-5590F1F46004}"/>
                </a:ext>
              </a:extLst>
            </p:cNvPr>
            <p:cNvSpPr/>
            <p:nvPr/>
          </p:nvSpPr>
          <p:spPr bwMode="auto">
            <a:xfrm>
              <a:off x="3870325" y="5384800"/>
              <a:ext cx="242888" cy="7938"/>
            </a:xfrm>
            <a:custGeom>
              <a:avLst/>
              <a:gdLst>
                <a:gd name="T0" fmla="*/ 90 w 92"/>
                <a:gd name="T1" fmla="*/ 0 h 3"/>
                <a:gd name="T2" fmla="*/ 2 w 92"/>
                <a:gd name="T3" fmla="*/ 0 h 3"/>
                <a:gd name="T4" fmla="*/ 0 w 92"/>
                <a:gd name="T5" fmla="*/ 2 h 3"/>
                <a:gd name="T6" fmla="*/ 0 w 92"/>
                <a:gd name="T7" fmla="*/ 2 h 3"/>
                <a:gd name="T8" fmla="*/ 2 w 92"/>
                <a:gd name="T9" fmla="*/ 3 h 3"/>
                <a:gd name="T10" fmla="*/ 90 w 92"/>
                <a:gd name="T11" fmla="*/ 3 h 3"/>
                <a:gd name="T12" fmla="*/ 92 w 92"/>
                <a:gd name="T13" fmla="*/ 2 h 3"/>
                <a:gd name="T14" fmla="*/ 92 w 92"/>
                <a:gd name="T15" fmla="*/ 2 h 3"/>
                <a:gd name="T16" fmla="*/ 90 w 9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">
                  <a:moveTo>
                    <a:pt x="9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2" y="2"/>
                    <a:pt x="92" y="2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2" y="1"/>
                    <a:pt x="91" y="0"/>
                    <a:pt x="90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4" name="ïş1ïďé">
              <a:extLst>
                <a:ext uri="{FF2B5EF4-FFF2-40B4-BE49-F238E27FC236}">
                  <a16:creationId xmlns:a16="http://schemas.microsoft.com/office/drawing/2014/main" id="{DDCBEEDB-923A-4C2C-9F33-ED767AEF73CF}"/>
                </a:ext>
              </a:extLst>
            </p:cNvPr>
            <p:cNvSpPr/>
            <p:nvPr/>
          </p:nvSpPr>
          <p:spPr bwMode="auto">
            <a:xfrm>
              <a:off x="4049713" y="5468938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5" name="ïṥḻïḋe">
              <a:extLst>
                <a:ext uri="{FF2B5EF4-FFF2-40B4-BE49-F238E27FC236}">
                  <a16:creationId xmlns:a16="http://schemas.microsoft.com/office/drawing/2014/main" id="{98ABC332-584B-4BB9-A4F9-7DADD3FA38D9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244475"/>
            </a:xfrm>
            <a:custGeom>
              <a:avLst/>
              <a:gdLst>
                <a:gd name="T0" fmla="*/ 142 w 147"/>
                <a:gd name="T1" fmla="*/ 154 h 154"/>
                <a:gd name="T2" fmla="*/ 7 w 147"/>
                <a:gd name="T3" fmla="*/ 154 h 154"/>
                <a:gd name="T4" fmla="*/ 0 w 147"/>
                <a:gd name="T5" fmla="*/ 0 h 154"/>
                <a:gd name="T6" fmla="*/ 147 w 147"/>
                <a:gd name="T7" fmla="*/ 0 h 154"/>
                <a:gd name="T8" fmla="*/ 142 w 147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54">
                  <a:moveTo>
                    <a:pt x="142" y="154"/>
                  </a:moveTo>
                  <a:lnTo>
                    <a:pt x="7" y="154"/>
                  </a:lnTo>
                  <a:lnTo>
                    <a:pt x="0" y="0"/>
                  </a:lnTo>
                  <a:lnTo>
                    <a:pt x="147" y="0"/>
                  </a:lnTo>
                  <a:lnTo>
                    <a:pt x="142" y="15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6" name="íṥlîḋê">
              <a:extLst>
                <a:ext uri="{FF2B5EF4-FFF2-40B4-BE49-F238E27FC236}">
                  <a16:creationId xmlns:a16="http://schemas.microsoft.com/office/drawing/2014/main" id="{2D2F06CF-DE40-4924-8D4E-3ABACDA7C064}"/>
                </a:ext>
              </a:extLst>
            </p:cNvPr>
            <p:cNvSpPr/>
            <p:nvPr/>
          </p:nvSpPr>
          <p:spPr bwMode="auto">
            <a:xfrm>
              <a:off x="4759325" y="4724400"/>
              <a:ext cx="225425" cy="244475"/>
            </a:xfrm>
            <a:custGeom>
              <a:avLst/>
              <a:gdLst>
                <a:gd name="T0" fmla="*/ 0 w 85"/>
                <a:gd name="T1" fmla="*/ 0 h 93"/>
                <a:gd name="T2" fmla="*/ 32 w 85"/>
                <a:gd name="T3" fmla="*/ 74 h 93"/>
                <a:gd name="T4" fmla="*/ 85 w 85"/>
                <a:gd name="T5" fmla="*/ 74 h 93"/>
                <a:gd name="T6" fmla="*/ 85 w 85"/>
                <a:gd name="T7" fmla="*/ 93 h 93"/>
                <a:gd name="T8" fmla="*/ 4 w 85"/>
                <a:gd name="T9" fmla="*/ 93 h 93"/>
                <a:gd name="T10" fmla="*/ 0 w 85"/>
                <a:gd name="T1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93">
                  <a:moveTo>
                    <a:pt x="0" y="0"/>
                  </a:moveTo>
                  <a:cubicBezTo>
                    <a:pt x="0" y="0"/>
                    <a:pt x="3" y="54"/>
                    <a:pt x="32" y="74"/>
                  </a:cubicBezTo>
                  <a:cubicBezTo>
                    <a:pt x="61" y="93"/>
                    <a:pt x="85" y="74"/>
                    <a:pt x="85" y="74"/>
                  </a:cubicBezTo>
                  <a:cubicBezTo>
                    <a:pt x="85" y="93"/>
                    <a:pt x="85" y="93"/>
                    <a:pt x="85" y="93"/>
                  </a:cubicBezTo>
                  <a:cubicBezTo>
                    <a:pt x="4" y="93"/>
                    <a:pt x="4" y="93"/>
                    <a:pt x="4" y="9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7" name="işḷiḋè">
              <a:extLst>
                <a:ext uri="{FF2B5EF4-FFF2-40B4-BE49-F238E27FC236}">
                  <a16:creationId xmlns:a16="http://schemas.microsoft.com/office/drawing/2014/main" id="{1A65A147-B113-4C90-94FE-3E0B5B339D0D}"/>
                </a:ext>
              </a:extLst>
            </p:cNvPr>
            <p:cNvSpPr/>
            <p:nvPr/>
          </p:nvSpPr>
          <p:spPr bwMode="auto">
            <a:xfrm>
              <a:off x="4829175" y="4741863"/>
              <a:ext cx="25400" cy="23813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0 h 9"/>
                <a:gd name="T4" fmla="*/ 10 w 10"/>
                <a:gd name="T5" fmla="*/ 5 h 9"/>
                <a:gd name="T6" fmla="*/ 4 w 10"/>
                <a:gd name="T7" fmla="*/ 9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1" y="1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9" y="8"/>
                    <a:pt x="7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lose/>
                </a:path>
              </a:pathLst>
            </a:custGeom>
            <a:solidFill>
              <a:srgbClr val="879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8" name="îSľïḑé">
              <a:extLst>
                <a:ext uri="{FF2B5EF4-FFF2-40B4-BE49-F238E27FC236}">
                  <a16:creationId xmlns:a16="http://schemas.microsoft.com/office/drawing/2014/main" id="{5227F7FF-1A7E-4F09-A456-C0374A4305F6}"/>
                </a:ext>
              </a:extLst>
            </p:cNvPr>
            <p:cNvSpPr/>
            <p:nvPr/>
          </p:nvSpPr>
          <p:spPr bwMode="auto">
            <a:xfrm>
              <a:off x="4841875" y="4756150"/>
              <a:ext cx="171450" cy="120650"/>
            </a:xfrm>
            <a:custGeom>
              <a:avLst/>
              <a:gdLst>
                <a:gd name="T0" fmla="*/ 0 w 65"/>
                <a:gd name="T1" fmla="*/ 0 h 46"/>
                <a:gd name="T2" fmla="*/ 65 w 65"/>
                <a:gd name="T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46">
                  <a:moveTo>
                    <a:pt x="0" y="0"/>
                  </a:moveTo>
                  <a:cubicBezTo>
                    <a:pt x="12" y="16"/>
                    <a:pt x="34" y="40"/>
                    <a:pt x="65" y="46"/>
                  </a:cubicBezTo>
                </a:path>
              </a:pathLst>
            </a:custGeom>
            <a:noFill/>
            <a:ln w="11113" cap="rnd">
              <a:solidFill>
                <a:srgbClr val="BAC4C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9" name="ïṧļíḍè">
              <a:extLst>
                <a:ext uri="{FF2B5EF4-FFF2-40B4-BE49-F238E27FC236}">
                  <a16:creationId xmlns:a16="http://schemas.microsoft.com/office/drawing/2014/main" id="{7A4564F7-2137-4E5F-9AAB-D2771A975695}"/>
                </a:ext>
              </a:extLst>
            </p:cNvPr>
            <p:cNvSpPr/>
            <p:nvPr/>
          </p:nvSpPr>
          <p:spPr bwMode="auto">
            <a:xfrm>
              <a:off x="4989513" y="4864100"/>
              <a:ext cx="38100" cy="23813"/>
            </a:xfrm>
            <a:custGeom>
              <a:avLst/>
              <a:gdLst>
                <a:gd name="T0" fmla="*/ 10 w 14"/>
                <a:gd name="T1" fmla="*/ 8 h 9"/>
                <a:gd name="T2" fmla="*/ 3 w 14"/>
                <a:gd name="T3" fmla="*/ 7 h 9"/>
                <a:gd name="T4" fmla="*/ 1 w 14"/>
                <a:gd name="T5" fmla="*/ 3 h 9"/>
                <a:gd name="T6" fmla="*/ 1 w 14"/>
                <a:gd name="T7" fmla="*/ 3 h 9"/>
                <a:gd name="T8" fmla="*/ 4 w 14"/>
                <a:gd name="T9" fmla="*/ 1 h 9"/>
                <a:gd name="T10" fmla="*/ 11 w 14"/>
                <a:gd name="T11" fmla="*/ 3 h 9"/>
                <a:gd name="T12" fmla="*/ 14 w 14"/>
                <a:gd name="T13" fmla="*/ 6 h 9"/>
                <a:gd name="T14" fmla="*/ 14 w 14"/>
                <a:gd name="T15" fmla="*/ 6 h 9"/>
                <a:gd name="T16" fmla="*/ 10 w 14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0" y="8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6"/>
                    <a:pt x="0" y="5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3" y="0"/>
                    <a:pt x="4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3" y="3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8"/>
                    <a:pt x="12" y="9"/>
                    <a:pt x="10" y="8"/>
                  </a:cubicBez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0" name="ïṩľïďê">
              <a:extLst>
                <a:ext uri="{FF2B5EF4-FFF2-40B4-BE49-F238E27FC236}">
                  <a16:creationId xmlns:a16="http://schemas.microsoft.com/office/drawing/2014/main" id="{40028441-771B-4FD4-85F5-5694ECE1D47A}"/>
                </a:ext>
              </a:extLst>
            </p:cNvPr>
            <p:cNvSpPr/>
            <p:nvPr/>
          </p:nvSpPr>
          <p:spPr bwMode="auto">
            <a:xfrm>
              <a:off x="4759325" y="4724400"/>
              <a:ext cx="233363" cy="68263"/>
            </a:xfrm>
            <a:custGeom>
              <a:avLst/>
              <a:gdLst>
                <a:gd name="T0" fmla="*/ 0 w 88"/>
                <a:gd name="T1" fmla="*/ 0 h 26"/>
                <a:gd name="T2" fmla="*/ 85 w 88"/>
                <a:gd name="T3" fmla="*/ 3 h 26"/>
                <a:gd name="T4" fmla="*/ 87 w 88"/>
                <a:gd name="T5" fmla="*/ 25 h 26"/>
                <a:gd name="T6" fmla="*/ 88 w 88"/>
                <a:gd name="T7" fmla="*/ 0 h 26"/>
                <a:gd name="T8" fmla="*/ 0 w 88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6">
                  <a:moveTo>
                    <a:pt x="0" y="0"/>
                  </a:move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7" y="26"/>
                    <a:pt x="87" y="25"/>
                  </a:cubicBezTo>
                  <a:cubicBezTo>
                    <a:pt x="87" y="25"/>
                    <a:pt x="88" y="0"/>
                    <a:pt x="8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1" name="ís1íďe">
              <a:extLst>
                <a:ext uri="{FF2B5EF4-FFF2-40B4-BE49-F238E27FC236}">
                  <a16:creationId xmlns:a16="http://schemas.microsoft.com/office/drawing/2014/main" id="{B39118C1-4347-4283-90D4-9AD647C4C423}"/>
                </a:ext>
              </a:extLst>
            </p:cNvPr>
            <p:cNvSpPr/>
            <p:nvPr/>
          </p:nvSpPr>
          <p:spPr bwMode="auto">
            <a:xfrm>
              <a:off x="4933950" y="4724400"/>
              <a:ext cx="19050" cy="65088"/>
            </a:xfrm>
            <a:custGeom>
              <a:avLst/>
              <a:gdLst>
                <a:gd name="T0" fmla="*/ 3 w 7"/>
                <a:gd name="T1" fmla="*/ 25 h 25"/>
                <a:gd name="T2" fmla="*/ 3 w 7"/>
                <a:gd name="T3" fmla="*/ 25 h 25"/>
                <a:gd name="T4" fmla="*/ 0 w 7"/>
                <a:gd name="T5" fmla="*/ 22 h 25"/>
                <a:gd name="T6" fmla="*/ 0 w 7"/>
                <a:gd name="T7" fmla="*/ 0 h 25"/>
                <a:gd name="T8" fmla="*/ 7 w 7"/>
                <a:gd name="T9" fmla="*/ 0 h 25"/>
                <a:gd name="T10" fmla="*/ 7 w 7"/>
                <a:gd name="T11" fmla="*/ 22 h 25"/>
                <a:gd name="T12" fmla="*/ 3 w 7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5">
                  <a:moveTo>
                    <a:pt x="3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1" y="25"/>
                    <a:pt x="0" y="24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6" y="25"/>
                    <a:pt x="3" y="25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2" name="íślíḑe">
              <a:extLst>
                <a:ext uri="{FF2B5EF4-FFF2-40B4-BE49-F238E27FC236}">
                  <a16:creationId xmlns:a16="http://schemas.microsoft.com/office/drawing/2014/main" id="{408AAAFD-3C44-4979-8ADC-58A09DF036A7}"/>
                </a:ext>
              </a:extLst>
            </p:cNvPr>
            <p:cNvSpPr/>
            <p:nvPr/>
          </p:nvSpPr>
          <p:spPr bwMode="auto">
            <a:xfrm>
              <a:off x="4757738" y="4713288"/>
              <a:ext cx="239713" cy="11113"/>
            </a:xfrm>
            <a:custGeom>
              <a:avLst/>
              <a:gdLst>
                <a:gd name="T0" fmla="*/ 89 w 91"/>
                <a:gd name="T1" fmla="*/ 0 h 4"/>
                <a:gd name="T2" fmla="*/ 1 w 91"/>
                <a:gd name="T3" fmla="*/ 0 h 4"/>
                <a:gd name="T4" fmla="*/ 0 w 91"/>
                <a:gd name="T5" fmla="*/ 2 h 4"/>
                <a:gd name="T6" fmla="*/ 0 w 91"/>
                <a:gd name="T7" fmla="*/ 2 h 4"/>
                <a:gd name="T8" fmla="*/ 1 w 91"/>
                <a:gd name="T9" fmla="*/ 4 h 4"/>
                <a:gd name="T10" fmla="*/ 89 w 91"/>
                <a:gd name="T11" fmla="*/ 4 h 4"/>
                <a:gd name="T12" fmla="*/ 91 w 91"/>
                <a:gd name="T13" fmla="*/ 2 h 4"/>
                <a:gd name="T14" fmla="*/ 91 w 91"/>
                <a:gd name="T15" fmla="*/ 2 h 4"/>
                <a:gd name="T16" fmla="*/ 89 w 91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4">
                  <a:moveTo>
                    <a:pt x="8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0" y="4"/>
                    <a:pt x="91" y="3"/>
                    <a:pt x="91" y="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0" y="0"/>
                    <a:pt x="8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3" name="íṧļïḋê">
              <a:extLst>
                <a:ext uri="{FF2B5EF4-FFF2-40B4-BE49-F238E27FC236}">
                  <a16:creationId xmlns:a16="http://schemas.microsoft.com/office/drawing/2014/main" id="{1F48A8E5-8F49-42AE-9AC5-77371B0D7568}"/>
                </a:ext>
              </a:extLst>
            </p:cNvPr>
            <p:cNvSpPr/>
            <p:nvPr/>
          </p:nvSpPr>
          <p:spPr bwMode="auto">
            <a:xfrm>
              <a:off x="4933950" y="4797425"/>
              <a:ext cx="19050" cy="22225"/>
            </a:xfrm>
            <a:prstGeom prst="ellipse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4" name="iSḻíďè">
              <a:extLst>
                <a:ext uri="{FF2B5EF4-FFF2-40B4-BE49-F238E27FC236}">
                  <a16:creationId xmlns:a16="http://schemas.microsoft.com/office/drawing/2014/main" id="{17AAC21D-5892-4E84-BEE1-DAB1DBAE444E}"/>
                </a:ext>
              </a:extLst>
            </p:cNvPr>
            <p:cNvSpPr/>
            <p:nvPr/>
          </p:nvSpPr>
          <p:spPr bwMode="auto">
            <a:xfrm>
              <a:off x="4240213" y="5610225"/>
              <a:ext cx="79375" cy="31750"/>
            </a:xfrm>
            <a:prstGeom prst="rect">
              <a:avLst/>
            </a:pr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5" name="îSlïḓê">
              <a:extLst>
                <a:ext uri="{FF2B5EF4-FFF2-40B4-BE49-F238E27FC236}">
                  <a16:creationId xmlns:a16="http://schemas.microsoft.com/office/drawing/2014/main" id="{9397DA82-6FC3-4571-913B-DB9BDD58BEEE}"/>
                </a:ext>
              </a:extLst>
            </p:cNvPr>
            <p:cNvSpPr/>
            <p:nvPr/>
          </p:nvSpPr>
          <p:spPr bwMode="auto">
            <a:xfrm>
              <a:off x="4319588" y="5610225"/>
              <a:ext cx="79375" cy="31750"/>
            </a:xfrm>
            <a:custGeom>
              <a:avLst/>
              <a:gdLst>
                <a:gd name="T0" fmla="*/ 26 w 30"/>
                <a:gd name="T1" fmla="*/ 0 h 12"/>
                <a:gd name="T2" fmla="*/ 0 w 30"/>
                <a:gd name="T3" fmla="*/ 0 h 12"/>
                <a:gd name="T4" fmla="*/ 0 w 30"/>
                <a:gd name="T5" fmla="*/ 12 h 12"/>
                <a:gd name="T6" fmla="*/ 26 w 30"/>
                <a:gd name="T7" fmla="*/ 12 h 12"/>
                <a:gd name="T8" fmla="*/ 30 w 30"/>
                <a:gd name="T9" fmla="*/ 8 h 12"/>
                <a:gd name="T10" fmla="*/ 30 w 30"/>
                <a:gd name="T11" fmla="*/ 4 h 12"/>
                <a:gd name="T12" fmla="*/ 26 w 3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">
                  <a:moveTo>
                    <a:pt x="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9" y="12"/>
                    <a:pt x="30" y="10"/>
                    <a:pt x="30" y="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2"/>
                    <a:pt x="29" y="0"/>
                    <a:pt x="26" y="0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6" name="ís1ïḓe">
              <a:extLst>
                <a:ext uri="{FF2B5EF4-FFF2-40B4-BE49-F238E27FC236}">
                  <a16:creationId xmlns:a16="http://schemas.microsoft.com/office/drawing/2014/main" id="{6E93EE6E-596D-447E-AA05-50B34EBEE62F}"/>
                </a:ext>
              </a:extLst>
            </p:cNvPr>
            <p:cNvSpPr/>
            <p:nvPr/>
          </p:nvSpPr>
          <p:spPr bwMode="auto">
            <a:xfrm>
              <a:off x="4240213" y="5626100"/>
              <a:ext cx="79375" cy="15875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7" name="iś1íḍè">
              <a:extLst>
                <a:ext uri="{FF2B5EF4-FFF2-40B4-BE49-F238E27FC236}">
                  <a16:creationId xmlns:a16="http://schemas.microsoft.com/office/drawing/2014/main" id="{7CE93240-5FDB-43BA-B388-9C6917753D04}"/>
                </a:ext>
              </a:extLst>
            </p:cNvPr>
            <p:cNvSpPr/>
            <p:nvPr/>
          </p:nvSpPr>
          <p:spPr bwMode="auto">
            <a:xfrm>
              <a:off x="4319588" y="5626100"/>
              <a:ext cx="79375" cy="15875"/>
            </a:xfrm>
            <a:custGeom>
              <a:avLst/>
              <a:gdLst>
                <a:gd name="T0" fmla="*/ 30 w 30"/>
                <a:gd name="T1" fmla="*/ 0 h 6"/>
                <a:gd name="T2" fmla="*/ 0 w 30"/>
                <a:gd name="T3" fmla="*/ 0 h 6"/>
                <a:gd name="T4" fmla="*/ 0 w 30"/>
                <a:gd name="T5" fmla="*/ 6 h 6"/>
                <a:gd name="T6" fmla="*/ 26 w 30"/>
                <a:gd name="T7" fmla="*/ 6 h 6"/>
                <a:gd name="T8" fmla="*/ 30 w 30"/>
                <a:gd name="T9" fmla="*/ 2 h 6"/>
                <a:gd name="T10" fmla="*/ 30 w 3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">
                  <a:moveTo>
                    <a:pt x="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9" y="6"/>
                    <a:pt x="30" y="4"/>
                    <a:pt x="30" y="2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8" name="íŝlíďé">
              <a:extLst>
                <a:ext uri="{FF2B5EF4-FFF2-40B4-BE49-F238E27FC236}">
                  <a16:creationId xmlns:a16="http://schemas.microsoft.com/office/drawing/2014/main" id="{6334D236-3372-4324-A78F-C7BBF2DB7A78}"/>
                </a:ext>
              </a:extLst>
            </p:cNvPr>
            <p:cNvSpPr/>
            <p:nvPr/>
          </p:nvSpPr>
          <p:spPr bwMode="auto">
            <a:xfrm>
              <a:off x="4398963" y="5619750"/>
              <a:ext cx="22225" cy="14288"/>
            </a:xfrm>
            <a:prstGeom prst="rect">
              <a:avLst/>
            </a:pr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9" name="ï$líďê">
              <a:extLst>
                <a:ext uri="{FF2B5EF4-FFF2-40B4-BE49-F238E27FC236}">
                  <a16:creationId xmlns:a16="http://schemas.microsoft.com/office/drawing/2014/main" id="{30DC902C-743B-4BA4-8578-342385CD71A9}"/>
                </a:ext>
              </a:extLst>
            </p:cNvPr>
            <p:cNvSpPr/>
            <p:nvPr/>
          </p:nvSpPr>
          <p:spPr bwMode="auto">
            <a:xfrm>
              <a:off x="4421188" y="5619750"/>
              <a:ext cx="80963" cy="14288"/>
            </a:xfrm>
            <a:custGeom>
              <a:avLst/>
              <a:gdLst>
                <a:gd name="T0" fmla="*/ 29 w 31"/>
                <a:gd name="T1" fmla="*/ 5 h 5"/>
                <a:gd name="T2" fmla="*/ 0 w 31"/>
                <a:gd name="T3" fmla="*/ 5 h 5"/>
                <a:gd name="T4" fmla="*/ 0 w 31"/>
                <a:gd name="T5" fmla="*/ 0 h 5"/>
                <a:gd name="T6" fmla="*/ 29 w 31"/>
                <a:gd name="T7" fmla="*/ 0 h 5"/>
                <a:gd name="T8" fmla="*/ 31 w 31"/>
                <a:gd name="T9" fmla="*/ 2 h 5"/>
                <a:gd name="T10" fmla="*/ 31 w 31"/>
                <a:gd name="T11" fmla="*/ 2 h 5"/>
                <a:gd name="T12" fmla="*/ 29 w 31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">
                  <a:moveTo>
                    <a:pt x="29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4"/>
                    <a:pt x="30" y="5"/>
                    <a:pt x="29" y="5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0" name="işlîḓê">
              <a:extLst>
                <a:ext uri="{FF2B5EF4-FFF2-40B4-BE49-F238E27FC236}">
                  <a16:creationId xmlns:a16="http://schemas.microsoft.com/office/drawing/2014/main" id="{75105E11-C002-48D2-81F7-6140D8E4A037}"/>
                </a:ext>
              </a:extLst>
            </p:cNvPr>
            <p:cNvSpPr/>
            <p:nvPr/>
          </p:nvSpPr>
          <p:spPr bwMode="auto">
            <a:xfrm>
              <a:off x="4398963" y="5626100"/>
              <a:ext cx="22225" cy="7938"/>
            </a:xfrm>
            <a:prstGeom prst="rect">
              <a:avLst/>
            </a:pr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1" name="ïŝļíďè">
              <a:extLst>
                <a:ext uri="{FF2B5EF4-FFF2-40B4-BE49-F238E27FC236}">
                  <a16:creationId xmlns:a16="http://schemas.microsoft.com/office/drawing/2014/main" id="{AF3E1E0B-6DD4-4107-B3B4-5A56A52F2812}"/>
                </a:ext>
              </a:extLst>
            </p:cNvPr>
            <p:cNvSpPr/>
            <p:nvPr/>
          </p:nvSpPr>
          <p:spPr bwMode="auto">
            <a:xfrm>
              <a:off x="4421188" y="5626100"/>
              <a:ext cx="80963" cy="7938"/>
            </a:xfrm>
            <a:custGeom>
              <a:avLst/>
              <a:gdLst>
                <a:gd name="T0" fmla="*/ 31 w 31"/>
                <a:gd name="T1" fmla="*/ 0 h 3"/>
                <a:gd name="T2" fmla="*/ 31 w 31"/>
                <a:gd name="T3" fmla="*/ 0 h 3"/>
                <a:gd name="T4" fmla="*/ 0 w 31"/>
                <a:gd name="T5" fmla="*/ 0 h 3"/>
                <a:gd name="T6" fmla="*/ 0 w 31"/>
                <a:gd name="T7" fmla="*/ 3 h 3"/>
                <a:gd name="T8" fmla="*/ 29 w 31"/>
                <a:gd name="T9" fmla="*/ 3 h 3"/>
                <a:gd name="T10" fmla="*/ 31 w 31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3"/>
                    <a:pt x="31" y="2"/>
                    <a:pt x="31" y="0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2" name="iṥ1îḑê">
              <a:extLst>
                <a:ext uri="{FF2B5EF4-FFF2-40B4-BE49-F238E27FC236}">
                  <a16:creationId xmlns:a16="http://schemas.microsoft.com/office/drawing/2014/main" id="{29997ACF-9D79-4D89-B58A-6535BBD63ACC}"/>
                </a:ext>
              </a:extLst>
            </p:cNvPr>
            <p:cNvSpPr/>
            <p:nvPr/>
          </p:nvSpPr>
          <p:spPr bwMode="auto">
            <a:xfrm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3" name="ïṧļîde">
              <a:extLst>
                <a:ext uri="{FF2B5EF4-FFF2-40B4-BE49-F238E27FC236}">
                  <a16:creationId xmlns:a16="http://schemas.microsoft.com/office/drawing/2014/main" id="{0B85B9D3-276B-4B02-916D-053624577935}"/>
                </a:ext>
              </a:extLst>
            </p:cNvPr>
            <p:cNvSpPr/>
            <p:nvPr/>
          </p:nvSpPr>
          <p:spPr bwMode="auto">
            <a:xfrm flipH="1" flipV="1">
              <a:off x="6235700" y="3652838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4" name="is1îďé">
              <a:extLst>
                <a:ext uri="{FF2B5EF4-FFF2-40B4-BE49-F238E27FC236}">
                  <a16:creationId xmlns:a16="http://schemas.microsoft.com/office/drawing/2014/main" id="{F61D14AE-002A-4210-9C3B-3B70B425724A}"/>
                </a:ext>
              </a:extLst>
            </p:cNvPr>
            <p:cNvSpPr/>
            <p:nvPr/>
          </p:nvSpPr>
          <p:spPr bwMode="auto">
            <a:xfrm>
              <a:off x="6118225" y="3565525"/>
              <a:ext cx="1235075" cy="115888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5" name="îşliḓé">
              <a:extLst>
                <a:ext uri="{FF2B5EF4-FFF2-40B4-BE49-F238E27FC236}">
                  <a16:creationId xmlns:a16="http://schemas.microsoft.com/office/drawing/2014/main" id="{4063C4A3-CF02-409F-B06A-F76622E4CD8F}"/>
                </a:ext>
              </a:extLst>
            </p:cNvPr>
            <p:cNvSpPr/>
            <p:nvPr/>
          </p:nvSpPr>
          <p:spPr bwMode="auto">
            <a:xfrm>
              <a:off x="6121400" y="3622675"/>
              <a:ext cx="1231900" cy="58738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6" name="ïṩļiḍê">
              <a:extLst>
                <a:ext uri="{FF2B5EF4-FFF2-40B4-BE49-F238E27FC236}">
                  <a16:creationId xmlns:a16="http://schemas.microsoft.com/office/drawing/2014/main" id="{08AD2B9D-21FD-46C8-9FF6-B217648FCF2A}"/>
                </a:ext>
              </a:extLst>
            </p:cNvPr>
            <p:cNvSpPr/>
            <p:nvPr/>
          </p:nvSpPr>
          <p:spPr bwMode="auto">
            <a:xfrm>
              <a:off x="6189663" y="3681413"/>
              <a:ext cx="93663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7" name="îṧḻïḍè">
              <a:extLst>
                <a:ext uri="{FF2B5EF4-FFF2-40B4-BE49-F238E27FC236}">
                  <a16:creationId xmlns:a16="http://schemas.microsoft.com/office/drawing/2014/main" id="{FFBEF4F4-9301-4F5E-A8CF-85658D20D9D8}"/>
                </a:ext>
              </a:extLst>
            </p:cNvPr>
            <p:cNvSpPr/>
            <p:nvPr/>
          </p:nvSpPr>
          <p:spPr bwMode="auto">
            <a:xfrm>
              <a:off x="7191375" y="3681413"/>
              <a:ext cx="92075" cy="1960563"/>
            </a:xfrm>
            <a:prstGeom prst="rect">
              <a:avLst/>
            </a:pr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8" name="îśļíḑe">
              <a:extLst>
                <a:ext uri="{FF2B5EF4-FFF2-40B4-BE49-F238E27FC236}">
                  <a16:creationId xmlns:a16="http://schemas.microsoft.com/office/drawing/2014/main" id="{14980F14-C338-4AF5-8C7B-4ADB70E570C0}"/>
                </a:ext>
              </a:extLst>
            </p:cNvPr>
            <p:cNvSpPr/>
            <p:nvPr/>
          </p:nvSpPr>
          <p:spPr bwMode="auto">
            <a:xfrm>
              <a:off x="6283325" y="4078288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9" name="iṥḻïḑé">
              <a:extLst>
                <a:ext uri="{FF2B5EF4-FFF2-40B4-BE49-F238E27FC236}">
                  <a16:creationId xmlns:a16="http://schemas.microsoft.com/office/drawing/2014/main" id="{78C71DB4-B8C7-4BF3-AC9B-99B86C27D29C}"/>
                </a:ext>
              </a:extLst>
            </p:cNvPr>
            <p:cNvSpPr/>
            <p:nvPr/>
          </p:nvSpPr>
          <p:spPr bwMode="auto">
            <a:xfrm>
              <a:off x="6356350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0" name="ïśḷiďê">
              <a:extLst>
                <a:ext uri="{FF2B5EF4-FFF2-40B4-BE49-F238E27FC236}">
                  <a16:creationId xmlns:a16="http://schemas.microsoft.com/office/drawing/2014/main" id="{B2CFEF42-A6E5-4334-8032-0D9A2C359E22}"/>
                </a:ext>
              </a:extLst>
            </p:cNvPr>
            <p:cNvSpPr/>
            <p:nvPr/>
          </p:nvSpPr>
          <p:spPr bwMode="auto">
            <a:xfrm>
              <a:off x="65373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1" name="işḻíḑe">
              <a:extLst>
                <a:ext uri="{FF2B5EF4-FFF2-40B4-BE49-F238E27FC236}">
                  <a16:creationId xmlns:a16="http://schemas.microsoft.com/office/drawing/2014/main" id="{0019FCCB-A555-4F78-A40E-2F517590D32A}"/>
                </a:ext>
              </a:extLst>
            </p:cNvPr>
            <p:cNvSpPr/>
            <p:nvPr/>
          </p:nvSpPr>
          <p:spPr bwMode="auto">
            <a:xfrm>
              <a:off x="6719888" y="4106863"/>
              <a:ext cx="34925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2" name="íšľïḓe">
              <a:extLst>
                <a:ext uri="{FF2B5EF4-FFF2-40B4-BE49-F238E27FC236}">
                  <a16:creationId xmlns:a16="http://schemas.microsoft.com/office/drawing/2014/main" id="{18B4DE7B-7D1C-4F65-968C-62EFF0E92297}"/>
                </a:ext>
              </a:extLst>
            </p:cNvPr>
            <p:cNvSpPr/>
            <p:nvPr/>
          </p:nvSpPr>
          <p:spPr bwMode="auto">
            <a:xfrm>
              <a:off x="6899275" y="4106863"/>
              <a:ext cx="38100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3" name="íṡḷîdé">
              <a:extLst>
                <a:ext uri="{FF2B5EF4-FFF2-40B4-BE49-F238E27FC236}">
                  <a16:creationId xmlns:a16="http://schemas.microsoft.com/office/drawing/2014/main" id="{364EFD09-7E65-45A6-A519-D20FC6921C96}"/>
                </a:ext>
              </a:extLst>
            </p:cNvPr>
            <p:cNvSpPr/>
            <p:nvPr/>
          </p:nvSpPr>
          <p:spPr bwMode="auto">
            <a:xfrm>
              <a:off x="7083425" y="4106863"/>
              <a:ext cx="36513" cy="38100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4" name="ïṡľide">
              <a:extLst>
                <a:ext uri="{FF2B5EF4-FFF2-40B4-BE49-F238E27FC236}">
                  <a16:creationId xmlns:a16="http://schemas.microsoft.com/office/drawing/2014/main" id="{23731BA6-336F-411A-8AFD-47129F36729A}"/>
                </a:ext>
              </a:extLst>
            </p:cNvPr>
            <p:cNvSpPr/>
            <p:nvPr/>
          </p:nvSpPr>
          <p:spPr bwMode="auto">
            <a:xfrm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5" name="ïşḻïḋe">
              <a:extLst>
                <a:ext uri="{FF2B5EF4-FFF2-40B4-BE49-F238E27FC236}">
                  <a16:creationId xmlns:a16="http://schemas.microsoft.com/office/drawing/2014/main" id="{1DFF9A24-7177-40EF-9E2D-E7D391701E08}"/>
                </a:ext>
              </a:extLst>
            </p:cNvPr>
            <p:cNvSpPr/>
            <p:nvPr/>
          </p:nvSpPr>
          <p:spPr bwMode="auto">
            <a:xfrm flipH="1" flipV="1">
              <a:off x="6235700" y="41449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6" name="iṣḻïḑè">
              <a:extLst>
                <a:ext uri="{FF2B5EF4-FFF2-40B4-BE49-F238E27FC236}">
                  <a16:creationId xmlns:a16="http://schemas.microsoft.com/office/drawing/2014/main" id="{3C223B6B-7204-49AD-8F8B-7007014A1D95}"/>
                </a:ext>
              </a:extLst>
            </p:cNvPr>
            <p:cNvSpPr/>
            <p:nvPr/>
          </p:nvSpPr>
          <p:spPr bwMode="auto">
            <a:xfrm>
              <a:off x="6283325" y="457041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7" name="î$ḷíďé">
              <a:extLst>
                <a:ext uri="{FF2B5EF4-FFF2-40B4-BE49-F238E27FC236}">
                  <a16:creationId xmlns:a16="http://schemas.microsoft.com/office/drawing/2014/main" id="{8C04C025-936A-449D-A523-77E927EF31D2}"/>
                </a:ext>
              </a:extLst>
            </p:cNvPr>
            <p:cNvSpPr/>
            <p:nvPr/>
          </p:nvSpPr>
          <p:spPr bwMode="auto">
            <a:xfrm>
              <a:off x="6356350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8" name="îśḷïḑe">
              <a:extLst>
                <a:ext uri="{FF2B5EF4-FFF2-40B4-BE49-F238E27FC236}">
                  <a16:creationId xmlns:a16="http://schemas.microsoft.com/office/drawing/2014/main" id="{4875B503-8668-4DF9-8066-EDD0F1DD1661}"/>
                </a:ext>
              </a:extLst>
            </p:cNvPr>
            <p:cNvSpPr/>
            <p:nvPr/>
          </p:nvSpPr>
          <p:spPr bwMode="auto">
            <a:xfrm>
              <a:off x="65373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9" name="ï$lïḋè">
              <a:extLst>
                <a:ext uri="{FF2B5EF4-FFF2-40B4-BE49-F238E27FC236}">
                  <a16:creationId xmlns:a16="http://schemas.microsoft.com/office/drawing/2014/main" id="{7D25754C-6D3E-46B4-A375-DE11C5ED5765}"/>
                </a:ext>
              </a:extLst>
            </p:cNvPr>
            <p:cNvSpPr/>
            <p:nvPr/>
          </p:nvSpPr>
          <p:spPr bwMode="auto">
            <a:xfrm>
              <a:off x="6719888" y="4597400"/>
              <a:ext cx="34925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0" name="íSḻîḑé">
              <a:extLst>
                <a:ext uri="{FF2B5EF4-FFF2-40B4-BE49-F238E27FC236}">
                  <a16:creationId xmlns:a16="http://schemas.microsoft.com/office/drawing/2014/main" id="{73832A55-7E77-41B7-83CE-8517957C36FE}"/>
                </a:ext>
              </a:extLst>
            </p:cNvPr>
            <p:cNvSpPr/>
            <p:nvPr/>
          </p:nvSpPr>
          <p:spPr bwMode="auto">
            <a:xfrm>
              <a:off x="6899275" y="4597400"/>
              <a:ext cx="38100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1" name="iṡļiḓe">
              <a:extLst>
                <a:ext uri="{FF2B5EF4-FFF2-40B4-BE49-F238E27FC236}">
                  <a16:creationId xmlns:a16="http://schemas.microsoft.com/office/drawing/2014/main" id="{4922490F-AB65-41D3-9EAD-B928D09878D5}"/>
                </a:ext>
              </a:extLst>
            </p:cNvPr>
            <p:cNvSpPr/>
            <p:nvPr/>
          </p:nvSpPr>
          <p:spPr bwMode="auto">
            <a:xfrm>
              <a:off x="7083425" y="4597400"/>
              <a:ext cx="36513" cy="36513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2" name="íṡḷídê">
              <a:extLst>
                <a:ext uri="{FF2B5EF4-FFF2-40B4-BE49-F238E27FC236}">
                  <a16:creationId xmlns:a16="http://schemas.microsoft.com/office/drawing/2014/main" id="{26CEED95-C7A2-4344-A27D-59D4C560A723}"/>
                </a:ext>
              </a:extLst>
            </p:cNvPr>
            <p:cNvSpPr/>
            <p:nvPr/>
          </p:nvSpPr>
          <p:spPr bwMode="auto">
            <a:xfrm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3" name="iṡľïḍé">
              <a:extLst>
                <a:ext uri="{FF2B5EF4-FFF2-40B4-BE49-F238E27FC236}">
                  <a16:creationId xmlns:a16="http://schemas.microsoft.com/office/drawing/2014/main" id="{EC9691ED-768A-4E48-90BE-2EEACDAB634E}"/>
                </a:ext>
              </a:extLst>
            </p:cNvPr>
            <p:cNvSpPr/>
            <p:nvPr/>
          </p:nvSpPr>
          <p:spPr bwMode="auto">
            <a:xfrm flipH="1" flipV="1">
              <a:off x="6235700" y="463391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4" name="íSľïdê">
              <a:extLst>
                <a:ext uri="{FF2B5EF4-FFF2-40B4-BE49-F238E27FC236}">
                  <a16:creationId xmlns:a16="http://schemas.microsoft.com/office/drawing/2014/main" id="{1060E4BA-D598-4EEB-8AC6-63EB79EC43DD}"/>
                </a:ext>
              </a:extLst>
            </p:cNvPr>
            <p:cNvSpPr/>
            <p:nvPr/>
          </p:nvSpPr>
          <p:spPr bwMode="auto">
            <a:xfrm>
              <a:off x="6283325" y="5059363"/>
              <a:ext cx="908050" cy="92075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5" name="ïSľíḑé">
              <a:extLst>
                <a:ext uri="{FF2B5EF4-FFF2-40B4-BE49-F238E27FC236}">
                  <a16:creationId xmlns:a16="http://schemas.microsoft.com/office/drawing/2014/main" id="{3996CDA7-9B40-499B-81F5-8BF1600452A1}"/>
                </a:ext>
              </a:extLst>
            </p:cNvPr>
            <p:cNvSpPr/>
            <p:nvPr/>
          </p:nvSpPr>
          <p:spPr bwMode="auto">
            <a:xfrm>
              <a:off x="6356350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6" name="îşḷiḋé">
              <a:extLst>
                <a:ext uri="{FF2B5EF4-FFF2-40B4-BE49-F238E27FC236}">
                  <a16:creationId xmlns:a16="http://schemas.microsoft.com/office/drawing/2014/main" id="{F1A6EE6B-CCC3-4C92-8109-7D956D2CAA32}"/>
                </a:ext>
              </a:extLst>
            </p:cNvPr>
            <p:cNvSpPr/>
            <p:nvPr/>
          </p:nvSpPr>
          <p:spPr bwMode="auto">
            <a:xfrm>
              <a:off x="65373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7" name="iṥľîḍe">
              <a:extLst>
                <a:ext uri="{FF2B5EF4-FFF2-40B4-BE49-F238E27FC236}">
                  <a16:creationId xmlns:a16="http://schemas.microsoft.com/office/drawing/2014/main" id="{4AF8C5C1-717D-4B7F-8C23-CCBFFFCF5331}"/>
                </a:ext>
              </a:extLst>
            </p:cNvPr>
            <p:cNvSpPr/>
            <p:nvPr/>
          </p:nvSpPr>
          <p:spPr bwMode="auto">
            <a:xfrm>
              <a:off x="6719888" y="5087938"/>
              <a:ext cx="34925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8" name="íṥ1íďê">
              <a:extLst>
                <a:ext uri="{FF2B5EF4-FFF2-40B4-BE49-F238E27FC236}">
                  <a16:creationId xmlns:a16="http://schemas.microsoft.com/office/drawing/2014/main" id="{E6884545-0687-4ECD-A7F3-6CE8ED4677DE}"/>
                </a:ext>
              </a:extLst>
            </p:cNvPr>
            <p:cNvSpPr/>
            <p:nvPr/>
          </p:nvSpPr>
          <p:spPr bwMode="auto">
            <a:xfrm>
              <a:off x="6899275" y="5087938"/>
              <a:ext cx="38100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9" name="iṣļiḋé">
              <a:extLst>
                <a:ext uri="{FF2B5EF4-FFF2-40B4-BE49-F238E27FC236}">
                  <a16:creationId xmlns:a16="http://schemas.microsoft.com/office/drawing/2014/main" id="{1BC1AA29-B544-4947-BE9F-5937BF595089}"/>
                </a:ext>
              </a:extLst>
            </p:cNvPr>
            <p:cNvSpPr/>
            <p:nvPr/>
          </p:nvSpPr>
          <p:spPr bwMode="auto">
            <a:xfrm>
              <a:off x="7083425" y="5087938"/>
              <a:ext cx="36513" cy="34925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0" name="íślîḋê">
              <a:extLst>
                <a:ext uri="{FF2B5EF4-FFF2-40B4-BE49-F238E27FC236}">
                  <a16:creationId xmlns:a16="http://schemas.microsoft.com/office/drawing/2014/main" id="{55933BC2-FB90-4CAB-AEE1-D287E47972EC}"/>
                </a:ext>
              </a:extLst>
            </p:cNvPr>
            <p:cNvSpPr/>
            <p:nvPr/>
          </p:nvSpPr>
          <p:spPr bwMode="auto">
            <a:xfrm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1" name="îṧḻiḓe">
              <a:extLst>
                <a:ext uri="{FF2B5EF4-FFF2-40B4-BE49-F238E27FC236}">
                  <a16:creationId xmlns:a16="http://schemas.microsoft.com/office/drawing/2014/main" id="{BB64666F-9B6A-4EAD-9DC9-97F012075404}"/>
                </a:ext>
              </a:extLst>
            </p:cNvPr>
            <p:cNvSpPr/>
            <p:nvPr/>
          </p:nvSpPr>
          <p:spPr bwMode="auto">
            <a:xfrm flipH="1" flipV="1">
              <a:off x="6235700" y="5122863"/>
              <a:ext cx="1003300" cy="436563"/>
            </a:xfrm>
            <a:prstGeom prst="line">
              <a:avLst/>
            </a:prstGeom>
            <a:noFill/>
            <a:ln w="53975" cap="flat">
              <a:solidFill>
                <a:srgbClr val="3E65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2" name="iş1ïḓê">
              <a:extLst>
                <a:ext uri="{FF2B5EF4-FFF2-40B4-BE49-F238E27FC236}">
                  <a16:creationId xmlns:a16="http://schemas.microsoft.com/office/drawing/2014/main" id="{6A85EDED-FC29-49F1-BECD-F94D138EFCA8}"/>
                </a:ext>
              </a:extLst>
            </p:cNvPr>
            <p:cNvSpPr/>
            <p:nvPr/>
          </p:nvSpPr>
          <p:spPr bwMode="auto">
            <a:xfrm>
              <a:off x="6283325" y="5548313"/>
              <a:ext cx="908050" cy="93663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3" name="iṧļiḑè">
              <a:extLst>
                <a:ext uri="{FF2B5EF4-FFF2-40B4-BE49-F238E27FC236}">
                  <a16:creationId xmlns:a16="http://schemas.microsoft.com/office/drawing/2014/main" id="{83792892-EAFE-4132-AF61-DDFD87E2231D}"/>
                </a:ext>
              </a:extLst>
            </p:cNvPr>
            <p:cNvSpPr/>
            <p:nvPr/>
          </p:nvSpPr>
          <p:spPr bwMode="auto">
            <a:xfrm>
              <a:off x="6356350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4" name="ïṣ1îḍê">
              <a:extLst>
                <a:ext uri="{FF2B5EF4-FFF2-40B4-BE49-F238E27FC236}">
                  <a16:creationId xmlns:a16="http://schemas.microsoft.com/office/drawing/2014/main" id="{00E91DF8-A600-40D8-B44F-C3567CA47C56}"/>
                </a:ext>
              </a:extLst>
            </p:cNvPr>
            <p:cNvSpPr/>
            <p:nvPr/>
          </p:nvSpPr>
          <p:spPr bwMode="auto">
            <a:xfrm>
              <a:off x="65373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5" name="ïśḷiḓê">
              <a:extLst>
                <a:ext uri="{FF2B5EF4-FFF2-40B4-BE49-F238E27FC236}">
                  <a16:creationId xmlns:a16="http://schemas.microsoft.com/office/drawing/2014/main" id="{61E97DD7-5521-4D4F-B08B-31F8845D58A7}"/>
                </a:ext>
              </a:extLst>
            </p:cNvPr>
            <p:cNvSpPr/>
            <p:nvPr/>
          </p:nvSpPr>
          <p:spPr bwMode="auto">
            <a:xfrm>
              <a:off x="6719888" y="5578475"/>
              <a:ext cx="34925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6" name="iṡlîďé">
              <a:extLst>
                <a:ext uri="{FF2B5EF4-FFF2-40B4-BE49-F238E27FC236}">
                  <a16:creationId xmlns:a16="http://schemas.microsoft.com/office/drawing/2014/main" id="{8DA7F7D8-91AF-4EB6-A6D2-E14348DE7A4E}"/>
                </a:ext>
              </a:extLst>
            </p:cNvPr>
            <p:cNvSpPr/>
            <p:nvPr/>
          </p:nvSpPr>
          <p:spPr bwMode="auto">
            <a:xfrm>
              <a:off x="6899275" y="5578475"/>
              <a:ext cx="38100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7" name="íSḷïde">
              <a:extLst>
                <a:ext uri="{FF2B5EF4-FFF2-40B4-BE49-F238E27FC236}">
                  <a16:creationId xmlns:a16="http://schemas.microsoft.com/office/drawing/2014/main" id="{07F42A09-85EA-40C4-AF09-C323CFB55077}"/>
                </a:ext>
              </a:extLst>
            </p:cNvPr>
            <p:cNvSpPr/>
            <p:nvPr/>
          </p:nvSpPr>
          <p:spPr bwMode="auto">
            <a:xfrm>
              <a:off x="7083425" y="5578475"/>
              <a:ext cx="36513" cy="33338"/>
            </a:xfrm>
            <a:prstGeom prst="ellipse">
              <a:avLst/>
            </a:prstGeom>
            <a:solidFill>
              <a:srgbClr val="DEF1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8" name="îSḻîdè">
              <a:extLst>
                <a:ext uri="{FF2B5EF4-FFF2-40B4-BE49-F238E27FC236}">
                  <a16:creationId xmlns:a16="http://schemas.microsoft.com/office/drawing/2014/main" id="{CADB6879-E92F-4CC4-AAE3-BF8B777A3A55}"/>
                </a:ext>
              </a:extLst>
            </p:cNvPr>
            <p:cNvSpPr/>
            <p:nvPr/>
          </p:nvSpPr>
          <p:spPr bwMode="auto">
            <a:xfrm>
              <a:off x="5229225" y="3236913"/>
              <a:ext cx="71438" cy="84138"/>
            </a:xfrm>
            <a:custGeom>
              <a:avLst/>
              <a:gdLst>
                <a:gd name="T0" fmla="*/ 0 w 45"/>
                <a:gd name="T1" fmla="*/ 42 h 53"/>
                <a:gd name="T2" fmla="*/ 28 w 45"/>
                <a:gd name="T3" fmla="*/ 0 h 53"/>
                <a:gd name="T4" fmla="*/ 45 w 45"/>
                <a:gd name="T5" fmla="*/ 12 h 53"/>
                <a:gd name="T6" fmla="*/ 16 w 45"/>
                <a:gd name="T7" fmla="*/ 53 h 53"/>
                <a:gd name="T8" fmla="*/ 0 w 45"/>
                <a:gd name="T9" fmla="*/ 4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3">
                  <a:moveTo>
                    <a:pt x="0" y="42"/>
                  </a:moveTo>
                  <a:lnTo>
                    <a:pt x="28" y="0"/>
                  </a:lnTo>
                  <a:lnTo>
                    <a:pt x="45" y="12"/>
                  </a:lnTo>
                  <a:lnTo>
                    <a:pt x="16" y="53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FFD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9" name="ïsḷïḓé">
              <a:extLst>
                <a:ext uri="{FF2B5EF4-FFF2-40B4-BE49-F238E27FC236}">
                  <a16:creationId xmlns:a16="http://schemas.microsoft.com/office/drawing/2014/main" id="{B2EEF2FD-3B4D-4099-B120-471EA19E1C34}"/>
                </a:ext>
              </a:extLst>
            </p:cNvPr>
            <p:cNvSpPr/>
            <p:nvPr/>
          </p:nvSpPr>
          <p:spPr bwMode="auto">
            <a:xfrm>
              <a:off x="5186363" y="3303588"/>
              <a:ext cx="68263" cy="80963"/>
            </a:xfrm>
            <a:custGeom>
              <a:avLst/>
              <a:gdLst>
                <a:gd name="T0" fmla="*/ 1 w 26"/>
                <a:gd name="T1" fmla="*/ 21 h 31"/>
                <a:gd name="T2" fmla="*/ 16 w 26"/>
                <a:gd name="T3" fmla="*/ 0 h 31"/>
                <a:gd name="T4" fmla="*/ 26 w 26"/>
                <a:gd name="T5" fmla="*/ 7 h 31"/>
                <a:gd name="T6" fmla="*/ 11 w 26"/>
                <a:gd name="T7" fmla="*/ 28 h 31"/>
                <a:gd name="T8" fmla="*/ 5 w 26"/>
                <a:gd name="T9" fmla="*/ 29 h 31"/>
                <a:gd name="T10" fmla="*/ 2 w 26"/>
                <a:gd name="T11" fmla="*/ 27 h 31"/>
                <a:gd name="T12" fmla="*/ 1 w 26"/>
                <a:gd name="T1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1">
                  <a:moveTo>
                    <a:pt x="1" y="21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9" y="30"/>
                    <a:pt x="7" y="31"/>
                    <a:pt x="5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6"/>
                    <a:pt x="0" y="23"/>
                    <a:pt x="1" y="21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0" name="îSľiḋè">
              <a:extLst>
                <a:ext uri="{FF2B5EF4-FFF2-40B4-BE49-F238E27FC236}">
                  <a16:creationId xmlns:a16="http://schemas.microsoft.com/office/drawing/2014/main" id="{622EDE9C-8162-48CB-99EF-B3997E6F81D0}"/>
                </a:ext>
              </a:extLst>
            </p:cNvPr>
            <p:cNvSpPr/>
            <p:nvPr/>
          </p:nvSpPr>
          <p:spPr bwMode="auto">
            <a:xfrm>
              <a:off x="5241925" y="3248025"/>
              <a:ext cx="58738" cy="73025"/>
            </a:xfrm>
            <a:custGeom>
              <a:avLst/>
              <a:gdLst>
                <a:gd name="T0" fmla="*/ 0 w 37"/>
                <a:gd name="T1" fmla="*/ 40 h 46"/>
                <a:gd name="T2" fmla="*/ 28 w 37"/>
                <a:gd name="T3" fmla="*/ 0 h 46"/>
                <a:gd name="T4" fmla="*/ 37 w 37"/>
                <a:gd name="T5" fmla="*/ 5 h 46"/>
                <a:gd name="T6" fmla="*/ 8 w 37"/>
                <a:gd name="T7" fmla="*/ 46 h 46"/>
                <a:gd name="T8" fmla="*/ 0 w 37"/>
                <a:gd name="T9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6">
                  <a:moveTo>
                    <a:pt x="0" y="40"/>
                  </a:moveTo>
                  <a:lnTo>
                    <a:pt x="28" y="0"/>
                  </a:lnTo>
                  <a:lnTo>
                    <a:pt x="37" y="5"/>
                  </a:lnTo>
                  <a:lnTo>
                    <a:pt x="8" y="46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1" name="íS1iḓè">
              <a:extLst>
                <a:ext uri="{FF2B5EF4-FFF2-40B4-BE49-F238E27FC236}">
                  <a16:creationId xmlns:a16="http://schemas.microsoft.com/office/drawing/2014/main" id="{7B132FDE-6F8A-439A-9428-092FCD3B55FD}"/>
                </a:ext>
              </a:extLst>
            </p:cNvPr>
            <p:cNvSpPr/>
            <p:nvPr/>
          </p:nvSpPr>
          <p:spPr bwMode="auto">
            <a:xfrm>
              <a:off x="5194300" y="3311525"/>
              <a:ext cx="60325" cy="73025"/>
            </a:xfrm>
            <a:custGeom>
              <a:avLst/>
              <a:gdLst>
                <a:gd name="T0" fmla="*/ 0 w 23"/>
                <a:gd name="T1" fmla="*/ 25 h 28"/>
                <a:gd name="T2" fmla="*/ 18 w 23"/>
                <a:gd name="T3" fmla="*/ 0 h 28"/>
                <a:gd name="T4" fmla="*/ 23 w 23"/>
                <a:gd name="T5" fmla="*/ 4 h 28"/>
                <a:gd name="T6" fmla="*/ 8 w 23"/>
                <a:gd name="T7" fmla="*/ 25 h 28"/>
                <a:gd name="T8" fmla="*/ 2 w 23"/>
                <a:gd name="T9" fmla="*/ 26 h 28"/>
                <a:gd name="T10" fmla="*/ 0 w 23"/>
                <a:gd name="T11" fmla="*/ 2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8">
                  <a:moveTo>
                    <a:pt x="0" y="25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6" y="27"/>
                    <a:pt x="4" y="28"/>
                    <a:pt x="2" y="26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2" name="îṩḷïďè">
              <a:extLst>
                <a:ext uri="{FF2B5EF4-FFF2-40B4-BE49-F238E27FC236}">
                  <a16:creationId xmlns:a16="http://schemas.microsoft.com/office/drawing/2014/main" id="{1498D65B-BE1B-46FC-843A-815186FC727D}"/>
                </a:ext>
              </a:extLst>
            </p:cNvPr>
            <p:cNvSpPr/>
            <p:nvPr/>
          </p:nvSpPr>
          <p:spPr bwMode="auto">
            <a:xfrm>
              <a:off x="5178425" y="3375025"/>
              <a:ext cx="23813" cy="23813"/>
            </a:xfrm>
            <a:custGeom>
              <a:avLst/>
              <a:gdLst>
                <a:gd name="T0" fmla="*/ 8 w 15"/>
                <a:gd name="T1" fmla="*/ 15 h 15"/>
                <a:gd name="T2" fmla="*/ 15 w 15"/>
                <a:gd name="T3" fmla="*/ 5 h 15"/>
                <a:gd name="T4" fmla="*/ 8 w 15"/>
                <a:gd name="T5" fmla="*/ 0 h 15"/>
                <a:gd name="T6" fmla="*/ 0 w 15"/>
                <a:gd name="T7" fmla="*/ 10 h 15"/>
                <a:gd name="T8" fmla="*/ 8 w 1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8" y="15"/>
                  </a:moveTo>
                  <a:lnTo>
                    <a:pt x="15" y="5"/>
                  </a:lnTo>
                  <a:lnTo>
                    <a:pt x="8" y="0"/>
                  </a:lnTo>
                  <a:lnTo>
                    <a:pt x="0" y="10"/>
                  </a:lnTo>
                  <a:lnTo>
                    <a:pt x="8" y="15"/>
                  </a:lnTo>
                  <a:close/>
                </a:path>
              </a:pathLst>
            </a:custGeom>
            <a:solidFill>
              <a:srgbClr val="E73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3" name="îşļidè">
              <a:extLst>
                <a:ext uri="{FF2B5EF4-FFF2-40B4-BE49-F238E27FC236}">
                  <a16:creationId xmlns:a16="http://schemas.microsoft.com/office/drawing/2014/main" id="{1949BB1D-6E98-4B76-8402-F7BD9D8447CA}"/>
                </a:ext>
              </a:extLst>
            </p:cNvPr>
            <p:cNvSpPr/>
            <p:nvPr/>
          </p:nvSpPr>
          <p:spPr bwMode="auto">
            <a:xfrm>
              <a:off x="5133975" y="3390900"/>
              <a:ext cx="57150" cy="73025"/>
            </a:xfrm>
            <a:custGeom>
              <a:avLst/>
              <a:gdLst>
                <a:gd name="T0" fmla="*/ 5 w 22"/>
                <a:gd name="T1" fmla="*/ 27 h 28"/>
                <a:gd name="T2" fmla="*/ 22 w 22"/>
                <a:gd name="T3" fmla="*/ 3 h 28"/>
                <a:gd name="T4" fmla="*/ 17 w 22"/>
                <a:gd name="T5" fmla="*/ 0 h 28"/>
                <a:gd name="T6" fmla="*/ 1 w 22"/>
                <a:gd name="T7" fmla="*/ 24 h 28"/>
                <a:gd name="T8" fmla="*/ 1 w 22"/>
                <a:gd name="T9" fmla="*/ 27 h 28"/>
                <a:gd name="T10" fmla="*/ 1 w 22"/>
                <a:gd name="T11" fmla="*/ 27 h 28"/>
                <a:gd name="T12" fmla="*/ 5 w 22"/>
                <a:gd name="T13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5" y="27"/>
                  </a:moveTo>
                  <a:cubicBezTo>
                    <a:pt x="22" y="3"/>
                    <a:pt x="22" y="3"/>
                    <a:pt x="22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5"/>
                    <a:pt x="0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3" y="28"/>
                    <a:pt x="4" y="28"/>
                    <a:pt x="5" y="27"/>
                  </a:cubicBezTo>
                  <a:close/>
                </a:path>
              </a:pathLst>
            </a:custGeom>
            <a:solidFill>
              <a:srgbClr val="FFA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4" name="ï$líḋé">
              <a:extLst>
                <a:ext uri="{FF2B5EF4-FFF2-40B4-BE49-F238E27FC236}">
                  <a16:creationId xmlns:a16="http://schemas.microsoft.com/office/drawing/2014/main" id="{232D2721-D53B-468A-9EAF-B7ADB9D94279}"/>
                </a:ext>
              </a:extLst>
            </p:cNvPr>
            <p:cNvSpPr/>
            <p:nvPr/>
          </p:nvSpPr>
          <p:spPr bwMode="auto">
            <a:xfrm>
              <a:off x="5183188" y="3376613"/>
              <a:ext cx="19050" cy="22225"/>
            </a:xfrm>
            <a:custGeom>
              <a:avLst/>
              <a:gdLst>
                <a:gd name="T0" fmla="*/ 7 w 12"/>
                <a:gd name="T1" fmla="*/ 0 h 14"/>
                <a:gd name="T2" fmla="*/ 0 w 12"/>
                <a:gd name="T3" fmla="*/ 10 h 14"/>
                <a:gd name="T4" fmla="*/ 5 w 12"/>
                <a:gd name="T5" fmla="*/ 14 h 14"/>
                <a:gd name="T6" fmla="*/ 12 w 12"/>
                <a:gd name="T7" fmla="*/ 4 h 14"/>
                <a:gd name="T8" fmla="*/ 7 w 12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7" y="0"/>
                  </a:moveTo>
                  <a:lnTo>
                    <a:pt x="0" y="10"/>
                  </a:lnTo>
                  <a:lnTo>
                    <a:pt x="5" y="14"/>
                  </a:lnTo>
                  <a:lnTo>
                    <a:pt x="12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80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5" name="iṡļídê">
              <a:extLst>
                <a:ext uri="{FF2B5EF4-FFF2-40B4-BE49-F238E27FC236}">
                  <a16:creationId xmlns:a16="http://schemas.microsoft.com/office/drawing/2014/main" id="{3399FDCF-1A75-438B-BE29-E6C1FCED2B4D}"/>
                </a:ext>
              </a:extLst>
            </p:cNvPr>
            <p:cNvSpPr/>
            <p:nvPr/>
          </p:nvSpPr>
          <p:spPr bwMode="auto">
            <a:xfrm>
              <a:off x="5135563" y="3392488"/>
              <a:ext cx="55563" cy="71438"/>
            </a:xfrm>
            <a:custGeom>
              <a:avLst/>
              <a:gdLst>
                <a:gd name="T0" fmla="*/ 0 w 21"/>
                <a:gd name="T1" fmla="*/ 26 h 27"/>
                <a:gd name="T2" fmla="*/ 0 w 21"/>
                <a:gd name="T3" fmla="*/ 26 h 27"/>
                <a:gd name="T4" fmla="*/ 18 w 21"/>
                <a:gd name="T5" fmla="*/ 0 h 27"/>
                <a:gd name="T6" fmla="*/ 21 w 21"/>
                <a:gd name="T7" fmla="*/ 2 h 27"/>
                <a:gd name="T8" fmla="*/ 4 w 21"/>
                <a:gd name="T9" fmla="*/ 26 h 27"/>
                <a:gd name="T10" fmla="*/ 0 w 21"/>
                <a:gd name="T1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7">
                  <a:moveTo>
                    <a:pt x="0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7"/>
                    <a:pt x="2" y="27"/>
                    <a:pt x="0" y="26"/>
                  </a:cubicBezTo>
                  <a:close/>
                </a:path>
              </a:pathLst>
            </a:custGeom>
            <a:solidFill>
              <a:srgbClr val="ED93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6" name="íśḷíḍê">
              <a:extLst>
                <a:ext uri="{FF2B5EF4-FFF2-40B4-BE49-F238E27FC236}">
                  <a16:creationId xmlns:a16="http://schemas.microsoft.com/office/drawing/2014/main" id="{65F8A47A-E2A6-41FE-94A0-ACBC23899B78}"/>
                </a:ext>
              </a:extLst>
            </p:cNvPr>
            <p:cNvSpPr/>
            <p:nvPr/>
          </p:nvSpPr>
          <p:spPr bwMode="auto">
            <a:xfrm>
              <a:off x="4600575" y="4141788"/>
              <a:ext cx="177800" cy="762000"/>
            </a:xfrm>
            <a:custGeom>
              <a:avLst/>
              <a:gdLst>
                <a:gd name="T0" fmla="*/ 0 w 112"/>
                <a:gd name="T1" fmla="*/ 0 h 480"/>
                <a:gd name="T2" fmla="*/ 22 w 112"/>
                <a:gd name="T3" fmla="*/ 235 h 480"/>
                <a:gd name="T4" fmla="*/ 17 w 112"/>
                <a:gd name="T5" fmla="*/ 480 h 480"/>
                <a:gd name="T6" fmla="*/ 54 w 112"/>
                <a:gd name="T7" fmla="*/ 480 h 480"/>
                <a:gd name="T8" fmla="*/ 105 w 112"/>
                <a:gd name="T9" fmla="*/ 237 h 480"/>
                <a:gd name="T10" fmla="*/ 112 w 112"/>
                <a:gd name="T11" fmla="*/ 0 h 480"/>
                <a:gd name="T12" fmla="*/ 0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0" y="0"/>
                  </a:moveTo>
                  <a:lnTo>
                    <a:pt x="22" y="235"/>
                  </a:lnTo>
                  <a:lnTo>
                    <a:pt x="17" y="480"/>
                  </a:lnTo>
                  <a:lnTo>
                    <a:pt x="54" y="480"/>
                  </a:lnTo>
                  <a:lnTo>
                    <a:pt x="105" y="237"/>
                  </a:lnTo>
                  <a:lnTo>
                    <a:pt x="1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7" name="ïṥlîďé">
              <a:extLst>
                <a:ext uri="{FF2B5EF4-FFF2-40B4-BE49-F238E27FC236}">
                  <a16:creationId xmlns:a16="http://schemas.microsoft.com/office/drawing/2014/main" id="{793F4CEF-B44F-4D6A-9533-21017B444C96}"/>
                </a:ext>
              </a:extLst>
            </p:cNvPr>
            <p:cNvSpPr/>
            <p:nvPr/>
          </p:nvSpPr>
          <p:spPr bwMode="auto">
            <a:xfrm>
              <a:off x="4614863" y="4141788"/>
              <a:ext cx="303213" cy="762000"/>
            </a:xfrm>
            <a:custGeom>
              <a:avLst/>
              <a:gdLst>
                <a:gd name="T0" fmla="*/ 128 w 191"/>
                <a:gd name="T1" fmla="*/ 0 h 480"/>
                <a:gd name="T2" fmla="*/ 191 w 191"/>
                <a:gd name="T3" fmla="*/ 220 h 480"/>
                <a:gd name="T4" fmla="*/ 118 w 191"/>
                <a:gd name="T5" fmla="*/ 480 h 480"/>
                <a:gd name="T6" fmla="*/ 81 w 191"/>
                <a:gd name="T7" fmla="*/ 480 h 480"/>
                <a:gd name="T8" fmla="*/ 110 w 191"/>
                <a:gd name="T9" fmla="*/ 230 h 480"/>
                <a:gd name="T10" fmla="*/ 0 w 191"/>
                <a:gd name="T11" fmla="*/ 0 h 480"/>
                <a:gd name="T12" fmla="*/ 128 w 191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480">
                  <a:moveTo>
                    <a:pt x="128" y="0"/>
                  </a:moveTo>
                  <a:lnTo>
                    <a:pt x="191" y="220"/>
                  </a:lnTo>
                  <a:lnTo>
                    <a:pt x="118" y="480"/>
                  </a:lnTo>
                  <a:lnTo>
                    <a:pt x="81" y="480"/>
                  </a:lnTo>
                  <a:lnTo>
                    <a:pt x="110" y="230"/>
                  </a:lnTo>
                  <a:lnTo>
                    <a:pt x="0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8" name="îslídê">
              <a:extLst>
                <a:ext uri="{FF2B5EF4-FFF2-40B4-BE49-F238E27FC236}">
                  <a16:creationId xmlns:a16="http://schemas.microsoft.com/office/drawing/2014/main" id="{29B53A95-3FFE-4F37-9B8C-3CD17579BFEE}"/>
                </a:ext>
              </a:extLst>
            </p:cNvPr>
            <p:cNvSpPr/>
            <p:nvPr/>
          </p:nvSpPr>
          <p:spPr bwMode="auto">
            <a:xfrm>
              <a:off x="4733925" y="4903788"/>
              <a:ext cx="215900" cy="65088"/>
            </a:xfrm>
            <a:custGeom>
              <a:avLst/>
              <a:gdLst>
                <a:gd name="T0" fmla="*/ 4 w 82"/>
                <a:gd name="T1" fmla="*/ 0 h 25"/>
                <a:gd name="T2" fmla="*/ 0 w 82"/>
                <a:gd name="T3" fmla="*/ 25 h 25"/>
                <a:gd name="T4" fmla="*/ 79 w 82"/>
                <a:gd name="T5" fmla="*/ 25 h 25"/>
                <a:gd name="T6" fmla="*/ 82 w 82"/>
                <a:gd name="T7" fmla="*/ 17 h 25"/>
                <a:gd name="T8" fmla="*/ 29 w 82"/>
                <a:gd name="T9" fmla="*/ 4 h 25"/>
                <a:gd name="T10" fmla="*/ 26 w 82"/>
                <a:gd name="T11" fmla="*/ 0 h 25"/>
                <a:gd name="T12" fmla="*/ 4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1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9" name="iŝ1ïde">
              <a:extLst>
                <a:ext uri="{FF2B5EF4-FFF2-40B4-BE49-F238E27FC236}">
                  <a16:creationId xmlns:a16="http://schemas.microsoft.com/office/drawing/2014/main" id="{A4EF147C-03A1-4E3A-8733-1F74AE381EA9}"/>
                </a:ext>
              </a:extLst>
            </p:cNvPr>
            <p:cNvSpPr/>
            <p:nvPr/>
          </p:nvSpPr>
          <p:spPr bwMode="auto">
            <a:xfrm>
              <a:off x="4616450" y="4903788"/>
              <a:ext cx="220663" cy="65088"/>
            </a:xfrm>
            <a:custGeom>
              <a:avLst/>
              <a:gdLst>
                <a:gd name="T0" fmla="*/ 4 w 83"/>
                <a:gd name="T1" fmla="*/ 0 h 25"/>
                <a:gd name="T2" fmla="*/ 0 w 83"/>
                <a:gd name="T3" fmla="*/ 25 h 25"/>
                <a:gd name="T4" fmla="*/ 79 w 83"/>
                <a:gd name="T5" fmla="*/ 25 h 25"/>
                <a:gd name="T6" fmla="*/ 83 w 83"/>
                <a:gd name="T7" fmla="*/ 17 h 25"/>
                <a:gd name="T8" fmla="*/ 29 w 83"/>
                <a:gd name="T9" fmla="*/ 4 h 25"/>
                <a:gd name="T10" fmla="*/ 26 w 83"/>
                <a:gd name="T11" fmla="*/ 0 h 25"/>
                <a:gd name="T12" fmla="*/ 4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4" y="0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2" y="17"/>
                    <a:pt x="29" y="4"/>
                    <a:pt x="29" y="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0" name="isḻíďè">
              <a:extLst>
                <a:ext uri="{FF2B5EF4-FFF2-40B4-BE49-F238E27FC236}">
                  <a16:creationId xmlns:a16="http://schemas.microsoft.com/office/drawing/2014/main" id="{038720FD-BF98-4978-9E88-DAA04207FBB0}"/>
                </a:ext>
              </a:extLst>
            </p:cNvPr>
            <p:cNvSpPr/>
            <p:nvPr/>
          </p:nvSpPr>
          <p:spPr bwMode="auto">
            <a:xfrm>
              <a:off x="4608513" y="3629025"/>
              <a:ext cx="106363" cy="128588"/>
            </a:xfrm>
            <a:custGeom>
              <a:avLst/>
              <a:gdLst>
                <a:gd name="T0" fmla="*/ 11 w 40"/>
                <a:gd name="T1" fmla="*/ 0 h 49"/>
                <a:gd name="T2" fmla="*/ 0 w 40"/>
                <a:gd name="T3" fmla="*/ 33 h 49"/>
                <a:gd name="T4" fmla="*/ 29 w 40"/>
                <a:gd name="T5" fmla="*/ 46 h 49"/>
                <a:gd name="T6" fmla="*/ 40 w 40"/>
                <a:gd name="T7" fmla="*/ 11 h 49"/>
                <a:gd name="T8" fmla="*/ 11 w 40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9">
                  <a:moveTo>
                    <a:pt x="11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2" y="38"/>
                    <a:pt x="11" y="49"/>
                    <a:pt x="29" y="46"/>
                  </a:cubicBezTo>
                  <a:cubicBezTo>
                    <a:pt x="30" y="43"/>
                    <a:pt x="40" y="11"/>
                    <a:pt x="40" y="11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1" name="î$ľïḑé">
              <a:extLst>
                <a:ext uri="{FF2B5EF4-FFF2-40B4-BE49-F238E27FC236}">
                  <a16:creationId xmlns:a16="http://schemas.microsoft.com/office/drawing/2014/main" id="{0F3BB526-CD70-4049-BCC2-8934217E716A}"/>
                </a:ext>
              </a:extLst>
            </p:cNvPr>
            <p:cNvSpPr/>
            <p:nvPr/>
          </p:nvSpPr>
          <p:spPr bwMode="auto">
            <a:xfrm>
              <a:off x="4576763" y="3427413"/>
              <a:ext cx="220663" cy="249238"/>
            </a:xfrm>
            <a:custGeom>
              <a:avLst/>
              <a:gdLst>
                <a:gd name="T0" fmla="*/ 61 w 83"/>
                <a:gd name="T1" fmla="*/ 87 h 94"/>
                <a:gd name="T2" fmla="*/ 61 w 83"/>
                <a:gd name="T3" fmla="*/ 87 h 94"/>
                <a:gd name="T4" fmla="*/ 18 w 83"/>
                <a:gd name="T5" fmla="*/ 72 h 94"/>
                <a:gd name="T6" fmla="*/ 8 w 83"/>
                <a:gd name="T7" fmla="*/ 50 h 94"/>
                <a:gd name="T8" fmla="*/ 23 w 83"/>
                <a:gd name="T9" fmla="*/ 8 h 94"/>
                <a:gd name="T10" fmla="*/ 23 w 83"/>
                <a:gd name="T11" fmla="*/ 8 h 94"/>
                <a:gd name="T12" fmla="*/ 65 w 83"/>
                <a:gd name="T13" fmla="*/ 23 h 94"/>
                <a:gd name="T14" fmla="*/ 76 w 83"/>
                <a:gd name="T15" fmla="*/ 44 h 94"/>
                <a:gd name="T16" fmla="*/ 61 w 83"/>
                <a:gd name="T17" fmla="*/ 8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94">
                  <a:moveTo>
                    <a:pt x="61" y="87"/>
                  </a:moveTo>
                  <a:cubicBezTo>
                    <a:pt x="61" y="87"/>
                    <a:pt x="61" y="87"/>
                    <a:pt x="61" y="87"/>
                  </a:cubicBezTo>
                  <a:cubicBezTo>
                    <a:pt x="45" y="94"/>
                    <a:pt x="26" y="88"/>
                    <a:pt x="18" y="72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0" y="35"/>
                    <a:pt x="7" y="16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39" y="0"/>
                    <a:pt x="58" y="7"/>
                    <a:pt x="65" y="2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83" y="60"/>
                    <a:pt x="77" y="79"/>
                    <a:pt x="61" y="87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2" name="îṡľîdè">
              <a:extLst>
                <a:ext uri="{FF2B5EF4-FFF2-40B4-BE49-F238E27FC236}">
                  <a16:creationId xmlns:a16="http://schemas.microsoft.com/office/drawing/2014/main" id="{EB3320E2-93EE-4CF9-8CD4-A5711270CCE0}"/>
                </a:ext>
              </a:extLst>
            </p:cNvPr>
            <p:cNvSpPr/>
            <p:nvPr/>
          </p:nvSpPr>
          <p:spPr bwMode="auto">
            <a:xfrm>
              <a:off x="4573588" y="3665538"/>
              <a:ext cx="260350" cy="512763"/>
            </a:xfrm>
            <a:custGeom>
              <a:avLst/>
              <a:gdLst>
                <a:gd name="T0" fmla="*/ 0 w 164"/>
                <a:gd name="T1" fmla="*/ 0 h 323"/>
                <a:gd name="T2" fmla="*/ 112 w 164"/>
                <a:gd name="T3" fmla="*/ 72 h 323"/>
                <a:gd name="T4" fmla="*/ 164 w 164"/>
                <a:gd name="T5" fmla="*/ 302 h 323"/>
                <a:gd name="T6" fmla="*/ 10 w 164"/>
                <a:gd name="T7" fmla="*/ 323 h 323"/>
                <a:gd name="T8" fmla="*/ 0 w 164"/>
                <a:gd name="T9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323">
                  <a:moveTo>
                    <a:pt x="0" y="0"/>
                  </a:moveTo>
                  <a:lnTo>
                    <a:pt x="112" y="72"/>
                  </a:lnTo>
                  <a:lnTo>
                    <a:pt x="164" y="302"/>
                  </a:lnTo>
                  <a:lnTo>
                    <a:pt x="10" y="3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3" name="iṩlïḓe">
              <a:extLst>
                <a:ext uri="{FF2B5EF4-FFF2-40B4-BE49-F238E27FC236}">
                  <a16:creationId xmlns:a16="http://schemas.microsoft.com/office/drawing/2014/main" id="{D1405692-8EC7-4184-8E26-07A9812D8E77}"/>
                </a:ext>
              </a:extLst>
            </p:cNvPr>
            <p:cNvSpPr/>
            <p:nvPr/>
          </p:nvSpPr>
          <p:spPr bwMode="auto">
            <a:xfrm>
              <a:off x="4525963" y="3387725"/>
              <a:ext cx="223838" cy="246063"/>
            </a:xfrm>
            <a:custGeom>
              <a:avLst/>
              <a:gdLst>
                <a:gd name="T0" fmla="*/ 41 w 84"/>
                <a:gd name="T1" fmla="*/ 93 h 93"/>
                <a:gd name="T2" fmla="*/ 57 w 84"/>
                <a:gd name="T3" fmla="*/ 41 h 93"/>
                <a:gd name="T4" fmla="*/ 84 w 84"/>
                <a:gd name="T5" fmla="*/ 0 h 93"/>
                <a:gd name="T6" fmla="*/ 23 w 84"/>
                <a:gd name="T7" fmla="*/ 31 h 93"/>
                <a:gd name="T8" fmla="*/ 41 w 84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93">
                  <a:moveTo>
                    <a:pt x="41" y="93"/>
                  </a:moveTo>
                  <a:cubicBezTo>
                    <a:pt x="41" y="93"/>
                    <a:pt x="71" y="78"/>
                    <a:pt x="57" y="41"/>
                  </a:cubicBezTo>
                  <a:cubicBezTo>
                    <a:pt x="57" y="41"/>
                    <a:pt x="82" y="29"/>
                    <a:pt x="84" y="0"/>
                  </a:cubicBezTo>
                  <a:cubicBezTo>
                    <a:pt x="84" y="0"/>
                    <a:pt x="30" y="27"/>
                    <a:pt x="23" y="31"/>
                  </a:cubicBezTo>
                  <a:cubicBezTo>
                    <a:pt x="15" y="35"/>
                    <a:pt x="0" y="51"/>
                    <a:pt x="41" y="93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4" name="íšlïḍè">
              <a:extLst>
                <a:ext uri="{FF2B5EF4-FFF2-40B4-BE49-F238E27FC236}">
                  <a16:creationId xmlns:a16="http://schemas.microsoft.com/office/drawing/2014/main" id="{FD5DEC19-C240-4EE4-93E0-2F43FA57CF43}"/>
                </a:ext>
              </a:extLst>
            </p:cNvPr>
            <p:cNvSpPr/>
            <p:nvPr/>
          </p:nvSpPr>
          <p:spPr bwMode="auto">
            <a:xfrm>
              <a:off x="4635500" y="3538538"/>
              <a:ext cx="60325" cy="60325"/>
            </a:xfrm>
            <a:custGeom>
              <a:avLst/>
              <a:gdLst>
                <a:gd name="T0" fmla="*/ 2 w 23"/>
                <a:gd name="T1" fmla="*/ 16 h 23"/>
                <a:gd name="T2" fmla="*/ 7 w 23"/>
                <a:gd name="T3" fmla="*/ 2 h 23"/>
                <a:gd name="T4" fmla="*/ 21 w 23"/>
                <a:gd name="T5" fmla="*/ 7 h 23"/>
                <a:gd name="T6" fmla="*/ 16 w 23"/>
                <a:gd name="T7" fmla="*/ 21 h 23"/>
                <a:gd name="T8" fmla="*/ 2 w 23"/>
                <a:gd name="T9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16"/>
                  </a:moveTo>
                  <a:cubicBezTo>
                    <a:pt x="0" y="11"/>
                    <a:pt x="2" y="5"/>
                    <a:pt x="7" y="2"/>
                  </a:cubicBezTo>
                  <a:cubicBezTo>
                    <a:pt x="12" y="0"/>
                    <a:pt x="18" y="2"/>
                    <a:pt x="21" y="7"/>
                  </a:cubicBezTo>
                  <a:cubicBezTo>
                    <a:pt x="23" y="12"/>
                    <a:pt x="21" y="18"/>
                    <a:pt x="16" y="21"/>
                  </a:cubicBezTo>
                  <a:cubicBezTo>
                    <a:pt x="11" y="23"/>
                    <a:pt x="5" y="21"/>
                    <a:pt x="2" y="16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5" name="ïṡlîdè">
              <a:extLst>
                <a:ext uri="{FF2B5EF4-FFF2-40B4-BE49-F238E27FC236}">
                  <a16:creationId xmlns:a16="http://schemas.microsoft.com/office/drawing/2014/main" id="{B3DBD825-A213-439F-AA8E-6260F4A99884}"/>
                </a:ext>
              </a:extLst>
            </p:cNvPr>
            <p:cNvSpPr/>
            <p:nvPr/>
          </p:nvSpPr>
          <p:spPr bwMode="auto">
            <a:xfrm>
              <a:off x="4702175" y="3463925"/>
              <a:ext cx="373063" cy="368300"/>
            </a:xfrm>
            <a:custGeom>
              <a:avLst/>
              <a:gdLst>
                <a:gd name="T0" fmla="*/ 1 w 235"/>
                <a:gd name="T1" fmla="*/ 177 h 232"/>
                <a:gd name="T2" fmla="*/ 126 w 235"/>
                <a:gd name="T3" fmla="*/ 119 h 232"/>
                <a:gd name="T4" fmla="*/ 215 w 235"/>
                <a:gd name="T5" fmla="*/ 0 h 232"/>
                <a:gd name="T6" fmla="*/ 235 w 235"/>
                <a:gd name="T7" fmla="*/ 24 h 232"/>
                <a:gd name="T8" fmla="*/ 151 w 235"/>
                <a:gd name="T9" fmla="*/ 162 h 232"/>
                <a:gd name="T10" fmla="*/ 0 w 235"/>
                <a:gd name="T11" fmla="*/ 232 h 232"/>
                <a:gd name="T12" fmla="*/ 1 w 235"/>
                <a:gd name="T13" fmla="*/ 17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232">
                  <a:moveTo>
                    <a:pt x="1" y="177"/>
                  </a:moveTo>
                  <a:lnTo>
                    <a:pt x="126" y="119"/>
                  </a:lnTo>
                  <a:lnTo>
                    <a:pt x="215" y="0"/>
                  </a:lnTo>
                  <a:lnTo>
                    <a:pt x="235" y="24"/>
                  </a:lnTo>
                  <a:lnTo>
                    <a:pt x="151" y="162"/>
                  </a:lnTo>
                  <a:lnTo>
                    <a:pt x="0" y="232"/>
                  </a:lnTo>
                  <a:lnTo>
                    <a:pt x="1" y="177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6" name="iṩļïďê">
              <a:extLst>
                <a:ext uri="{FF2B5EF4-FFF2-40B4-BE49-F238E27FC236}">
                  <a16:creationId xmlns:a16="http://schemas.microsoft.com/office/drawing/2014/main" id="{4D1AF733-9436-493A-A239-B6C0D6AEF95D}"/>
                </a:ext>
              </a:extLst>
            </p:cNvPr>
            <p:cNvSpPr/>
            <p:nvPr/>
          </p:nvSpPr>
          <p:spPr bwMode="auto">
            <a:xfrm>
              <a:off x="4608513" y="3694113"/>
              <a:ext cx="217488" cy="173038"/>
            </a:xfrm>
            <a:custGeom>
              <a:avLst/>
              <a:gdLst>
                <a:gd name="T0" fmla="*/ 0 w 137"/>
                <a:gd name="T1" fmla="*/ 27 h 109"/>
                <a:gd name="T2" fmla="*/ 117 w 137"/>
                <a:gd name="T3" fmla="*/ 0 h 109"/>
                <a:gd name="T4" fmla="*/ 137 w 137"/>
                <a:gd name="T5" fmla="*/ 62 h 109"/>
                <a:gd name="T6" fmla="*/ 40 w 137"/>
                <a:gd name="T7" fmla="*/ 109 h 109"/>
                <a:gd name="T8" fmla="*/ 0 w 137"/>
                <a:gd name="T9" fmla="*/ 2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09">
                  <a:moveTo>
                    <a:pt x="0" y="27"/>
                  </a:moveTo>
                  <a:lnTo>
                    <a:pt x="117" y="0"/>
                  </a:lnTo>
                  <a:lnTo>
                    <a:pt x="137" y="62"/>
                  </a:lnTo>
                  <a:lnTo>
                    <a:pt x="40" y="109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C6D7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7" name="iŝļîḑé">
              <a:extLst>
                <a:ext uri="{FF2B5EF4-FFF2-40B4-BE49-F238E27FC236}">
                  <a16:creationId xmlns:a16="http://schemas.microsoft.com/office/drawing/2014/main" id="{60294188-9A3B-4515-9AD7-A1110F5FE85B}"/>
                </a:ext>
              </a:extLst>
            </p:cNvPr>
            <p:cNvSpPr/>
            <p:nvPr/>
          </p:nvSpPr>
          <p:spPr bwMode="auto">
            <a:xfrm>
              <a:off x="5043488" y="3406775"/>
              <a:ext cx="161925" cy="95250"/>
            </a:xfrm>
            <a:custGeom>
              <a:avLst/>
              <a:gdLst>
                <a:gd name="T0" fmla="*/ 0 w 61"/>
                <a:gd name="T1" fmla="*/ 22 h 36"/>
                <a:gd name="T2" fmla="*/ 36 w 61"/>
                <a:gd name="T3" fmla="*/ 4 h 36"/>
                <a:gd name="T4" fmla="*/ 53 w 61"/>
                <a:gd name="T5" fmla="*/ 22 h 36"/>
                <a:gd name="T6" fmla="*/ 12 w 61"/>
                <a:gd name="T7" fmla="*/ 36 h 36"/>
                <a:gd name="T8" fmla="*/ 0 w 61"/>
                <a:gd name="T9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6">
                  <a:moveTo>
                    <a:pt x="0" y="22"/>
                  </a:moveTo>
                  <a:cubicBezTo>
                    <a:pt x="13" y="5"/>
                    <a:pt x="21" y="0"/>
                    <a:pt x="36" y="4"/>
                  </a:cubicBezTo>
                  <a:cubicBezTo>
                    <a:pt x="52" y="9"/>
                    <a:pt x="61" y="8"/>
                    <a:pt x="53" y="22"/>
                  </a:cubicBezTo>
                  <a:cubicBezTo>
                    <a:pt x="45" y="36"/>
                    <a:pt x="34" y="36"/>
                    <a:pt x="12" y="36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8" name="íṥļîďé">
              <a:extLst>
                <a:ext uri="{FF2B5EF4-FFF2-40B4-BE49-F238E27FC236}">
                  <a16:creationId xmlns:a16="http://schemas.microsoft.com/office/drawing/2014/main" id="{01068F34-70CA-4D2C-BF8D-7A386D2BFF8E}"/>
                </a:ext>
              </a:extLst>
            </p:cNvPr>
            <p:cNvSpPr/>
            <p:nvPr/>
          </p:nvSpPr>
          <p:spPr bwMode="auto">
            <a:xfrm>
              <a:off x="4516438" y="3382963"/>
              <a:ext cx="163513" cy="187325"/>
            </a:xfrm>
            <a:custGeom>
              <a:avLst/>
              <a:gdLst>
                <a:gd name="T0" fmla="*/ 20 w 62"/>
                <a:gd name="T1" fmla="*/ 71 h 71"/>
                <a:gd name="T2" fmla="*/ 12 w 62"/>
                <a:gd name="T3" fmla="*/ 22 h 71"/>
                <a:gd name="T4" fmla="*/ 62 w 62"/>
                <a:gd name="T5" fmla="*/ 7 h 71"/>
                <a:gd name="T6" fmla="*/ 20 w 62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71">
                  <a:moveTo>
                    <a:pt x="20" y="71"/>
                  </a:moveTo>
                  <a:cubicBezTo>
                    <a:pt x="6" y="62"/>
                    <a:pt x="0" y="42"/>
                    <a:pt x="12" y="22"/>
                  </a:cubicBezTo>
                  <a:cubicBezTo>
                    <a:pt x="24" y="2"/>
                    <a:pt x="46" y="0"/>
                    <a:pt x="62" y="7"/>
                  </a:cubicBezTo>
                  <a:lnTo>
                    <a:pt x="20" y="71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9" name="ïṩľïďe">
              <a:extLst>
                <a:ext uri="{FF2B5EF4-FFF2-40B4-BE49-F238E27FC236}">
                  <a16:creationId xmlns:a16="http://schemas.microsoft.com/office/drawing/2014/main" id="{79303CD2-31B1-474D-AAAE-867C4D93F2A7}"/>
                </a:ext>
              </a:extLst>
            </p:cNvPr>
            <p:cNvSpPr/>
            <p:nvPr/>
          </p:nvSpPr>
          <p:spPr bwMode="auto">
            <a:xfrm>
              <a:off x="4564063" y="3367088"/>
              <a:ext cx="153988" cy="219075"/>
            </a:xfrm>
            <a:custGeom>
              <a:avLst/>
              <a:gdLst>
                <a:gd name="T0" fmla="*/ 10 w 97"/>
                <a:gd name="T1" fmla="*/ 138 h 138"/>
                <a:gd name="T2" fmla="*/ 97 w 97"/>
                <a:gd name="T3" fmla="*/ 8 h 138"/>
                <a:gd name="T4" fmla="*/ 87 w 97"/>
                <a:gd name="T5" fmla="*/ 0 h 138"/>
                <a:gd name="T6" fmla="*/ 0 w 97"/>
                <a:gd name="T7" fmla="*/ 130 h 138"/>
                <a:gd name="T8" fmla="*/ 10 w 97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38">
                  <a:moveTo>
                    <a:pt x="10" y="138"/>
                  </a:moveTo>
                  <a:lnTo>
                    <a:pt x="97" y="8"/>
                  </a:lnTo>
                  <a:lnTo>
                    <a:pt x="87" y="0"/>
                  </a:lnTo>
                  <a:lnTo>
                    <a:pt x="0" y="130"/>
                  </a:lnTo>
                  <a:lnTo>
                    <a:pt x="10" y="13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0" name="iṧḻiďe">
              <a:extLst>
                <a:ext uri="{FF2B5EF4-FFF2-40B4-BE49-F238E27FC236}">
                  <a16:creationId xmlns:a16="http://schemas.microsoft.com/office/drawing/2014/main" id="{0BF96DE0-E336-464A-BD47-3B3E18AC5C33}"/>
                </a:ext>
              </a:extLst>
            </p:cNvPr>
            <p:cNvSpPr/>
            <p:nvPr/>
          </p:nvSpPr>
          <p:spPr bwMode="auto">
            <a:xfrm>
              <a:off x="6521450" y="2736850"/>
              <a:ext cx="177800" cy="762000"/>
            </a:xfrm>
            <a:custGeom>
              <a:avLst/>
              <a:gdLst>
                <a:gd name="T0" fmla="*/ 112 w 112"/>
                <a:gd name="T1" fmla="*/ 0 h 480"/>
                <a:gd name="T2" fmla="*/ 88 w 112"/>
                <a:gd name="T3" fmla="*/ 235 h 480"/>
                <a:gd name="T4" fmla="*/ 95 w 112"/>
                <a:gd name="T5" fmla="*/ 480 h 480"/>
                <a:gd name="T6" fmla="*/ 58 w 112"/>
                <a:gd name="T7" fmla="*/ 480 h 480"/>
                <a:gd name="T8" fmla="*/ 6 w 112"/>
                <a:gd name="T9" fmla="*/ 237 h 480"/>
                <a:gd name="T10" fmla="*/ 0 w 112"/>
                <a:gd name="T11" fmla="*/ 0 h 480"/>
                <a:gd name="T12" fmla="*/ 112 w 11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0">
                  <a:moveTo>
                    <a:pt x="112" y="0"/>
                  </a:moveTo>
                  <a:lnTo>
                    <a:pt x="88" y="235"/>
                  </a:lnTo>
                  <a:lnTo>
                    <a:pt x="95" y="480"/>
                  </a:lnTo>
                  <a:lnTo>
                    <a:pt x="58" y="480"/>
                  </a:lnTo>
                  <a:lnTo>
                    <a:pt x="6" y="237"/>
                  </a:lnTo>
                  <a:lnTo>
                    <a:pt x="0" y="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0F3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1" name="íSliḍé">
              <a:extLst>
                <a:ext uri="{FF2B5EF4-FFF2-40B4-BE49-F238E27FC236}">
                  <a16:creationId xmlns:a16="http://schemas.microsoft.com/office/drawing/2014/main" id="{2025F94A-81A3-4B03-AA40-7F94D6565487}"/>
                </a:ext>
              </a:extLst>
            </p:cNvPr>
            <p:cNvSpPr/>
            <p:nvPr/>
          </p:nvSpPr>
          <p:spPr bwMode="auto">
            <a:xfrm>
              <a:off x="6380163" y="2736850"/>
              <a:ext cx="304800" cy="762000"/>
            </a:xfrm>
            <a:custGeom>
              <a:avLst/>
              <a:gdLst>
                <a:gd name="T0" fmla="*/ 64 w 192"/>
                <a:gd name="T1" fmla="*/ 0 h 480"/>
                <a:gd name="T2" fmla="*/ 0 w 192"/>
                <a:gd name="T3" fmla="*/ 220 h 480"/>
                <a:gd name="T4" fmla="*/ 74 w 192"/>
                <a:gd name="T5" fmla="*/ 480 h 480"/>
                <a:gd name="T6" fmla="*/ 110 w 192"/>
                <a:gd name="T7" fmla="*/ 480 h 480"/>
                <a:gd name="T8" fmla="*/ 82 w 192"/>
                <a:gd name="T9" fmla="*/ 230 h 480"/>
                <a:gd name="T10" fmla="*/ 192 w 192"/>
                <a:gd name="T11" fmla="*/ 0 h 480"/>
                <a:gd name="T12" fmla="*/ 64 w 192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80">
                  <a:moveTo>
                    <a:pt x="64" y="0"/>
                  </a:moveTo>
                  <a:lnTo>
                    <a:pt x="0" y="220"/>
                  </a:lnTo>
                  <a:lnTo>
                    <a:pt x="74" y="480"/>
                  </a:lnTo>
                  <a:lnTo>
                    <a:pt x="110" y="480"/>
                  </a:lnTo>
                  <a:lnTo>
                    <a:pt x="82" y="230"/>
                  </a:lnTo>
                  <a:lnTo>
                    <a:pt x="192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86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2" name="ïsļíḓe">
              <a:extLst>
                <a:ext uri="{FF2B5EF4-FFF2-40B4-BE49-F238E27FC236}">
                  <a16:creationId xmlns:a16="http://schemas.microsoft.com/office/drawing/2014/main" id="{92A834E0-DC1D-4074-A349-9CC66F9FFB2B}"/>
                </a:ext>
              </a:extLst>
            </p:cNvPr>
            <p:cNvSpPr/>
            <p:nvPr/>
          </p:nvSpPr>
          <p:spPr bwMode="auto">
            <a:xfrm>
              <a:off x="6348413" y="3498850"/>
              <a:ext cx="217488" cy="66675"/>
            </a:xfrm>
            <a:custGeom>
              <a:avLst/>
              <a:gdLst>
                <a:gd name="T0" fmla="*/ 78 w 82"/>
                <a:gd name="T1" fmla="*/ 0 h 25"/>
                <a:gd name="T2" fmla="*/ 82 w 82"/>
                <a:gd name="T3" fmla="*/ 25 h 25"/>
                <a:gd name="T4" fmla="*/ 3 w 82"/>
                <a:gd name="T5" fmla="*/ 25 h 25"/>
                <a:gd name="T6" fmla="*/ 0 w 82"/>
                <a:gd name="T7" fmla="*/ 18 h 25"/>
                <a:gd name="T8" fmla="*/ 53 w 82"/>
                <a:gd name="T9" fmla="*/ 4 h 25"/>
                <a:gd name="T10" fmla="*/ 56 w 82"/>
                <a:gd name="T11" fmla="*/ 0 h 25"/>
                <a:gd name="T12" fmla="*/ 78 w 82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5">
                  <a:moveTo>
                    <a:pt x="78" y="0"/>
                  </a:moveTo>
                  <a:cubicBezTo>
                    <a:pt x="82" y="25"/>
                    <a:pt x="82" y="25"/>
                    <a:pt x="8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3" y="4"/>
                    <a:pt x="53" y="4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78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3" name="íṧľîḑê">
              <a:extLst>
                <a:ext uri="{FF2B5EF4-FFF2-40B4-BE49-F238E27FC236}">
                  <a16:creationId xmlns:a16="http://schemas.microsoft.com/office/drawing/2014/main" id="{C2F7DC94-4B0E-4B3F-BC4F-B6D02D27B734}"/>
                </a:ext>
              </a:extLst>
            </p:cNvPr>
            <p:cNvSpPr/>
            <p:nvPr/>
          </p:nvSpPr>
          <p:spPr bwMode="auto">
            <a:xfrm>
              <a:off x="6462713" y="3498850"/>
              <a:ext cx="220663" cy="66675"/>
            </a:xfrm>
            <a:custGeom>
              <a:avLst/>
              <a:gdLst>
                <a:gd name="T0" fmla="*/ 79 w 83"/>
                <a:gd name="T1" fmla="*/ 0 h 25"/>
                <a:gd name="T2" fmla="*/ 83 w 83"/>
                <a:gd name="T3" fmla="*/ 25 h 25"/>
                <a:gd name="T4" fmla="*/ 4 w 83"/>
                <a:gd name="T5" fmla="*/ 25 h 25"/>
                <a:gd name="T6" fmla="*/ 0 w 83"/>
                <a:gd name="T7" fmla="*/ 18 h 25"/>
                <a:gd name="T8" fmla="*/ 54 w 83"/>
                <a:gd name="T9" fmla="*/ 4 h 25"/>
                <a:gd name="T10" fmla="*/ 57 w 83"/>
                <a:gd name="T11" fmla="*/ 0 h 25"/>
                <a:gd name="T12" fmla="*/ 79 w 83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5">
                  <a:moveTo>
                    <a:pt x="79" y="0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54" y="4"/>
                    <a:pt x="54" y="4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rgbClr val="111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4" name="îṩļîďé">
              <a:extLst>
                <a:ext uri="{FF2B5EF4-FFF2-40B4-BE49-F238E27FC236}">
                  <a16:creationId xmlns:a16="http://schemas.microsoft.com/office/drawing/2014/main" id="{725A7303-13D1-4BEB-ADCB-54F3A58AB583}"/>
                </a:ext>
              </a:extLst>
            </p:cNvPr>
            <p:cNvSpPr/>
            <p:nvPr/>
          </p:nvSpPr>
          <p:spPr bwMode="auto">
            <a:xfrm>
              <a:off x="6227763" y="2343150"/>
              <a:ext cx="447675" cy="249238"/>
            </a:xfrm>
            <a:custGeom>
              <a:avLst/>
              <a:gdLst>
                <a:gd name="T0" fmla="*/ 218 w 282"/>
                <a:gd name="T1" fmla="*/ 0 h 157"/>
                <a:gd name="T2" fmla="*/ 136 w 282"/>
                <a:gd name="T3" fmla="*/ 95 h 157"/>
                <a:gd name="T4" fmla="*/ 21 w 282"/>
                <a:gd name="T5" fmla="*/ 53 h 157"/>
                <a:gd name="T6" fmla="*/ 0 w 282"/>
                <a:gd name="T7" fmla="*/ 73 h 157"/>
                <a:gd name="T8" fmla="*/ 143 w 282"/>
                <a:gd name="T9" fmla="*/ 157 h 157"/>
                <a:gd name="T10" fmla="*/ 282 w 282"/>
                <a:gd name="T11" fmla="*/ 17 h 157"/>
                <a:gd name="T12" fmla="*/ 218 w 282"/>
                <a:gd name="T1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" h="157">
                  <a:moveTo>
                    <a:pt x="218" y="0"/>
                  </a:moveTo>
                  <a:lnTo>
                    <a:pt x="136" y="95"/>
                  </a:lnTo>
                  <a:lnTo>
                    <a:pt x="21" y="53"/>
                  </a:lnTo>
                  <a:lnTo>
                    <a:pt x="0" y="73"/>
                  </a:lnTo>
                  <a:lnTo>
                    <a:pt x="143" y="157"/>
                  </a:lnTo>
                  <a:lnTo>
                    <a:pt x="282" y="17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5" name="ïśľíďe">
              <a:extLst>
                <a:ext uri="{FF2B5EF4-FFF2-40B4-BE49-F238E27FC236}">
                  <a16:creationId xmlns:a16="http://schemas.microsoft.com/office/drawing/2014/main" id="{DC841D5A-7AAB-4D71-88AA-2183A79C60E0}"/>
                </a:ext>
              </a:extLst>
            </p:cNvPr>
            <p:cNvSpPr/>
            <p:nvPr/>
          </p:nvSpPr>
          <p:spPr bwMode="auto">
            <a:xfrm>
              <a:off x="6145213" y="2335213"/>
              <a:ext cx="115888" cy="123825"/>
            </a:xfrm>
            <a:custGeom>
              <a:avLst/>
              <a:gdLst>
                <a:gd name="T0" fmla="*/ 31 w 44"/>
                <a:gd name="T1" fmla="*/ 47 h 47"/>
                <a:gd name="T2" fmla="*/ 9 w 44"/>
                <a:gd name="T3" fmla="*/ 30 h 47"/>
                <a:gd name="T4" fmla="*/ 1 w 44"/>
                <a:gd name="T5" fmla="*/ 15 h 47"/>
                <a:gd name="T6" fmla="*/ 14 w 44"/>
                <a:gd name="T7" fmla="*/ 3 h 47"/>
                <a:gd name="T8" fmla="*/ 27 w 44"/>
                <a:gd name="T9" fmla="*/ 19 h 47"/>
                <a:gd name="T10" fmla="*/ 26 w 44"/>
                <a:gd name="T11" fmla="*/ 6 h 47"/>
                <a:gd name="T12" fmla="*/ 32 w 44"/>
                <a:gd name="T13" fmla="*/ 10 h 47"/>
                <a:gd name="T14" fmla="*/ 44 w 44"/>
                <a:gd name="T15" fmla="*/ 35 h 47"/>
                <a:gd name="T16" fmla="*/ 31 w 44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7">
                  <a:moveTo>
                    <a:pt x="31" y="47"/>
                  </a:moveTo>
                  <a:cubicBezTo>
                    <a:pt x="24" y="42"/>
                    <a:pt x="9" y="30"/>
                    <a:pt x="9" y="30"/>
                  </a:cubicBezTo>
                  <a:cubicBezTo>
                    <a:pt x="9" y="30"/>
                    <a:pt x="0" y="21"/>
                    <a:pt x="1" y="15"/>
                  </a:cubicBezTo>
                  <a:cubicBezTo>
                    <a:pt x="1" y="9"/>
                    <a:pt x="12" y="0"/>
                    <a:pt x="14" y="3"/>
                  </a:cubicBezTo>
                  <a:cubicBezTo>
                    <a:pt x="16" y="4"/>
                    <a:pt x="27" y="19"/>
                    <a:pt x="27" y="19"/>
                  </a:cubicBezTo>
                  <a:cubicBezTo>
                    <a:pt x="27" y="19"/>
                    <a:pt x="24" y="7"/>
                    <a:pt x="26" y="6"/>
                  </a:cubicBezTo>
                  <a:cubicBezTo>
                    <a:pt x="29" y="5"/>
                    <a:pt x="30" y="9"/>
                    <a:pt x="32" y="10"/>
                  </a:cubicBezTo>
                  <a:cubicBezTo>
                    <a:pt x="33" y="12"/>
                    <a:pt x="44" y="35"/>
                    <a:pt x="44" y="35"/>
                  </a:cubicBezTo>
                  <a:lnTo>
                    <a:pt x="31" y="47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6" name="ïšḷíḍé">
              <a:extLst>
                <a:ext uri="{FF2B5EF4-FFF2-40B4-BE49-F238E27FC236}">
                  <a16:creationId xmlns:a16="http://schemas.microsoft.com/office/drawing/2014/main" id="{B9465CE5-63B0-44B5-9B85-3C4278845855}"/>
                </a:ext>
              </a:extLst>
            </p:cNvPr>
            <p:cNvSpPr/>
            <p:nvPr/>
          </p:nvSpPr>
          <p:spPr bwMode="auto">
            <a:xfrm>
              <a:off x="6565900" y="2171700"/>
              <a:ext cx="106363" cy="142875"/>
            </a:xfrm>
            <a:custGeom>
              <a:avLst/>
              <a:gdLst>
                <a:gd name="T0" fmla="*/ 25 w 40"/>
                <a:gd name="T1" fmla="*/ 0 h 54"/>
                <a:gd name="T2" fmla="*/ 40 w 40"/>
                <a:gd name="T3" fmla="*/ 39 h 54"/>
                <a:gd name="T4" fmla="*/ 12 w 40"/>
                <a:gd name="T5" fmla="*/ 51 h 54"/>
                <a:gd name="T6" fmla="*/ 0 w 40"/>
                <a:gd name="T7" fmla="*/ 20 h 54"/>
                <a:gd name="T8" fmla="*/ 25 w 40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4">
                  <a:moveTo>
                    <a:pt x="25" y="0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37" y="44"/>
                    <a:pt x="31" y="54"/>
                    <a:pt x="12" y="51"/>
                  </a:cubicBezTo>
                  <a:cubicBezTo>
                    <a:pt x="11" y="48"/>
                    <a:pt x="0" y="20"/>
                    <a:pt x="0" y="2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E98E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7" name="í$1ïḑé">
              <a:extLst>
                <a:ext uri="{FF2B5EF4-FFF2-40B4-BE49-F238E27FC236}">
                  <a16:creationId xmlns:a16="http://schemas.microsoft.com/office/drawing/2014/main" id="{DD157050-D0E0-4C40-854F-2890506ED189}"/>
                </a:ext>
              </a:extLst>
            </p:cNvPr>
            <p:cNvSpPr/>
            <p:nvPr/>
          </p:nvSpPr>
          <p:spPr bwMode="auto">
            <a:xfrm>
              <a:off x="6486525" y="1993900"/>
              <a:ext cx="193675" cy="250825"/>
            </a:xfrm>
            <a:custGeom>
              <a:avLst/>
              <a:gdLst>
                <a:gd name="T0" fmla="*/ 32 w 73"/>
                <a:gd name="T1" fmla="*/ 93 h 95"/>
                <a:gd name="T2" fmla="*/ 32 w 73"/>
                <a:gd name="T3" fmla="*/ 93 h 95"/>
                <a:gd name="T4" fmla="*/ 68 w 73"/>
                <a:gd name="T5" fmla="*/ 64 h 95"/>
                <a:gd name="T6" fmla="*/ 71 w 73"/>
                <a:gd name="T7" fmla="*/ 39 h 95"/>
                <a:gd name="T8" fmla="*/ 41 w 73"/>
                <a:gd name="T9" fmla="*/ 2 h 95"/>
                <a:gd name="T10" fmla="*/ 41 w 73"/>
                <a:gd name="T11" fmla="*/ 2 h 95"/>
                <a:gd name="T12" fmla="*/ 5 w 73"/>
                <a:gd name="T13" fmla="*/ 32 h 95"/>
                <a:gd name="T14" fmla="*/ 2 w 73"/>
                <a:gd name="T15" fmla="*/ 57 h 95"/>
                <a:gd name="T16" fmla="*/ 32 w 73"/>
                <a:gd name="T17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95">
                  <a:moveTo>
                    <a:pt x="32" y="93"/>
                  </a:moveTo>
                  <a:cubicBezTo>
                    <a:pt x="32" y="93"/>
                    <a:pt x="32" y="93"/>
                    <a:pt x="32" y="93"/>
                  </a:cubicBezTo>
                  <a:cubicBezTo>
                    <a:pt x="50" y="95"/>
                    <a:pt x="67" y="82"/>
                    <a:pt x="68" y="64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3" y="20"/>
                    <a:pt x="60" y="4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23" y="0"/>
                    <a:pt x="7" y="13"/>
                    <a:pt x="5" y="32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0" y="75"/>
                    <a:pt x="14" y="91"/>
                    <a:pt x="32" y="9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8" name="iṡḷíḍe">
              <a:extLst>
                <a:ext uri="{FF2B5EF4-FFF2-40B4-BE49-F238E27FC236}">
                  <a16:creationId xmlns:a16="http://schemas.microsoft.com/office/drawing/2014/main" id="{AD2A1C9C-9659-43C6-AD81-C64714E75514}"/>
                </a:ext>
              </a:extLst>
            </p:cNvPr>
            <p:cNvSpPr/>
            <p:nvPr/>
          </p:nvSpPr>
          <p:spPr bwMode="auto">
            <a:xfrm>
              <a:off x="6459538" y="2252663"/>
              <a:ext cx="257175" cy="498475"/>
            </a:xfrm>
            <a:custGeom>
              <a:avLst/>
              <a:gdLst>
                <a:gd name="T0" fmla="*/ 156 w 162"/>
                <a:gd name="T1" fmla="*/ 0 h 314"/>
                <a:gd name="T2" fmla="*/ 40 w 162"/>
                <a:gd name="T3" fmla="*/ 59 h 314"/>
                <a:gd name="T4" fmla="*/ 0 w 162"/>
                <a:gd name="T5" fmla="*/ 314 h 314"/>
                <a:gd name="T6" fmla="*/ 162 w 162"/>
                <a:gd name="T7" fmla="*/ 314 h 314"/>
                <a:gd name="T8" fmla="*/ 142 w 162"/>
                <a:gd name="T9" fmla="*/ 199 h 314"/>
                <a:gd name="T10" fmla="*/ 156 w 162"/>
                <a:gd name="T1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314">
                  <a:moveTo>
                    <a:pt x="156" y="0"/>
                  </a:moveTo>
                  <a:lnTo>
                    <a:pt x="40" y="59"/>
                  </a:lnTo>
                  <a:lnTo>
                    <a:pt x="0" y="314"/>
                  </a:lnTo>
                  <a:lnTo>
                    <a:pt x="162" y="314"/>
                  </a:lnTo>
                  <a:lnTo>
                    <a:pt x="142" y="199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D9E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9" name="îṩliḍè">
              <a:extLst>
                <a:ext uri="{FF2B5EF4-FFF2-40B4-BE49-F238E27FC236}">
                  <a16:creationId xmlns:a16="http://schemas.microsoft.com/office/drawing/2014/main" id="{6120AEE9-96EC-4341-85F1-14CD980114AC}"/>
                </a:ext>
              </a:extLst>
            </p:cNvPr>
            <p:cNvSpPr/>
            <p:nvPr/>
          </p:nvSpPr>
          <p:spPr bwMode="auto">
            <a:xfrm>
              <a:off x="6619875" y="2284413"/>
              <a:ext cx="211138" cy="452438"/>
            </a:xfrm>
            <a:custGeom>
              <a:avLst/>
              <a:gdLst>
                <a:gd name="T0" fmla="*/ 6 w 133"/>
                <a:gd name="T1" fmla="*/ 55 h 285"/>
                <a:gd name="T2" fmla="*/ 73 w 133"/>
                <a:gd name="T3" fmla="*/ 162 h 285"/>
                <a:gd name="T4" fmla="*/ 0 w 133"/>
                <a:gd name="T5" fmla="*/ 259 h 285"/>
                <a:gd name="T6" fmla="*/ 11 w 133"/>
                <a:gd name="T7" fmla="*/ 285 h 285"/>
                <a:gd name="T8" fmla="*/ 133 w 133"/>
                <a:gd name="T9" fmla="*/ 175 h 285"/>
                <a:gd name="T10" fmla="*/ 41 w 133"/>
                <a:gd name="T11" fmla="*/ 0 h 285"/>
                <a:gd name="T12" fmla="*/ 6 w 133"/>
                <a:gd name="T13" fmla="*/ 5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285">
                  <a:moveTo>
                    <a:pt x="6" y="55"/>
                  </a:moveTo>
                  <a:lnTo>
                    <a:pt x="73" y="162"/>
                  </a:lnTo>
                  <a:lnTo>
                    <a:pt x="0" y="259"/>
                  </a:lnTo>
                  <a:lnTo>
                    <a:pt x="11" y="285"/>
                  </a:lnTo>
                  <a:lnTo>
                    <a:pt x="133" y="175"/>
                  </a:lnTo>
                  <a:lnTo>
                    <a:pt x="41" y="0"/>
                  </a:lnTo>
                  <a:lnTo>
                    <a:pt x="6" y="55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0" name="îṣlîḋe">
              <a:extLst>
                <a:ext uri="{FF2B5EF4-FFF2-40B4-BE49-F238E27FC236}">
                  <a16:creationId xmlns:a16="http://schemas.microsoft.com/office/drawing/2014/main" id="{0FADB29D-6ECC-4FE1-9257-AF0BEB40425C}"/>
                </a:ext>
              </a:extLst>
            </p:cNvPr>
            <p:cNvSpPr/>
            <p:nvPr/>
          </p:nvSpPr>
          <p:spPr bwMode="auto">
            <a:xfrm>
              <a:off x="6502400" y="2695575"/>
              <a:ext cx="134938" cy="100013"/>
            </a:xfrm>
            <a:custGeom>
              <a:avLst/>
              <a:gdLst>
                <a:gd name="T0" fmla="*/ 51 w 51"/>
                <a:gd name="T1" fmla="*/ 16 h 38"/>
                <a:gd name="T2" fmla="*/ 28 w 51"/>
                <a:gd name="T3" fmla="*/ 33 h 38"/>
                <a:gd name="T4" fmla="*/ 12 w 51"/>
                <a:gd name="T5" fmla="*/ 36 h 38"/>
                <a:gd name="T6" fmla="*/ 4 w 51"/>
                <a:gd name="T7" fmla="*/ 19 h 38"/>
                <a:gd name="T8" fmla="*/ 23 w 51"/>
                <a:gd name="T9" fmla="*/ 12 h 38"/>
                <a:gd name="T10" fmla="*/ 10 w 51"/>
                <a:gd name="T11" fmla="*/ 9 h 38"/>
                <a:gd name="T12" fmla="*/ 16 w 51"/>
                <a:gd name="T13" fmla="*/ 5 h 38"/>
                <a:gd name="T14" fmla="*/ 44 w 51"/>
                <a:gd name="T15" fmla="*/ 0 h 38"/>
                <a:gd name="T16" fmla="*/ 51 w 51"/>
                <a:gd name="T17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8">
                  <a:moveTo>
                    <a:pt x="51" y="16"/>
                  </a:moveTo>
                  <a:cubicBezTo>
                    <a:pt x="44" y="21"/>
                    <a:pt x="28" y="33"/>
                    <a:pt x="28" y="33"/>
                  </a:cubicBezTo>
                  <a:cubicBezTo>
                    <a:pt x="28" y="33"/>
                    <a:pt x="17" y="38"/>
                    <a:pt x="12" y="36"/>
                  </a:cubicBezTo>
                  <a:cubicBezTo>
                    <a:pt x="6" y="33"/>
                    <a:pt x="0" y="21"/>
                    <a:pt x="4" y="19"/>
                  </a:cubicBezTo>
                  <a:cubicBezTo>
                    <a:pt x="6" y="18"/>
                    <a:pt x="23" y="12"/>
                    <a:pt x="23" y="12"/>
                  </a:cubicBezTo>
                  <a:cubicBezTo>
                    <a:pt x="23" y="12"/>
                    <a:pt x="11" y="11"/>
                    <a:pt x="10" y="9"/>
                  </a:cubicBezTo>
                  <a:cubicBezTo>
                    <a:pt x="10" y="6"/>
                    <a:pt x="14" y="5"/>
                    <a:pt x="16" y="5"/>
                  </a:cubicBezTo>
                  <a:cubicBezTo>
                    <a:pt x="19" y="4"/>
                    <a:pt x="44" y="0"/>
                    <a:pt x="44" y="0"/>
                  </a:cubicBezTo>
                  <a:lnTo>
                    <a:pt x="51" y="16"/>
                  </a:ln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1" name="iṩlíḑê">
              <a:extLst>
                <a:ext uri="{FF2B5EF4-FFF2-40B4-BE49-F238E27FC236}">
                  <a16:creationId xmlns:a16="http://schemas.microsoft.com/office/drawing/2014/main" id="{C6BDA9BF-E646-4E97-BA57-D31A662E89BC}"/>
                </a:ext>
              </a:extLst>
            </p:cNvPr>
            <p:cNvSpPr/>
            <p:nvPr/>
          </p:nvSpPr>
          <p:spPr bwMode="auto">
            <a:xfrm>
              <a:off x="6478588" y="1954213"/>
              <a:ext cx="254000" cy="227013"/>
            </a:xfrm>
            <a:custGeom>
              <a:avLst/>
              <a:gdLst>
                <a:gd name="T0" fmla="*/ 70 w 96"/>
                <a:gd name="T1" fmla="*/ 86 h 86"/>
                <a:gd name="T2" fmla="*/ 36 w 96"/>
                <a:gd name="T3" fmla="*/ 40 h 86"/>
                <a:gd name="T4" fmla="*/ 26 w 96"/>
                <a:gd name="T5" fmla="*/ 55 h 86"/>
                <a:gd name="T6" fmla="*/ 0 w 96"/>
                <a:gd name="T7" fmla="*/ 52 h 86"/>
                <a:gd name="T8" fmla="*/ 58 w 96"/>
                <a:gd name="T9" fmla="*/ 17 h 86"/>
                <a:gd name="T10" fmla="*/ 70 w 96"/>
                <a:gd name="T1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86">
                  <a:moveTo>
                    <a:pt x="70" y="86"/>
                  </a:moveTo>
                  <a:cubicBezTo>
                    <a:pt x="70" y="86"/>
                    <a:pt x="36" y="82"/>
                    <a:pt x="36" y="40"/>
                  </a:cubicBezTo>
                  <a:cubicBezTo>
                    <a:pt x="36" y="40"/>
                    <a:pt x="34" y="50"/>
                    <a:pt x="26" y="55"/>
                  </a:cubicBezTo>
                  <a:cubicBezTo>
                    <a:pt x="19" y="59"/>
                    <a:pt x="5" y="58"/>
                    <a:pt x="0" y="52"/>
                  </a:cubicBezTo>
                  <a:cubicBezTo>
                    <a:pt x="0" y="52"/>
                    <a:pt x="7" y="0"/>
                    <a:pt x="58" y="17"/>
                  </a:cubicBezTo>
                  <a:cubicBezTo>
                    <a:pt x="66" y="20"/>
                    <a:pt x="96" y="30"/>
                    <a:pt x="70" y="86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2" name="işľïdè">
              <a:extLst>
                <a:ext uri="{FF2B5EF4-FFF2-40B4-BE49-F238E27FC236}">
                  <a16:creationId xmlns:a16="http://schemas.microsoft.com/office/drawing/2014/main" id="{BF557A67-4957-4026-BF4C-4DC4656D56A4}"/>
                </a:ext>
              </a:extLst>
            </p:cNvPr>
            <p:cNvSpPr/>
            <p:nvPr/>
          </p:nvSpPr>
          <p:spPr bwMode="auto">
            <a:xfrm>
              <a:off x="6581775" y="2097088"/>
              <a:ext cx="61913" cy="60325"/>
            </a:xfrm>
            <a:custGeom>
              <a:avLst/>
              <a:gdLst>
                <a:gd name="T0" fmla="*/ 22 w 23"/>
                <a:gd name="T1" fmla="*/ 13 h 23"/>
                <a:gd name="T2" fmla="*/ 12 w 23"/>
                <a:gd name="T3" fmla="*/ 1 h 23"/>
                <a:gd name="T4" fmla="*/ 0 w 23"/>
                <a:gd name="T5" fmla="*/ 11 h 23"/>
                <a:gd name="T6" fmla="*/ 10 w 23"/>
                <a:gd name="T7" fmla="*/ 23 h 23"/>
                <a:gd name="T8" fmla="*/ 22 w 23"/>
                <a:gd name="T9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2" y="13"/>
                  </a:moveTo>
                  <a:cubicBezTo>
                    <a:pt x="23" y="7"/>
                    <a:pt x="18" y="2"/>
                    <a:pt x="12" y="1"/>
                  </a:cubicBezTo>
                  <a:cubicBezTo>
                    <a:pt x="7" y="0"/>
                    <a:pt x="1" y="5"/>
                    <a:pt x="0" y="11"/>
                  </a:cubicBezTo>
                  <a:cubicBezTo>
                    <a:pt x="0" y="16"/>
                    <a:pt x="4" y="22"/>
                    <a:pt x="10" y="23"/>
                  </a:cubicBezTo>
                  <a:cubicBezTo>
                    <a:pt x="16" y="23"/>
                    <a:pt x="21" y="19"/>
                    <a:pt x="22" y="13"/>
                  </a:cubicBezTo>
                  <a:close/>
                </a:path>
              </a:pathLst>
            </a:custGeom>
            <a:solidFill>
              <a:srgbClr val="F0B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3" name="îṧḻïḑé">
              <a:extLst>
                <a:ext uri="{FF2B5EF4-FFF2-40B4-BE49-F238E27FC236}">
                  <a16:creationId xmlns:a16="http://schemas.microsoft.com/office/drawing/2014/main" id="{41B93126-DA0A-4EA6-AD76-A503CEE96C15}"/>
                </a:ext>
              </a:extLst>
            </p:cNvPr>
            <p:cNvSpPr/>
            <p:nvPr/>
          </p:nvSpPr>
          <p:spPr bwMode="auto">
            <a:xfrm>
              <a:off x="6648450" y="2124075"/>
              <a:ext cx="206375" cy="187325"/>
            </a:xfrm>
            <a:custGeom>
              <a:avLst/>
              <a:gdLst>
                <a:gd name="T0" fmla="*/ 9 w 78"/>
                <a:gd name="T1" fmla="*/ 7 h 71"/>
                <a:gd name="T2" fmla="*/ 29 w 78"/>
                <a:gd name="T3" fmla="*/ 2 h 71"/>
                <a:gd name="T4" fmla="*/ 52 w 78"/>
                <a:gd name="T5" fmla="*/ 36 h 71"/>
                <a:gd name="T6" fmla="*/ 77 w 78"/>
                <a:gd name="T7" fmla="*/ 53 h 71"/>
                <a:gd name="T8" fmla="*/ 59 w 78"/>
                <a:gd name="T9" fmla="*/ 70 h 71"/>
                <a:gd name="T10" fmla="*/ 29 w 78"/>
                <a:gd name="T11" fmla="*/ 47 h 71"/>
                <a:gd name="T12" fmla="*/ 10 w 78"/>
                <a:gd name="T13" fmla="*/ 12 h 71"/>
                <a:gd name="T14" fmla="*/ 9 w 78"/>
                <a:gd name="T15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1">
                  <a:moveTo>
                    <a:pt x="9" y="7"/>
                  </a:moveTo>
                  <a:cubicBezTo>
                    <a:pt x="9" y="7"/>
                    <a:pt x="16" y="0"/>
                    <a:pt x="29" y="2"/>
                  </a:cubicBezTo>
                  <a:cubicBezTo>
                    <a:pt x="42" y="5"/>
                    <a:pt x="48" y="23"/>
                    <a:pt x="52" y="36"/>
                  </a:cubicBezTo>
                  <a:cubicBezTo>
                    <a:pt x="56" y="49"/>
                    <a:pt x="66" y="58"/>
                    <a:pt x="77" y="53"/>
                  </a:cubicBezTo>
                  <a:cubicBezTo>
                    <a:pt x="77" y="53"/>
                    <a:pt x="78" y="69"/>
                    <a:pt x="59" y="70"/>
                  </a:cubicBezTo>
                  <a:cubicBezTo>
                    <a:pt x="40" y="71"/>
                    <a:pt x="34" y="58"/>
                    <a:pt x="29" y="47"/>
                  </a:cubicBezTo>
                  <a:cubicBezTo>
                    <a:pt x="25" y="36"/>
                    <a:pt x="20" y="9"/>
                    <a:pt x="10" y="12"/>
                  </a:cubicBezTo>
                  <a:cubicBezTo>
                    <a:pt x="0" y="16"/>
                    <a:pt x="9" y="7"/>
                    <a:pt x="9" y="7"/>
                  </a:cubicBezTo>
                  <a:close/>
                </a:path>
              </a:pathLst>
            </a:custGeom>
            <a:solidFill>
              <a:srgbClr val="2E2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4" name="ïṣḻiḓè">
              <a:extLst>
                <a:ext uri="{FF2B5EF4-FFF2-40B4-BE49-F238E27FC236}">
                  <a16:creationId xmlns:a16="http://schemas.microsoft.com/office/drawing/2014/main" id="{4A1FE2CE-47B2-4ED2-9A69-99B59F5FC1EA}"/>
                </a:ext>
              </a:extLst>
            </p:cNvPr>
            <p:cNvSpPr/>
            <p:nvPr/>
          </p:nvSpPr>
          <p:spPr bwMode="auto">
            <a:xfrm>
              <a:off x="6521450" y="1935163"/>
              <a:ext cx="201613" cy="153988"/>
            </a:xfrm>
            <a:custGeom>
              <a:avLst/>
              <a:gdLst>
                <a:gd name="T0" fmla="*/ 68 w 76"/>
                <a:gd name="T1" fmla="*/ 58 h 58"/>
                <a:gd name="T2" fmla="*/ 51 w 76"/>
                <a:gd name="T3" fmla="*/ 11 h 58"/>
                <a:gd name="T4" fmla="*/ 0 w 76"/>
                <a:gd name="T5" fmla="*/ 23 h 58"/>
                <a:gd name="T6" fmla="*/ 68 w 76"/>
                <a:gd name="T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58">
                  <a:moveTo>
                    <a:pt x="68" y="58"/>
                  </a:moveTo>
                  <a:cubicBezTo>
                    <a:pt x="76" y="44"/>
                    <a:pt x="71" y="23"/>
                    <a:pt x="51" y="11"/>
                  </a:cubicBezTo>
                  <a:cubicBezTo>
                    <a:pt x="30" y="0"/>
                    <a:pt x="10" y="9"/>
                    <a:pt x="0" y="23"/>
                  </a:cubicBezTo>
                  <a:lnTo>
                    <a:pt x="68" y="58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5" name="ïṧľíďé">
              <a:extLst>
                <a:ext uri="{FF2B5EF4-FFF2-40B4-BE49-F238E27FC236}">
                  <a16:creationId xmlns:a16="http://schemas.microsoft.com/office/drawing/2014/main" id="{30A071C0-EFAB-4812-BDAA-B7E8854F72F4}"/>
                </a:ext>
              </a:extLst>
            </p:cNvPr>
            <p:cNvSpPr/>
            <p:nvPr/>
          </p:nvSpPr>
          <p:spPr bwMode="auto">
            <a:xfrm>
              <a:off x="6478588" y="1974850"/>
              <a:ext cx="230188" cy="133350"/>
            </a:xfrm>
            <a:custGeom>
              <a:avLst/>
              <a:gdLst>
                <a:gd name="T0" fmla="*/ 140 w 145"/>
                <a:gd name="T1" fmla="*/ 84 h 84"/>
                <a:gd name="T2" fmla="*/ 0 w 145"/>
                <a:gd name="T3" fmla="*/ 12 h 84"/>
                <a:gd name="T4" fmla="*/ 5 w 145"/>
                <a:gd name="T5" fmla="*/ 0 h 84"/>
                <a:gd name="T6" fmla="*/ 145 w 145"/>
                <a:gd name="T7" fmla="*/ 72 h 84"/>
                <a:gd name="T8" fmla="*/ 140 w 145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84">
                  <a:moveTo>
                    <a:pt x="140" y="84"/>
                  </a:moveTo>
                  <a:lnTo>
                    <a:pt x="0" y="12"/>
                  </a:lnTo>
                  <a:lnTo>
                    <a:pt x="5" y="0"/>
                  </a:lnTo>
                  <a:lnTo>
                    <a:pt x="145" y="72"/>
                  </a:lnTo>
                  <a:lnTo>
                    <a:pt x="140" y="84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6" name="íš1ïḓe">
              <a:extLst>
                <a:ext uri="{FF2B5EF4-FFF2-40B4-BE49-F238E27FC236}">
                  <a16:creationId xmlns:a16="http://schemas.microsoft.com/office/drawing/2014/main" id="{72405520-BCAC-4918-AD06-2418CF4A16D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220663"/>
            </a:xfrm>
            <a:custGeom>
              <a:avLst/>
              <a:gdLst>
                <a:gd name="T0" fmla="*/ 159 w 173"/>
                <a:gd name="T1" fmla="*/ 83 h 83"/>
                <a:gd name="T2" fmla="*/ 15 w 173"/>
                <a:gd name="T3" fmla="*/ 83 h 83"/>
                <a:gd name="T4" fmla="*/ 0 w 173"/>
                <a:gd name="T5" fmla="*/ 69 h 83"/>
                <a:gd name="T6" fmla="*/ 0 w 173"/>
                <a:gd name="T7" fmla="*/ 0 h 83"/>
                <a:gd name="T8" fmla="*/ 173 w 173"/>
                <a:gd name="T9" fmla="*/ 0 h 83"/>
                <a:gd name="T10" fmla="*/ 173 w 173"/>
                <a:gd name="T11" fmla="*/ 69 h 83"/>
                <a:gd name="T12" fmla="*/ 159 w 173"/>
                <a:gd name="T1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83">
                  <a:moveTo>
                    <a:pt x="159" y="83"/>
                  </a:moveTo>
                  <a:cubicBezTo>
                    <a:pt x="15" y="83"/>
                    <a:pt x="15" y="83"/>
                    <a:pt x="15" y="83"/>
                  </a:cubicBezTo>
                  <a:cubicBezTo>
                    <a:pt x="7" y="83"/>
                    <a:pt x="0" y="77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3" y="69"/>
                    <a:pt x="173" y="69"/>
                    <a:pt x="173" y="69"/>
                  </a:cubicBezTo>
                  <a:cubicBezTo>
                    <a:pt x="173" y="77"/>
                    <a:pt x="166" y="83"/>
                    <a:pt x="159" y="83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7" name="íṥḷïdè">
              <a:extLst>
                <a:ext uri="{FF2B5EF4-FFF2-40B4-BE49-F238E27FC236}">
                  <a16:creationId xmlns:a16="http://schemas.microsoft.com/office/drawing/2014/main" id="{93F28E53-17BE-472F-9089-7943C776E63E}"/>
                </a:ext>
              </a:extLst>
            </p:cNvPr>
            <p:cNvSpPr/>
            <p:nvPr/>
          </p:nvSpPr>
          <p:spPr bwMode="auto">
            <a:xfrm>
              <a:off x="6838950" y="3344863"/>
              <a:ext cx="458788" cy="19050"/>
            </a:xfrm>
            <a:prstGeom prst="rect">
              <a:avLst/>
            </a:pr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8" name="ïşľiḍé">
              <a:extLst>
                <a:ext uri="{FF2B5EF4-FFF2-40B4-BE49-F238E27FC236}">
                  <a16:creationId xmlns:a16="http://schemas.microsoft.com/office/drawing/2014/main" id="{A7FE82EF-645A-42E2-BF97-B39C12AB04B3}"/>
                </a:ext>
              </a:extLst>
            </p:cNvPr>
            <p:cNvSpPr/>
            <p:nvPr/>
          </p:nvSpPr>
          <p:spPr bwMode="auto">
            <a:xfrm>
              <a:off x="7037388" y="3328988"/>
              <a:ext cx="61913" cy="42863"/>
            </a:xfrm>
            <a:custGeom>
              <a:avLst/>
              <a:gdLst>
                <a:gd name="T0" fmla="*/ 0 w 23"/>
                <a:gd name="T1" fmla="*/ 0 h 16"/>
                <a:gd name="T2" fmla="*/ 23 w 23"/>
                <a:gd name="T3" fmla="*/ 0 h 16"/>
                <a:gd name="T4" fmla="*/ 22 w 23"/>
                <a:gd name="T5" fmla="*/ 14 h 16"/>
                <a:gd name="T6" fmla="*/ 19 w 23"/>
                <a:gd name="T7" fmla="*/ 16 h 16"/>
                <a:gd name="T8" fmla="*/ 4 w 23"/>
                <a:gd name="T9" fmla="*/ 16 h 16"/>
                <a:gd name="T10" fmla="*/ 1 w 23"/>
                <a:gd name="T11" fmla="*/ 14 h 16"/>
                <a:gd name="T12" fmla="*/ 0 w 2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1" y="16"/>
                    <a:pt x="19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2" y="15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9" name="îš1îḓé">
              <a:extLst>
                <a:ext uri="{FF2B5EF4-FFF2-40B4-BE49-F238E27FC236}">
                  <a16:creationId xmlns:a16="http://schemas.microsoft.com/office/drawing/2014/main" id="{AB8E1BAA-BB47-4068-B5EC-4239C6A55EE9}"/>
                </a:ext>
              </a:extLst>
            </p:cNvPr>
            <p:cNvSpPr/>
            <p:nvPr/>
          </p:nvSpPr>
          <p:spPr bwMode="auto">
            <a:xfrm>
              <a:off x="6831013" y="3248025"/>
              <a:ext cx="476250" cy="96838"/>
            </a:xfrm>
            <a:custGeom>
              <a:avLst/>
              <a:gdLst>
                <a:gd name="T0" fmla="*/ 9 w 180"/>
                <a:gd name="T1" fmla="*/ 0 h 37"/>
                <a:gd name="T2" fmla="*/ 170 w 180"/>
                <a:gd name="T3" fmla="*/ 0 h 37"/>
                <a:gd name="T4" fmla="*/ 180 w 180"/>
                <a:gd name="T5" fmla="*/ 9 h 37"/>
                <a:gd name="T6" fmla="*/ 180 w 180"/>
                <a:gd name="T7" fmla="*/ 37 h 37"/>
                <a:gd name="T8" fmla="*/ 0 w 180"/>
                <a:gd name="T9" fmla="*/ 37 h 37"/>
                <a:gd name="T10" fmla="*/ 0 w 180"/>
                <a:gd name="T11" fmla="*/ 9 h 37"/>
                <a:gd name="T12" fmla="*/ 9 w 18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37">
                  <a:moveTo>
                    <a:pt x="9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5" y="0"/>
                    <a:pt x="180" y="4"/>
                    <a:pt x="180" y="9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0" name="işḷïḓé">
              <a:extLst>
                <a:ext uri="{FF2B5EF4-FFF2-40B4-BE49-F238E27FC236}">
                  <a16:creationId xmlns:a16="http://schemas.microsoft.com/office/drawing/2014/main" id="{57C71467-BE38-481A-AE6F-5858A07F033D}"/>
                </a:ext>
              </a:extLst>
            </p:cNvPr>
            <p:cNvSpPr/>
            <p:nvPr/>
          </p:nvSpPr>
          <p:spPr bwMode="auto">
            <a:xfrm>
              <a:off x="685958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1" name="íṧ1îḍe">
              <a:extLst>
                <a:ext uri="{FF2B5EF4-FFF2-40B4-BE49-F238E27FC236}">
                  <a16:creationId xmlns:a16="http://schemas.microsoft.com/office/drawing/2014/main" id="{27A29A62-FEBF-4BC8-9789-F8105268CF10}"/>
                </a:ext>
              </a:extLst>
            </p:cNvPr>
            <p:cNvSpPr/>
            <p:nvPr/>
          </p:nvSpPr>
          <p:spPr bwMode="auto">
            <a:xfrm>
              <a:off x="6897688" y="3382963"/>
              <a:ext cx="15875" cy="168275"/>
            </a:xfrm>
            <a:custGeom>
              <a:avLst/>
              <a:gdLst>
                <a:gd name="T0" fmla="*/ 3 w 6"/>
                <a:gd name="T1" fmla="*/ 64 h 64"/>
                <a:gd name="T2" fmla="*/ 3 w 6"/>
                <a:gd name="T3" fmla="*/ 64 h 64"/>
                <a:gd name="T4" fmla="*/ 0 w 6"/>
                <a:gd name="T5" fmla="*/ 60 h 64"/>
                <a:gd name="T6" fmla="*/ 0 w 6"/>
                <a:gd name="T7" fmla="*/ 4 h 64"/>
                <a:gd name="T8" fmla="*/ 3 w 6"/>
                <a:gd name="T9" fmla="*/ 0 h 64"/>
                <a:gd name="T10" fmla="*/ 3 w 6"/>
                <a:gd name="T11" fmla="*/ 0 h 64"/>
                <a:gd name="T12" fmla="*/ 6 w 6"/>
                <a:gd name="T13" fmla="*/ 4 h 64"/>
                <a:gd name="T14" fmla="*/ 6 w 6"/>
                <a:gd name="T15" fmla="*/ 60 h 64"/>
                <a:gd name="T16" fmla="*/ 3 w 6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2" name="íŝ1îḋe">
              <a:extLst>
                <a:ext uri="{FF2B5EF4-FFF2-40B4-BE49-F238E27FC236}">
                  <a16:creationId xmlns:a16="http://schemas.microsoft.com/office/drawing/2014/main" id="{7392A10B-F0C1-4DE6-88E2-EC82F4E7DEEA}"/>
                </a:ext>
              </a:extLst>
            </p:cNvPr>
            <p:cNvSpPr/>
            <p:nvPr/>
          </p:nvSpPr>
          <p:spPr bwMode="auto">
            <a:xfrm>
              <a:off x="6931025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3" name="îşľîḍê">
              <a:extLst>
                <a:ext uri="{FF2B5EF4-FFF2-40B4-BE49-F238E27FC236}">
                  <a16:creationId xmlns:a16="http://schemas.microsoft.com/office/drawing/2014/main" id="{8D0EAE11-E86F-419B-943D-42B728820DAA}"/>
                </a:ext>
              </a:extLst>
            </p:cNvPr>
            <p:cNvSpPr/>
            <p:nvPr/>
          </p:nvSpPr>
          <p:spPr bwMode="auto">
            <a:xfrm>
              <a:off x="696912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4" name="iṧľïḓe">
              <a:extLst>
                <a:ext uri="{FF2B5EF4-FFF2-40B4-BE49-F238E27FC236}">
                  <a16:creationId xmlns:a16="http://schemas.microsoft.com/office/drawing/2014/main" id="{D388FFC9-A0E7-4166-A762-78D24B7C25FC}"/>
                </a:ext>
              </a:extLst>
            </p:cNvPr>
            <p:cNvSpPr/>
            <p:nvPr/>
          </p:nvSpPr>
          <p:spPr bwMode="auto">
            <a:xfrm>
              <a:off x="7005638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5" name="îŝ1íḓê">
              <a:extLst>
                <a:ext uri="{FF2B5EF4-FFF2-40B4-BE49-F238E27FC236}">
                  <a16:creationId xmlns:a16="http://schemas.microsoft.com/office/drawing/2014/main" id="{1A6E156D-AB9D-4109-A419-3259B14BFBC7}"/>
                </a:ext>
              </a:extLst>
            </p:cNvPr>
            <p:cNvSpPr/>
            <p:nvPr/>
          </p:nvSpPr>
          <p:spPr bwMode="auto">
            <a:xfrm>
              <a:off x="704056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6" name="íŝḷiḑè">
              <a:extLst>
                <a:ext uri="{FF2B5EF4-FFF2-40B4-BE49-F238E27FC236}">
                  <a16:creationId xmlns:a16="http://schemas.microsoft.com/office/drawing/2014/main" id="{664628F5-42E7-489A-993B-FF22FA872E8E}"/>
                </a:ext>
              </a:extLst>
            </p:cNvPr>
            <p:cNvSpPr/>
            <p:nvPr/>
          </p:nvSpPr>
          <p:spPr bwMode="auto">
            <a:xfrm>
              <a:off x="707707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7" name="í$ľiḓé">
              <a:extLst>
                <a:ext uri="{FF2B5EF4-FFF2-40B4-BE49-F238E27FC236}">
                  <a16:creationId xmlns:a16="http://schemas.microsoft.com/office/drawing/2014/main" id="{6370D9E6-3389-4458-97EA-4930985AE6CC}"/>
                </a:ext>
              </a:extLst>
            </p:cNvPr>
            <p:cNvSpPr/>
            <p:nvPr/>
          </p:nvSpPr>
          <p:spPr bwMode="auto">
            <a:xfrm>
              <a:off x="7115175" y="3382963"/>
              <a:ext cx="17463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8" name="îšļiďé">
              <a:extLst>
                <a:ext uri="{FF2B5EF4-FFF2-40B4-BE49-F238E27FC236}">
                  <a16:creationId xmlns:a16="http://schemas.microsoft.com/office/drawing/2014/main" id="{B441541B-B4FE-4C0C-8286-BEE9332F549E}"/>
                </a:ext>
              </a:extLst>
            </p:cNvPr>
            <p:cNvSpPr/>
            <p:nvPr/>
          </p:nvSpPr>
          <p:spPr bwMode="auto">
            <a:xfrm>
              <a:off x="7148513" y="3382963"/>
              <a:ext cx="19050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9" name="iŝļïḓê">
              <a:extLst>
                <a:ext uri="{FF2B5EF4-FFF2-40B4-BE49-F238E27FC236}">
                  <a16:creationId xmlns:a16="http://schemas.microsoft.com/office/drawing/2014/main" id="{AF89367F-F860-4225-AD1F-9B82C7E7328C}"/>
                </a:ext>
              </a:extLst>
            </p:cNvPr>
            <p:cNvSpPr/>
            <p:nvPr/>
          </p:nvSpPr>
          <p:spPr bwMode="auto">
            <a:xfrm>
              <a:off x="7186613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0" name="íṩ1idê">
              <a:extLst>
                <a:ext uri="{FF2B5EF4-FFF2-40B4-BE49-F238E27FC236}">
                  <a16:creationId xmlns:a16="http://schemas.microsoft.com/office/drawing/2014/main" id="{D83E3489-93D8-4D98-A29E-621956C06F82}"/>
                </a:ext>
              </a:extLst>
            </p:cNvPr>
            <p:cNvSpPr/>
            <p:nvPr/>
          </p:nvSpPr>
          <p:spPr bwMode="auto">
            <a:xfrm>
              <a:off x="7223125" y="3382963"/>
              <a:ext cx="19050" cy="168275"/>
            </a:xfrm>
            <a:custGeom>
              <a:avLst/>
              <a:gdLst>
                <a:gd name="T0" fmla="*/ 3 w 7"/>
                <a:gd name="T1" fmla="*/ 64 h 64"/>
                <a:gd name="T2" fmla="*/ 3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3 w 7"/>
                <a:gd name="T9" fmla="*/ 0 h 64"/>
                <a:gd name="T10" fmla="*/ 3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3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3" y="64"/>
                  </a:moveTo>
                  <a:cubicBezTo>
                    <a:pt x="3" y="64"/>
                    <a:pt x="3" y="64"/>
                    <a:pt x="3" y="64"/>
                  </a:cubicBezTo>
                  <a:cubicBezTo>
                    <a:pt x="1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5" y="64"/>
                    <a:pt x="3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1" name="iṧ1iḋé">
              <a:extLst>
                <a:ext uri="{FF2B5EF4-FFF2-40B4-BE49-F238E27FC236}">
                  <a16:creationId xmlns:a16="http://schemas.microsoft.com/office/drawing/2014/main" id="{328FD554-591A-45F0-B615-0E516D03899C}"/>
                </a:ext>
              </a:extLst>
            </p:cNvPr>
            <p:cNvSpPr/>
            <p:nvPr/>
          </p:nvSpPr>
          <p:spPr bwMode="auto">
            <a:xfrm>
              <a:off x="7258050" y="3382963"/>
              <a:ext cx="17463" cy="168275"/>
            </a:xfrm>
            <a:custGeom>
              <a:avLst/>
              <a:gdLst>
                <a:gd name="T0" fmla="*/ 4 w 7"/>
                <a:gd name="T1" fmla="*/ 64 h 64"/>
                <a:gd name="T2" fmla="*/ 4 w 7"/>
                <a:gd name="T3" fmla="*/ 64 h 64"/>
                <a:gd name="T4" fmla="*/ 0 w 7"/>
                <a:gd name="T5" fmla="*/ 60 h 64"/>
                <a:gd name="T6" fmla="*/ 0 w 7"/>
                <a:gd name="T7" fmla="*/ 4 h 64"/>
                <a:gd name="T8" fmla="*/ 4 w 7"/>
                <a:gd name="T9" fmla="*/ 0 h 64"/>
                <a:gd name="T10" fmla="*/ 4 w 7"/>
                <a:gd name="T11" fmla="*/ 0 h 64"/>
                <a:gd name="T12" fmla="*/ 7 w 7"/>
                <a:gd name="T13" fmla="*/ 4 h 64"/>
                <a:gd name="T14" fmla="*/ 7 w 7"/>
                <a:gd name="T15" fmla="*/ 60 h 64"/>
                <a:gd name="T16" fmla="*/ 4 w 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4">
                  <a:moveTo>
                    <a:pt x="4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2" name="iṣľiḋe">
              <a:extLst>
                <a:ext uri="{FF2B5EF4-FFF2-40B4-BE49-F238E27FC236}">
                  <a16:creationId xmlns:a16="http://schemas.microsoft.com/office/drawing/2014/main" id="{E943221A-9FD7-4D9E-A7C0-1BC4D44F3C90}"/>
                </a:ext>
              </a:extLst>
            </p:cNvPr>
            <p:cNvSpPr/>
            <p:nvPr/>
          </p:nvSpPr>
          <p:spPr bwMode="auto">
            <a:xfrm>
              <a:off x="7178675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6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3" name="íš1îḋê">
              <a:extLst>
                <a:ext uri="{FF2B5EF4-FFF2-40B4-BE49-F238E27FC236}">
                  <a16:creationId xmlns:a16="http://schemas.microsoft.com/office/drawing/2014/main" id="{E60267AA-CDCB-410E-8163-946F66857D8B}"/>
                </a:ext>
              </a:extLst>
            </p:cNvPr>
            <p:cNvSpPr/>
            <p:nvPr/>
          </p:nvSpPr>
          <p:spPr bwMode="auto">
            <a:xfrm>
              <a:off x="6875463" y="3235325"/>
              <a:ext cx="79375" cy="12700"/>
            </a:xfrm>
            <a:custGeom>
              <a:avLst/>
              <a:gdLst>
                <a:gd name="T0" fmla="*/ 4 w 30"/>
                <a:gd name="T1" fmla="*/ 0 h 5"/>
                <a:gd name="T2" fmla="*/ 27 w 30"/>
                <a:gd name="T3" fmla="*/ 0 h 5"/>
                <a:gd name="T4" fmla="*/ 30 w 30"/>
                <a:gd name="T5" fmla="*/ 3 h 5"/>
                <a:gd name="T6" fmla="*/ 30 w 30"/>
                <a:gd name="T7" fmla="*/ 5 h 5"/>
                <a:gd name="T8" fmla="*/ 0 w 30"/>
                <a:gd name="T9" fmla="*/ 5 h 5"/>
                <a:gd name="T10" fmla="*/ 0 w 30"/>
                <a:gd name="T11" fmla="*/ 3 h 5"/>
                <a:gd name="T12" fmla="*/ 4 w 3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4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4" name="íṣḷíḍê">
              <a:extLst>
                <a:ext uri="{FF2B5EF4-FFF2-40B4-BE49-F238E27FC236}">
                  <a16:creationId xmlns:a16="http://schemas.microsoft.com/office/drawing/2014/main" id="{CDE3BA28-ED32-4C2B-ACB5-A0DFF341A4F9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74613"/>
            </a:xfrm>
            <a:custGeom>
              <a:avLst/>
              <a:gdLst>
                <a:gd name="T0" fmla="*/ 65 w 65"/>
                <a:gd name="T1" fmla="*/ 28 h 28"/>
                <a:gd name="T2" fmla="*/ 57 w 65"/>
                <a:gd name="T3" fmla="*/ 28 h 28"/>
                <a:gd name="T4" fmla="*/ 57 w 65"/>
                <a:gd name="T5" fmla="*/ 11 h 28"/>
                <a:gd name="T6" fmla="*/ 54 w 65"/>
                <a:gd name="T7" fmla="*/ 8 h 28"/>
                <a:gd name="T8" fmla="*/ 11 w 65"/>
                <a:gd name="T9" fmla="*/ 8 h 28"/>
                <a:gd name="T10" fmla="*/ 8 w 65"/>
                <a:gd name="T11" fmla="*/ 11 h 28"/>
                <a:gd name="T12" fmla="*/ 8 w 65"/>
                <a:gd name="T13" fmla="*/ 28 h 28"/>
                <a:gd name="T14" fmla="*/ 0 w 65"/>
                <a:gd name="T15" fmla="*/ 28 h 28"/>
                <a:gd name="T16" fmla="*/ 0 w 65"/>
                <a:gd name="T17" fmla="*/ 11 h 28"/>
                <a:gd name="T18" fmla="*/ 11 w 65"/>
                <a:gd name="T19" fmla="*/ 0 h 28"/>
                <a:gd name="T20" fmla="*/ 54 w 65"/>
                <a:gd name="T21" fmla="*/ 0 h 28"/>
                <a:gd name="T22" fmla="*/ 65 w 65"/>
                <a:gd name="T23" fmla="*/ 11 h 28"/>
                <a:gd name="T24" fmla="*/ 65 w 65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28">
                  <a:moveTo>
                    <a:pt x="65" y="28"/>
                  </a:moveTo>
                  <a:cubicBezTo>
                    <a:pt x="57" y="28"/>
                    <a:pt x="57" y="28"/>
                    <a:pt x="57" y="28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7" y="9"/>
                    <a:pt x="56" y="8"/>
                    <a:pt x="54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8" y="9"/>
                    <a:pt x="8" y="11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0" y="0"/>
                    <a:pt x="65" y="5"/>
                    <a:pt x="65" y="11"/>
                  </a:cubicBezTo>
                  <a:lnTo>
                    <a:pt x="65" y="28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5" name="íṥḻïḓe">
              <a:extLst>
                <a:ext uri="{FF2B5EF4-FFF2-40B4-BE49-F238E27FC236}">
                  <a16:creationId xmlns:a16="http://schemas.microsoft.com/office/drawing/2014/main" id="{9B74D01E-B4FE-4B85-94DF-178387239A09}"/>
                </a:ext>
              </a:extLst>
            </p:cNvPr>
            <p:cNvSpPr/>
            <p:nvPr/>
          </p:nvSpPr>
          <p:spPr bwMode="auto">
            <a:xfrm>
              <a:off x="7132638" y="3236913"/>
              <a:ext cx="22225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6" name="íś1îdê">
              <a:extLst>
                <a:ext uri="{FF2B5EF4-FFF2-40B4-BE49-F238E27FC236}">
                  <a16:creationId xmlns:a16="http://schemas.microsoft.com/office/drawing/2014/main" id="{E280A17F-987F-41AB-8341-0EC7E2A181D0}"/>
                </a:ext>
              </a:extLst>
            </p:cNvPr>
            <p:cNvSpPr/>
            <p:nvPr/>
          </p:nvSpPr>
          <p:spPr bwMode="auto">
            <a:xfrm>
              <a:off x="6981825" y="3236913"/>
              <a:ext cx="20638" cy="11113"/>
            </a:xfrm>
            <a:prstGeom prst="rect">
              <a:avLst/>
            </a:prstGeom>
            <a:solidFill>
              <a:srgbClr val="6F78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7" name="îṩļïḓè">
              <a:extLst>
                <a:ext uri="{FF2B5EF4-FFF2-40B4-BE49-F238E27FC236}">
                  <a16:creationId xmlns:a16="http://schemas.microsoft.com/office/drawing/2014/main" id="{720816F4-642D-469E-822C-9D565F498CDE}"/>
                </a:ext>
              </a:extLst>
            </p:cNvPr>
            <p:cNvSpPr/>
            <p:nvPr/>
          </p:nvSpPr>
          <p:spPr bwMode="auto">
            <a:xfrm>
              <a:off x="6899275" y="3324225"/>
              <a:ext cx="34925" cy="55563"/>
            </a:xfrm>
            <a:custGeom>
              <a:avLst/>
              <a:gdLst>
                <a:gd name="T0" fmla="*/ 4 w 13"/>
                <a:gd name="T1" fmla="*/ 0 h 21"/>
                <a:gd name="T2" fmla="*/ 8 w 13"/>
                <a:gd name="T3" fmla="*/ 0 h 21"/>
                <a:gd name="T4" fmla="*/ 13 w 13"/>
                <a:gd name="T5" fmla="*/ 5 h 21"/>
                <a:gd name="T6" fmla="*/ 13 w 13"/>
                <a:gd name="T7" fmla="*/ 17 h 21"/>
                <a:gd name="T8" fmla="*/ 8 w 13"/>
                <a:gd name="T9" fmla="*/ 21 h 21"/>
                <a:gd name="T10" fmla="*/ 4 w 13"/>
                <a:gd name="T11" fmla="*/ 21 h 21"/>
                <a:gd name="T12" fmla="*/ 0 w 13"/>
                <a:gd name="T13" fmla="*/ 17 h 21"/>
                <a:gd name="T14" fmla="*/ 0 w 13"/>
                <a:gd name="T15" fmla="*/ 5 h 21"/>
                <a:gd name="T16" fmla="*/ 4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5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9"/>
                    <a:pt x="11" y="21"/>
                    <a:pt x="8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2" y="21"/>
                    <a:pt x="0" y="19"/>
                    <a:pt x="0" y="1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8" name="íšļíḑê">
              <a:extLst>
                <a:ext uri="{FF2B5EF4-FFF2-40B4-BE49-F238E27FC236}">
                  <a16:creationId xmlns:a16="http://schemas.microsoft.com/office/drawing/2014/main" id="{F033DDB0-1E10-4486-92E2-514D3D4D2408}"/>
                </a:ext>
              </a:extLst>
            </p:cNvPr>
            <p:cNvSpPr/>
            <p:nvPr/>
          </p:nvSpPr>
          <p:spPr bwMode="auto">
            <a:xfrm>
              <a:off x="6899275" y="3300413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4 h 17"/>
                <a:gd name="T16" fmla="*/ 10 w 13"/>
                <a:gd name="T17" fmla="*/ 14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9" name="ïṣ1iḑè">
              <a:extLst>
                <a:ext uri="{FF2B5EF4-FFF2-40B4-BE49-F238E27FC236}">
                  <a16:creationId xmlns:a16="http://schemas.microsoft.com/office/drawing/2014/main" id="{DAB54A6D-7432-46BC-B02F-13823F86C2C1}"/>
                </a:ext>
              </a:extLst>
            </p:cNvPr>
            <p:cNvSpPr/>
            <p:nvPr/>
          </p:nvSpPr>
          <p:spPr bwMode="auto">
            <a:xfrm>
              <a:off x="6899275" y="3295650"/>
              <a:ext cx="34925" cy="44450"/>
            </a:xfrm>
            <a:custGeom>
              <a:avLst/>
              <a:gdLst>
                <a:gd name="T0" fmla="*/ 13 w 13"/>
                <a:gd name="T1" fmla="*/ 17 h 17"/>
                <a:gd name="T2" fmla="*/ 0 w 13"/>
                <a:gd name="T3" fmla="*/ 17 h 17"/>
                <a:gd name="T4" fmla="*/ 0 w 13"/>
                <a:gd name="T5" fmla="*/ 4 h 17"/>
                <a:gd name="T6" fmla="*/ 4 w 13"/>
                <a:gd name="T7" fmla="*/ 0 h 17"/>
                <a:gd name="T8" fmla="*/ 9 w 13"/>
                <a:gd name="T9" fmla="*/ 0 h 17"/>
                <a:gd name="T10" fmla="*/ 13 w 13"/>
                <a:gd name="T11" fmla="*/ 4 h 17"/>
                <a:gd name="T12" fmla="*/ 13 w 13"/>
                <a:gd name="T13" fmla="*/ 17 h 17"/>
                <a:gd name="T14" fmla="*/ 2 w 13"/>
                <a:gd name="T15" fmla="*/ 15 h 17"/>
                <a:gd name="T16" fmla="*/ 10 w 13"/>
                <a:gd name="T17" fmla="*/ 15 h 17"/>
                <a:gd name="T18" fmla="*/ 10 w 13"/>
                <a:gd name="T19" fmla="*/ 4 h 17"/>
                <a:gd name="T20" fmla="*/ 9 w 13"/>
                <a:gd name="T21" fmla="*/ 3 h 17"/>
                <a:gd name="T22" fmla="*/ 4 w 13"/>
                <a:gd name="T23" fmla="*/ 3 h 17"/>
                <a:gd name="T24" fmla="*/ 2 w 13"/>
                <a:gd name="T25" fmla="*/ 4 h 17"/>
                <a:gd name="T26" fmla="*/ 2 w 13"/>
                <a:gd name="T2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lnTo>
                    <a:pt x="13" y="17"/>
                  </a:lnTo>
                  <a:close/>
                  <a:moveTo>
                    <a:pt x="2" y="15"/>
                  </a:moveTo>
                  <a:cubicBezTo>
                    <a:pt x="10" y="15"/>
                    <a:pt x="10" y="15"/>
                    <a:pt x="10" y="1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3"/>
                    <a:pt x="2" y="4"/>
                  </a:cubicBezTo>
                  <a:lnTo>
                    <a:pt x="2" y="15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0" name="iŝľiḓé">
              <a:extLst>
                <a:ext uri="{FF2B5EF4-FFF2-40B4-BE49-F238E27FC236}">
                  <a16:creationId xmlns:a16="http://schemas.microsoft.com/office/drawing/2014/main" id="{E8D75979-D35B-4074-BB03-C17CC14AAE1E}"/>
                </a:ext>
              </a:extLst>
            </p:cNvPr>
            <p:cNvSpPr/>
            <p:nvPr/>
          </p:nvSpPr>
          <p:spPr bwMode="auto">
            <a:xfrm>
              <a:off x="6899275" y="3319463"/>
              <a:ext cx="34925" cy="52388"/>
            </a:xfrm>
            <a:custGeom>
              <a:avLst/>
              <a:gdLst>
                <a:gd name="T0" fmla="*/ 4 w 13"/>
                <a:gd name="T1" fmla="*/ 0 h 20"/>
                <a:gd name="T2" fmla="*/ 8 w 13"/>
                <a:gd name="T3" fmla="*/ 0 h 20"/>
                <a:gd name="T4" fmla="*/ 13 w 13"/>
                <a:gd name="T5" fmla="*/ 4 h 20"/>
                <a:gd name="T6" fmla="*/ 13 w 13"/>
                <a:gd name="T7" fmla="*/ 16 h 20"/>
                <a:gd name="T8" fmla="*/ 8 w 13"/>
                <a:gd name="T9" fmla="*/ 20 h 20"/>
                <a:gd name="T10" fmla="*/ 4 w 13"/>
                <a:gd name="T11" fmla="*/ 20 h 20"/>
                <a:gd name="T12" fmla="*/ 0 w 13"/>
                <a:gd name="T13" fmla="*/ 16 h 20"/>
                <a:gd name="T14" fmla="*/ 0 w 13"/>
                <a:gd name="T15" fmla="*/ 4 h 20"/>
                <a:gd name="T16" fmla="*/ 4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8"/>
                    <a:pt x="11" y="20"/>
                    <a:pt x="8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1" name="îṡḻiďê">
              <a:extLst>
                <a:ext uri="{FF2B5EF4-FFF2-40B4-BE49-F238E27FC236}">
                  <a16:creationId xmlns:a16="http://schemas.microsoft.com/office/drawing/2014/main" id="{1A2D7D05-59A5-4954-A4AF-C96CB5E70C13}"/>
                </a:ext>
              </a:extLst>
            </p:cNvPr>
            <p:cNvSpPr/>
            <p:nvPr/>
          </p:nvSpPr>
          <p:spPr bwMode="auto">
            <a:xfrm>
              <a:off x="6910388" y="3344863"/>
              <a:ext cx="23813" cy="26988"/>
            </a:xfrm>
            <a:custGeom>
              <a:avLst/>
              <a:gdLst>
                <a:gd name="T0" fmla="*/ 7 w 9"/>
                <a:gd name="T1" fmla="*/ 8 h 10"/>
                <a:gd name="T2" fmla="*/ 8 w 9"/>
                <a:gd name="T3" fmla="*/ 0 h 10"/>
                <a:gd name="T4" fmla="*/ 9 w 9"/>
                <a:gd name="T5" fmla="*/ 0 h 10"/>
                <a:gd name="T6" fmla="*/ 9 w 9"/>
                <a:gd name="T7" fmla="*/ 6 h 10"/>
                <a:gd name="T8" fmla="*/ 4 w 9"/>
                <a:gd name="T9" fmla="*/ 10 h 10"/>
                <a:gd name="T10" fmla="*/ 0 w 9"/>
                <a:gd name="T11" fmla="*/ 10 h 10"/>
                <a:gd name="T12" fmla="*/ 7 w 9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8"/>
                  </a:moveTo>
                  <a:cubicBezTo>
                    <a:pt x="8" y="7"/>
                    <a:pt x="8" y="5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9"/>
                    <a:pt x="7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6" y="9"/>
                    <a:pt x="7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2" name="iŝḻidê">
              <a:extLst>
                <a:ext uri="{FF2B5EF4-FFF2-40B4-BE49-F238E27FC236}">
                  <a16:creationId xmlns:a16="http://schemas.microsoft.com/office/drawing/2014/main" id="{121FA008-05B4-4883-85D3-F85FEBAC1552}"/>
                </a:ext>
              </a:extLst>
            </p:cNvPr>
            <p:cNvSpPr/>
            <p:nvPr/>
          </p:nvSpPr>
          <p:spPr bwMode="auto">
            <a:xfrm>
              <a:off x="6899275" y="3344863"/>
              <a:ext cx="34925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3" name="íṩḷídè">
              <a:extLst>
                <a:ext uri="{FF2B5EF4-FFF2-40B4-BE49-F238E27FC236}">
                  <a16:creationId xmlns:a16="http://schemas.microsoft.com/office/drawing/2014/main" id="{340738F9-833B-4526-B916-2A5821E3D385}"/>
                </a:ext>
              </a:extLst>
            </p:cNvPr>
            <p:cNvSpPr/>
            <p:nvPr/>
          </p:nvSpPr>
          <p:spPr bwMode="auto">
            <a:xfrm>
              <a:off x="7202488" y="3324225"/>
              <a:ext cx="33338" cy="55563"/>
            </a:xfrm>
            <a:custGeom>
              <a:avLst/>
              <a:gdLst>
                <a:gd name="T0" fmla="*/ 9 w 13"/>
                <a:gd name="T1" fmla="*/ 0 h 21"/>
                <a:gd name="T2" fmla="*/ 5 w 13"/>
                <a:gd name="T3" fmla="*/ 0 h 21"/>
                <a:gd name="T4" fmla="*/ 0 w 13"/>
                <a:gd name="T5" fmla="*/ 5 h 21"/>
                <a:gd name="T6" fmla="*/ 0 w 13"/>
                <a:gd name="T7" fmla="*/ 17 h 21"/>
                <a:gd name="T8" fmla="*/ 5 w 13"/>
                <a:gd name="T9" fmla="*/ 21 h 21"/>
                <a:gd name="T10" fmla="*/ 9 w 13"/>
                <a:gd name="T11" fmla="*/ 21 h 21"/>
                <a:gd name="T12" fmla="*/ 13 w 13"/>
                <a:gd name="T13" fmla="*/ 17 h 21"/>
                <a:gd name="T14" fmla="*/ 13 w 13"/>
                <a:gd name="T15" fmla="*/ 5 h 21"/>
                <a:gd name="T16" fmla="*/ 9 w 13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2" y="21"/>
                    <a:pt x="5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1" y="21"/>
                    <a:pt x="13" y="19"/>
                    <a:pt x="13" y="1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4" name="íş1ïďe">
              <a:extLst>
                <a:ext uri="{FF2B5EF4-FFF2-40B4-BE49-F238E27FC236}">
                  <a16:creationId xmlns:a16="http://schemas.microsoft.com/office/drawing/2014/main" id="{65C8DD7D-0FCF-44E5-97FB-944BE9CC4D7A}"/>
                </a:ext>
              </a:extLst>
            </p:cNvPr>
            <p:cNvSpPr/>
            <p:nvPr/>
          </p:nvSpPr>
          <p:spPr bwMode="auto">
            <a:xfrm>
              <a:off x="7202488" y="3300413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4 h 17"/>
                <a:gd name="T24" fmla="*/ 11 w 13"/>
                <a:gd name="T25" fmla="*/ 14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F8A8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5" name="i$ļîḑè">
              <a:extLst>
                <a:ext uri="{FF2B5EF4-FFF2-40B4-BE49-F238E27FC236}">
                  <a16:creationId xmlns:a16="http://schemas.microsoft.com/office/drawing/2014/main" id="{CFC7D27B-E1EA-4A83-9035-4A2182A2E1CE}"/>
                </a:ext>
              </a:extLst>
            </p:cNvPr>
            <p:cNvSpPr/>
            <p:nvPr/>
          </p:nvSpPr>
          <p:spPr bwMode="auto">
            <a:xfrm>
              <a:off x="7202488" y="3295650"/>
              <a:ext cx="33338" cy="44450"/>
            </a:xfrm>
            <a:custGeom>
              <a:avLst/>
              <a:gdLst>
                <a:gd name="T0" fmla="*/ 0 w 13"/>
                <a:gd name="T1" fmla="*/ 4 h 17"/>
                <a:gd name="T2" fmla="*/ 4 w 13"/>
                <a:gd name="T3" fmla="*/ 0 h 17"/>
                <a:gd name="T4" fmla="*/ 9 w 13"/>
                <a:gd name="T5" fmla="*/ 0 h 17"/>
                <a:gd name="T6" fmla="*/ 13 w 13"/>
                <a:gd name="T7" fmla="*/ 4 h 17"/>
                <a:gd name="T8" fmla="*/ 13 w 13"/>
                <a:gd name="T9" fmla="*/ 17 h 17"/>
                <a:gd name="T10" fmla="*/ 0 w 13"/>
                <a:gd name="T11" fmla="*/ 17 h 17"/>
                <a:gd name="T12" fmla="*/ 0 w 13"/>
                <a:gd name="T13" fmla="*/ 4 h 17"/>
                <a:gd name="T14" fmla="*/ 11 w 13"/>
                <a:gd name="T15" fmla="*/ 4 h 17"/>
                <a:gd name="T16" fmla="*/ 9 w 13"/>
                <a:gd name="T17" fmla="*/ 3 h 17"/>
                <a:gd name="T18" fmla="*/ 4 w 13"/>
                <a:gd name="T19" fmla="*/ 3 h 17"/>
                <a:gd name="T20" fmla="*/ 3 w 13"/>
                <a:gd name="T21" fmla="*/ 4 h 17"/>
                <a:gd name="T22" fmla="*/ 3 w 13"/>
                <a:gd name="T23" fmla="*/ 15 h 17"/>
                <a:gd name="T24" fmla="*/ 11 w 13"/>
                <a:gd name="T25" fmla="*/ 15 h 17"/>
                <a:gd name="T26" fmla="*/ 11 w 13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7">
                  <a:moveTo>
                    <a:pt x="0" y="4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0" y="4"/>
                  </a:lnTo>
                  <a:close/>
                  <a:moveTo>
                    <a:pt x="11" y="4"/>
                  </a:moveTo>
                  <a:cubicBezTo>
                    <a:pt x="11" y="3"/>
                    <a:pt x="10" y="3"/>
                    <a:pt x="9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1" y="15"/>
                    <a:pt x="11" y="15"/>
                    <a:pt x="11" y="15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rgbClr val="9CAC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6" name="íṣļïḋè">
              <a:extLst>
                <a:ext uri="{FF2B5EF4-FFF2-40B4-BE49-F238E27FC236}">
                  <a16:creationId xmlns:a16="http://schemas.microsoft.com/office/drawing/2014/main" id="{149EE908-9823-4F11-9937-47CA3410A891}"/>
                </a:ext>
              </a:extLst>
            </p:cNvPr>
            <p:cNvSpPr/>
            <p:nvPr/>
          </p:nvSpPr>
          <p:spPr bwMode="auto">
            <a:xfrm>
              <a:off x="7202488" y="3319463"/>
              <a:ext cx="33338" cy="52388"/>
            </a:xfrm>
            <a:custGeom>
              <a:avLst/>
              <a:gdLst>
                <a:gd name="T0" fmla="*/ 9 w 13"/>
                <a:gd name="T1" fmla="*/ 0 h 20"/>
                <a:gd name="T2" fmla="*/ 5 w 13"/>
                <a:gd name="T3" fmla="*/ 0 h 20"/>
                <a:gd name="T4" fmla="*/ 0 w 13"/>
                <a:gd name="T5" fmla="*/ 4 h 20"/>
                <a:gd name="T6" fmla="*/ 0 w 13"/>
                <a:gd name="T7" fmla="*/ 16 h 20"/>
                <a:gd name="T8" fmla="*/ 5 w 13"/>
                <a:gd name="T9" fmla="*/ 20 h 20"/>
                <a:gd name="T10" fmla="*/ 9 w 13"/>
                <a:gd name="T11" fmla="*/ 20 h 20"/>
                <a:gd name="T12" fmla="*/ 13 w 13"/>
                <a:gd name="T13" fmla="*/ 16 h 20"/>
                <a:gd name="T14" fmla="*/ 13 w 13"/>
                <a:gd name="T15" fmla="*/ 4 h 20"/>
                <a:gd name="T16" fmla="*/ 9 w 13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0">
                  <a:moveTo>
                    <a:pt x="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2" y="20"/>
                    <a:pt x="5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1" y="20"/>
                    <a:pt x="13" y="18"/>
                    <a:pt x="13" y="16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2138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7" name="í$1îḋê">
              <a:extLst>
                <a:ext uri="{FF2B5EF4-FFF2-40B4-BE49-F238E27FC236}">
                  <a16:creationId xmlns:a16="http://schemas.microsoft.com/office/drawing/2014/main" id="{3A80CC29-C674-4C91-8A86-FACB21134338}"/>
                </a:ext>
              </a:extLst>
            </p:cNvPr>
            <p:cNvSpPr/>
            <p:nvPr/>
          </p:nvSpPr>
          <p:spPr bwMode="auto">
            <a:xfrm>
              <a:off x="7037388" y="3316288"/>
              <a:ext cx="61913" cy="44450"/>
            </a:xfrm>
            <a:custGeom>
              <a:avLst/>
              <a:gdLst>
                <a:gd name="T0" fmla="*/ 0 w 23"/>
                <a:gd name="T1" fmla="*/ 0 h 17"/>
                <a:gd name="T2" fmla="*/ 23 w 23"/>
                <a:gd name="T3" fmla="*/ 0 h 17"/>
                <a:gd name="T4" fmla="*/ 22 w 23"/>
                <a:gd name="T5" fmla="*/ 14 h 17"/>
                <a:gd name="T6" fmla="*/ 19 w 23"/>
                <a:gd name="T7" fmla="*/ 17 h 17"/>
                <a:gd name="T8" fmla="*/ 4 w 23"/>
                <a:gd name="T9" fmla="*/ 17 h 17"/>
                <a:gd name="T10" fmla="*/ 1 w 23"/>
                <a:gd name="T11" fmla="*/ 14 h 17"/>
                <a:gd name="T12" fmla="*/ 0 w 23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7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6"/>
                    <a:pt x="21" y="17"/>
                    <a:pt x="19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2" y="16"/>
                    <a:pt x="1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8" name="iṧļíḓe">
              <a:extLst>
                <a:ext uri="{FF2B5EF4-FFF2-40B4-BE49-F238E27FC236}">
                  <a16:creationId xmlns:a16="http://schemas.microsoft.com/office/drawing/2014/main" id="{7E295338-1861-4B85-BE4C-20E3EA99B75C}"/>
                </a:ext>
              </a:extLst>
            </p:cNvPr>
            <p:cNvSpPr/>
            <p:nvPr/>
          </p:nvSpPr>
          <p:spPr bwMode="auto">
            <a:xfrm>
              <a:off x="7056438" y="3314700"/>
              <a:ext cx="23813" cy="36513"/>
            </a:xfrm>
            <a:custGeom>
              <a:avLst/>
              <a:gdLst>
                <a:gd name="T0" fmla="*/ 9 w 9"/>
                <a:gd name="T1" fmla="*/ 5 h 14"/>
                <a:gd name="T2" fmla="*/ 4 w 9"/>
                <a:gd name="T3" fmla="*/ 1 h 14"/>
                <a:gd name="T4" fmla="*/ 0 w 9"/>
                <a:gd name="T5" fmla="*/ 4 h 14"/>
                <a:gd name="T6" fmla="*/ 3 w 9"/>
                <a:gd name="T7" fmla="*/ 9 h 14"/>
                <a:gd name="T8" fmla="*/ 2 w 9"/>
                <a:gd name="T9" fmla="*/ 13 h 14"/>
                <a:gd name="T10" fmla="*/ 3 w 9"/>
                <a:gd name="T11" fmla="*/ 14 h 14"/>
                <a:gd name="T12" fmla="*/ 7 w 9"/>
                <a:gd name="T13" fmla="*/ 14 h 14"/>
                <a:gd name="T14" fmla="*/ 7 w 9"/>
                <a:gd name="T15" fmla="*/ 13 h 14"/>
                <a:gd name="T16" fmla="*/ 6 w 9"/>
                <a:gd name="T17" fmla="*/ 9 h 14"/>
                <a:gd name="T18" fmla="*/ 9 w 9"/>
                <a:gd name="T1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4">
                  <a:moveTo>
                    <a:pt x="9" y="5"/>
                  </a:moveTo>
                  <a:cubicBezTo>
                    <a:pt x="9" y="2"/>
                    <a:pt x="7" y="0"/>
                    <a:pt x="4" y="1"/>
                  </a:cubicBezTo>
                  <a:cubicBezTo>
                    <a:pt x="2" y="1"/>
                    <a:pt x="1" y="2"/>
                    <a:pt x="0" y="4"/>
                  </a:cubicBezTo>
                  <a:cubicBezTo>
                    <a:pt x="0" y="6"/>
                    <a:pt x="1" y="8"/>
                    <a:pt x="3" y="9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4"/>
                    <a:pt x="3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3"/>
                    <a:pt x="7" y="13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8"/>
                    <a:pt x="9" y="7"/>
                    <a:pt x="9" y="5"/>
                  </a:cubicBezTo>
                  <a:close/>
                </a:path>
              </a:pathLst>
            </a:custGeom>
            <a:solidFill>
              <a:srgbClr val="193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9" name="îṥļïḑê">
              <a:extLst>
                <a:ext uri="{FF2B5EF4-FFF2-40B4-BE49-F238E27FC236}">
                  <a16:creationId xmlns:a16="http://schemas.microsoft.com/office/drawing/2014/main" id="{13832323-EC9B-4A06-80C2-B5F867299CBF}"/>
                </a:ext>
              </a:extLst>
            </p:cNvPr>
            <p:cNvSpPr/>
            <p:nvPr/>
          </p:nvSpPr>
          <p:spPr bwMode="auto">
            <a:xfrm>
              <a:off x="7178675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0" name="îṧľïdé">
              <a:extLst>
                <a:ext uri="{FF2B5EF4-FFF2-40B4-BE49-F238E27FC236}">
                  <a16:creationId xmlns:a16="http://schemas.microsoft.com/office/drawing/2014/main" id="{F880DF02-8966-4DD5-A126-1E143EE5454F}"/>
                </a:ext>
              </a:extLst>
            </p:cNvPr>
            <p:cNvSpPr/>
            <p:nvPr/>
          </p:nvSpPr>
          <p:spPr bwMode="auto">
            <a:xfrm>
              <a:off x="6875463" y="3243263"/>
              <a:ext cx="79375" cy="4763"/>
            </a:xfrm>
            <a:prstGeom prst="rect">
              <a:avLst/>
            </a:prstGeom>
            <a:solidFill>
              <a:srgbClr val="FEC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1" name="íṡ1íḓè">
              <a:extLst>
                <a:ext uri="{FF2B5EF4-FFF2-40B4-BE49-F238E27FC236}">
                  <a16:creationId xmlns:a16="http://schemas.microsoft.com/office/drawing/2014/main" id="{902F0C2E-DC16-4F25-A78E-E63C482C03F0}"/>
                </a:ext>
              </a:extLst>
            </p:cNvPr>
            <p:cNvSpPr/>
            <p:nvPr/>
          </p:nvSpPr>
          <p:spPr bwMode="auto">
            <a:xfrm>
              <a:off x="6854825" y="3248025"/>
              <a:ext cx="452438" cy="96838"/>
            </a:xfrm>
            <a:custGeom>
              <a:avLst/>
              <a:gdLst>
                <a:gd name="T0" fmla="*/ 161 w 171"/>
                <a:gd name="T1" fmla="*/ 0 h 37"/>
                <a:gd name="T2" fmla="*/ 0 w 171"/>
                <a:gd name="T3" fmla="*/ 0 h 37"/>
                <a:gd name="T4" fmla="*/ 160 w 171"/>
                <a:gd name="T5" fmla="*/ 4 h 37"/>
                <a:gd name="T6" fmla="*/ 165 w 171"/>
                <a:gd name="T7" fmla="*/ 9 h 37"/>
                <a:gd name="T8" fmla="*/ 165 w 171"/>
                <a:gd name="T9" fmla="*/ 37 h 37"/>
                <a:gd name="T10" fmla="*/ 171 w 171"/>
                <a:gd name="T11" fmla="*/ 37 h 37"/>
                <a:gd name="T12" fmla="*/ 171 w 171"/>
                <a:gd name="T13" fmla="*/ 9 h 37"/>
                <a:gd name="T14" fmla="*/ 161 w 171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37">
                  <a:moveTo>
                    <a:pt x="16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3" y="4"/>
                    <a:pt x="165" y="6"/>
                    <a:pt x="165" y="9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71" y="9"/>
                    <a:pt x="171" y="9"/>
                    <a:pt x="171" y="9"/>
                  </a:cubicBezTo>
                  <a:cubicBezTo>
                    <a:pt x="171" y="4"/>
                    <a:pt x="166" y="0"/>
                    <a:pt x="161" y="0"/>
                  </a:cubicBezTo>
                  <a:close/>
                </a:path>
              </a:pathLst>
            </a:custGeom>
            <a:solidFill>
              <a:srgbClr val="FFE5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2" name="iślídê">
              <a:extLst>
                <a:ext uri="{FF2B5EF4-FFF2-40B4-BE49-F238E27FC236}">
                  <a16:creationId xmlns:a16="http://schemas.microsoft.com/office/drawing/2014/main" id="{2BD5387E-F147-4319-B830-E83AF8E1F299}"/>
                </a:ext>
              </a:extLst>
            </p:cNvPr>
            <p:cNvSpPr/>
            <p:nvPr/>
          </p:nvSpPr>
          <p:spPr bwMode="auto">
            <a:xfrm>
              <a:off x="6910388" y="3319463"/>
              <a:ext cx="23813" cy="25400"/>
            </a:xfrm>
            <a:custGeom>
              <a:avLst/>
              <a:gdLst>
                <a:gd name="T0" fmla="*/ 7 w 9"/>
                <a:gd name="T1" fmla="*/ 2 h 10"/>
                <a:gd name="T2" fmla="*/ 8 w 9"/>
                <a:gd name="T3" fmla="*/ 10 h 10"/>
                <a:gd name="T4" fmla="*/ 9 w 9"/>
                <a:gd name="T5" fmla="*/ 10 h 10"/>
                <a:gd name="T6" fmla="*/ 9 w 9"/>
                <a:gd name="T7" fmla="*/ 4 h 10"/>
                <a:gd name="T8" fmla="*/ 4 w 9"/>
                <a:gd name="T9" fmla="*/ 0 h 10"/>
                <a:gd name="T10" fmla="*/ 0 w 9"/>
                <a:gd name="T11" fmla="*/ 0 h 10"/>
                <a:gd name="T12" fmla="*/ 7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7" y="2"/>
                  </a:moveTo>
                  <a:cubicBezTo>
                    <a:pt x="8" y="3"/>
                    <a:pt x="8" y="5"/>
                    <a:pt x="8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1"/>
                    <a:pt x="7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1"/>
                    <a:pt x="7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3" name="íšḷíďe">
              <a:extLst>
                <a:ext uri="{FF2B5EF4-FFF2-40B4-BE49-F238E27FC236}">
                  <a16:creationId xmlns:a16="http://schemas.microsoft.com/office/drawing/2014/main" id="{2D5816A2-6B92-4781-AA47-3400DC18D885}"/>
                </a:ext>
              </a:extLst>
            </p:cNvPr>
            <p:cNvSpPr/>
            <p:nvPr/>
          </p:nvSpPr>
          <p:spPr bwMode="auto">
            <a:xfrm>
              <a:off x="7215188" y="3344863"/>
              <a:ext cx="20638" cy="26988"/>
            </a:xfrm>
            <a:custGeom>
              <a:avLst/>
              <a:gdLst>
                <a:gd name="T0" fmla="*/ 6 w 8"/>
                <a:gd name="T1" fmla="*/ 8 h 10"/>
                <a:gd name="T2" fmla="*/ 7 w 8"/>
                <a:gd name="T3" fmla="*/ 0 h 10"/>
                <a:gd name="T4" fmla="*/ 8 w 8"/>
                <a:gd name="T5" fmla="*/ 0 h 10"/>
                <a:gd name="T6" fmla="*/ 8 w 8"/>
                <a:gd name="T7" fmla="*/ 6 h 10"/>
                <a:gd name="T8" fmla="*/ 4 w 8"/>
                <a:gd name="T9" fmla="*/ 10 h 10"/>
                <a:gd name="T10" fmla="*/ 0 w 8"/>
                <a:gd name="T11" fmla="*/ 10 h 10"/>
                <a:gd name="T12" fmla="*/ 6 w 8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8"/>
                  </a:moveTo>
                  <a:cubicBezTo>
                    <a:pt x="7" y="7"/>
                    <a:pt x="7" y="5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9"/>
                    <a:pt x="6" y="10"/>
                    <a:pt x="4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10"/>
                    <a:pt x="5" y="9"/>
                    <a:pt x="6" y="8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4" name="íṧľíde">
              <a:extLst>
                <a:ext uri="{FF2B5EF4-FFF2-40B4-BE49-F238E27FC236}">
                  <a16:creationId xmlns:a16="http://schemas.microsoft.com/office/drawing/2014/main" id="{49A4A060-62AA-47A0-B672-F5C03DAD1E0E}"/>
                </a:ext>
              </a:extLst>
            </p:cNvPr>
            <p:cNvSpPr/>
            <p:nvPr/>
          </p:nvSpPr>
          <p:spPr bwMode="auto">
            <a:xfrm>
              <a:off x="7202488" y="3344863"/>
              <a:ext cx="33338" cy="7938"/>
            </a:xfrm>
            <a:prstGeom prst="rect">
              <a:avLst/>
            </a:prstGeom>
            <a:solidFill>
              <a:srgbClr val="002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5" name="îṩ1ïḍè">
              <a:extLst>
                <a:ext uri="{FF2B5EF4-FFF2-40B4-BE49-F238E27FC236}">
                  <a16:creationId xmlns:a16="http://schemas.microsoft.com/office/drawing/2014/main" id="{B6BB2011-CE29-4CAF-BF6F-4D1579862D4A}"/>
                </a:ext>
              </a:extLst>
            </p:cNvPr>
            <p:cNvSpPr/>
            <p:nvPr/>
          </p:nvSpPr>
          <p:spPr bwMode="auto">
            <a:xfrm>
              <a:off x="7215188" y="3319463"/>
              <a:ext cx="20638" cy="25400"/>
            </a:xfrm>
            <a:custGeom>
              <a:avLst/>
              <a:gdLst>
                <a:gd name="T0" fmla="*/ 6 w 8"/>
                <a:gd name="T1" fmla="*/ 2 h 10"/>
                <a:gd name="T2" fmla="*/ 7 w 8"/>
                <a:gd name="T3" fmla="*/ 10 h 10"/>
                <a:gd name="T4" fmla="*/ 8 w 8"/>
                <a:gd name="T5" fmla="*/ 10 h 10"/>
                <a:gd name="T6" fmla="*/ 8 w 8"/>
                <a:gd name="T7" fmla="*/ 4 h 10"/>
                <a:gd name="T8" fmla="*/ 4 w 8"/>
                <a:gd name="T9" fmla="*/ 0 h 10"/>
                <a:gd name="T10" fmla="*/ 0 w 8"/>
                <a:gd name="T11" fmla="*/ 0 h 10"/>
                <a:gd name="T12" fmla="*/ 6 w 8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6" y="2"/>
                  </a:moveTo>
                  <a:cubicBezTo>
                    <a:pt x="7" y="3"/>
                    <a:pt x="7" y="5"/>
                    <a:pt x="7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solidFill>
              <a:srgbClr val="394E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6" name="ïṥ1íḋê">
              <a:extLst>
                <a:ext uri="{FF2B5EF4-FFF2-40B4-BE49-F238E27FC236}">
                  <a16:creationId xmlns:a16="http://schemas.microsoft.com/office/drawing/2014/main" id="{50B9730D-A355-4FBF-8AFD-4AAA92E99C6D}"/>
                </a:ext>
              </a:extLst>
            </p:cNvPr>
            <p:cNvSpPr/>
            <p:nvPr/>
          </p:nvSpPr>
          <p:spPr bwMode="auto">
            <a:xfrm>
              <a:off x="6981825" y="3173413"/>
              <a:ext cx="173038" cy="34925"/>
            </a:xfrm>
            <a:custGeom>
              <a:avLst/>
              <a:gdLst>
                <a:gd name="T0" fmla="*/ 54 w 65"/>
                <a:gd name="T1" fmla="*/ 0 h 13"/>
                <a:gd name="T2" fmla="*/ 11 w 65"/>
                <a:gd name="T3" fmla="*/ 0 h 13"/>
                <a:gd name="T4" fmla="*/ 0 w 65"/>
                <a:gd name="T5" fmla="*/ 11 h 13"/>
                <a:gd name="T6" fmla="*/ 0 w 65"/>
                <a:gd name="T7" fmla="*/ 13 h 13"/>
                <a:gd name="T8" fmla="*/ 10 w 65"/>
                <a:gd name="T9" fmla="*/ 3 h 13"/>
                <a:gd name="T10" fmla="*/ 55 w 65"/>
                <a:gd name="T11" fmla="*/ 3 h 13"/>
                <a:gd name="T12" fmla="*/ 65 w 65"/>
                <a:gd name="T13" fmla="*/ 13 h 13"/>
                <a:gd name="T14" fmla="*/ 65 w 65"/>
                <a:gd name="T15" fmla="*/ 11 h 13"/>
                <a:gd name="T16" fmla="*/ 54 w 65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3">
                  <a:moveTo>
                    <a:pt x="5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"/>
                    <a:pt x="5" y="3"/>
                    <a:pt x="10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61" y="3"/>
                    <a:pt x="65" y="8"/>
                    <a:pt x="65" y="13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5"/>
                    <a:pt x="60" y="0"/>
                    <a:pt x="54" y="0"/>
                  </a:cubicBezTo>
                  <a:close/>
                </a:path>
              </a:pathLst>
            </a:custGeom>
            <a:solidFill>
              <a:srgbClr val="BAC4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7" name="îṣ1idé">
              <a:extLst>
                <a:ext uri="{FF2B5EF4-FFF2-40B4-BE49-F238E27FC236}">
                  <a16:creationId xmlns:a16="http://schemas.microsoft.com/office/drawing/2014/main" id="{492C446C-C357-44B6-924A-4C4C134F6FD1}"/>
                </a:ext>
              </a:extLst>
            </p:cNvPr>
            <p:cNvSpPr/>
            <p:nvPr/>
          </p:nvSpPr>
          <p:spPr bwMode="auto">
            <a:xfrm>
              <a:off x="6251575" y="1531938"/>
              <a:ext cx="25400" cy="12065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8" name="iśľïḑé">
              <a:extLst>
                <a:ext uri="{FF2B5EF4-FFF2-40B4-BE49-F238E27FC236}">
                  <a16:creationId xmlns:a16="http://schemas.microsoft.com/office/drawing/2014/main" id="{8C98EEBC-0B81-4A7B-988C-0D726DCCEFAA}"/>
                </a:ext>
              </a:extLst>
            </p:cNvPr>
            <p:cNvSpPr/>
            <p:nvPr/>
          </p:nvSpPr>
          <p:spPr bwMode="auto">
            <a:xfrm>
              <a:off x="5978525" y="1222375"/>
              <a:ext cx="2343150" cy="247650"/>
            </a:xfrm>
            <a:custGeom>
              <a:avLst/>
              <a:gdLst>
                <a:gd name="T0" fmla="*/ 1476 w 1476"/>
                <a:gd name="T1" fmla="*/ 156 h 156"/>
                <a:gd name="T2" fmla="*/ 0 w 1476"/>
                <a:gd name="T3" fmla="*/ 156 h 156"/>
                <a:gd name="T4" fmla="*/ 202 w 1476"/>
                <a:gd name="T5" fmla="*/ 0 h 156"/>
                <a:gd name="T6" fmla="*/ 1476 w 1476"/>
                <a:gd name="T7" fmla="*/ 0 h 156"/>
                <a:gd name="T8" fmla="*/ 1476 w 1476"/>
                <a:gd name="T9" fmla="*/ 156 h 156"/>
                <a:gd name="T10" fmla="*/ 50 w 1476"/>
                <a:gd name="T11" fmla="*/ 140 h 156"/>
                <a:gd name="T12" fmla="*/ 1460 w 1476"/>
                <a:gd name="T13" fmla="*/ 140 h 156"/>
                <a:gd name="T14" fmla="*/ 1460 w 1476"/>
                <a:gd name="T15" fmla="*/ 16 h 156"/>
                <a:gd name="T16" fmla="*/ 208 w 1476"/>
                <a:gd name="T17" fmla="*/ 16 h 156"/>
                <a:gd name="T18" fmla="*/ 50 w 1476"/>
                <a:gd name="T19" fmla="*/ 14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56">
                  <a:moveTo>
                    <a:pt x="1476" y="156"/>
                  </a:moveTo>
                  <a:lnTo>
                    <a:pt x="0" y="156"/>
                  </a:lnTo>
                  <a:lnTo>
                    <a:pt x="202" y="0"/>
                  </a:lnTo>
                  <a:lnTo>
                    <a:pt x="1476" y="0"/>
                  </a:lnTo>
                  <a:lnTo>
                    <a:pt x="1476" y="156"/>
                  </a:lnTo>
                  <a:close/>
                  <a:moveTo>
                    <a:pt x="50" y="140"/>
                  </a:moveTo>
                  <a:lnTo>
                    <a:pt x="1460" y="140"/>
                  </a:lnTo>
                  <a:lnTo>
                    <a:pt x="1460" y="16"/>
                  </a:lnTo>
                  <a:lnTo>
                    <a:pt x="208" y="16"/>
                  </a:lnTo>
                  <a:lnTo>
                    <a:pt x="50" y="14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9" name="iśḻíḍè">
              <a:extLst>
                <a:ext uri="{FF2B5EF4-FFF2-40B4-BE49-F238E27FC236}">
                  <a16:creationId xmlns:a16="http://schemas.microsoft.com/office/drawing/2014/main" id="{F68F5C6A-DA1B-4F68-B2DA-6648FE0C58EA}"/>
                </a:ext>
              </a:extLst>
            </p:cNvPr>
            <p:cNvSpPr/>
            <p:nvPr/>
          </p:nvSpPr>
          <p:spPr bwMode="auto">
            <a:xfrm>
              <a:off x="7535863" y="40497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1 h 150"/>
                <a:gd name="T12" fmla="*/ 297 w 315"/>
                <a:gd name="T13" fmla="*/ 131 h 150"/>
                <a:gd name="T14" fmla="*/ 297 w 315"/>
                <a:gd name="T15" fmla="*/ 16 h 150"/>
                <a:gd name="T16" fmla="*/ 17 w 315"/>
                <a:gd name="T17" fmla="*/ 16 h 150"/>
                <a:gd name="T18" fmla="*/ 17 w 315"/>
                <a:gd name="T19" fmla="*/ 1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1"/>
                  </a:moveTo>
                  <a:lnTo>
                    <a:pt x="297" y="131"/>
                  </a:lnTo>
                  <a:lnTo>
                    <a:pt x="297" y="16"/>
                  </a:lnTo>
                  <a:lnTo>
                    <a:pt x="17" y="16"/>
                  </a:lnTo>
                  <a:lnTo>
                    <a:pt x="17" y="131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0" name="išľïḓe">
              <a:extLst>
                <a:ext uri="{FF2B5EF4-FFF2-40B4-BE49-F238E27FC236}">
                  <a16:creationId xmlns:a16="http://schemas.microsoft.com/office/drawing/2014/main" id="{9C5264C4-1F6F-475F-8D5A-683715EB72CB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6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1" name="íṩḻîḍé">
              <a:extLst>
                <a:ext uri="{FF2B5EF4-FFF2-40B4-BE49-F238E27FC236}">
                  <a16:creationId xmlns:a16="http://schemas.microsoft.com/office/drawing/2014/main" id="{98DD7F63-21FD-404E-A7E1-631F274446F5}"/>
                </a:ext>
              </a:extLst>
            </p:cNvPr>
            <p:cNvSpPr/>
            <p:nvPr/>
          </p:nvSpPr>
          <p:spPr bwMode="auto">
            <a:xfrm>
              <a:off x="7543800" y="4049713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6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2" name="îşļïḑè">
              <a:extLst>
                <a:ext uri="{FF2B5EF4-FFF2-40B4-BE49-F238E27FC236}">
                  <a16:creationId xmlns:a16="http://schemas.microsoft.com/office/drawing/2014/main" id="{37F21F30-6CA2-4D8B-8DB3-6C90B484A75F}"/>
                </a:ext>
              </a:extLst>
            </p:cNvPr>
            <p:cNvSpPr/>
            <p:nvPr/>
          </p:nvSpPr>
          <p:spPr bwMode="auto">
            <a:xfrm>
              <a:off x="7535863" y="383698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4 h 150"/>
                <a:gd name="T12" fmla="*/ 297 w 315"/>
                <a:gd name="T13" fmla="*/ 134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4"/>
                  </a:moveTo>
                  <a:lnTo>
                    <a:pt x="297" y="134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3" name="ï$ḷïḍé">
              <a:extLst>
                <a:ext uri="{FF2B5EF4-FFF2-40B4-BE49-F238E27FC236}">
                  <a16:creationId xmlns:a16="http://schemas.microsoft.com/office/drawing/2014/main" id="{D2B49452-9FD8-4A09-B463-DC5AD1E422A3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4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4" name="îšḻíḑe">
              <a:extLst>
                <a:ext uri="{FF2B5EF4-FFF2-40B4-BE49-F238E27FC236}">
                  <a16:creationId xmlns:a16="http://schemas.microsoft.com/office/drawing/2014/main" id="{B3995B82-8FE2-4BE4-9BC7-51D6DFF6442C}"/>
                </a:ext>
              </a:extLst>
            </p:cNvPr>
            <p:cNvSpPr/>
            <p:nvPr/>
          </p:nvSpPr>
          <p:spPr bwMode="auto">
            <a:xfrm>
              <a:off x="7543800" y="383698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4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5" name="îṥ1ïḋè">
              <a:extLst>
                <a:ext uri="{FF2B5EF4-FFF2-40B4-BE49-F238E27FC236}">
                  <a16:creationId xmlns:a16="http://schemas.microsoft.com/office/drawing/2014/main" id="{266DA65E-52F9-49AD-904A-7E500198A787}"/>
                </a:ext>
              </a:extLst>
            </p:cNvPr>
            <p:cNvSpPr/>
            <p:nvPr/>
          </p:nvSpPr>
          <p:spPr bwMode="auto">
            <a:xfrm>
              <a:off x="7535863" y="36258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6" name="îṧḻïďé">
              <a:extLst>
                <a:ext uri="{FF2B5EF4-FFF2-40B4-BE49-F238E27FC236}">
                  <a16:creationId xmlns:a16="http://schemas.microsoft.com/office/drawing/2014/main" id="{57EC744B-5EB6-45B0-8D2B-47A7D70E144F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7" name="îṡḻïḋé">
              <a:extLst>
                <a:ext uri="{FF2B5EF4-FFF2-40B4-BE49-F238E27FC236}">
                  <a16:creationId xmlns:a16="http://schemas.microsoft.com/office/drawing/2014/main" id="{EFB7552C-D207-4087-ABFB-9C8D09F38881}"/>
                </a:ext>
              </a:extLst>
            </p:cNvPr>
            <p:cNvSpPr/>
            <p:nvPr/>
          </p:nvSpPr>
          <p:spPr bwMode="auto">
            <a:xfrm>
              <a:off x="7543800" y="3629025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8" name="i$ḷîḍe">
              <a:extLst>
                <a:ext uri="{FF2B5EF4-FFF2-40B4-BE49-F238E27FC236}">
                  <a16:creationId xmlns:a16="http://schemas.microsoft.com/office/drawing/2014/main" id="{4CA6561D-7E59-43B6-9EAC-9D88AF653998}"/>
                </a:ext>
              </a:extLst>
            </p:cNvPr>
            <p:cNvSpPr/>
            <p:nvPr/>
          </p:nvSpPr>
          <p:spPr bwMode="auto">
            <a:xfrm>
              <a:off x="7535863" y="34163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9" name="íśļîḍê">
              <a:extLst>
                <a:ext uri="{FF2B5EF4-FFF2-40B4-BE49-F238E27FC236}">
                  <a16:creationId xmlns:a16="http://schemas.microsoft.com/office/drawing/2014/main" id="{C62F5C54-3C24-4ED9-8ED3-3CB49062CAFF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0" name="íšḷïdê">
              <a:extLst>
                <a:ext uri="{FF2B5EF4-FFF2-40B4-BE49-F238E27FC236}">
                  <a16:creationId xmlns:a16="http://schemas.microsoft.com/office/drawing/2014/main" id="{299E842A-4867-4A07-9605-7F141F09817B}"/>
                </a:ext>
              </a:extLst>
            </p:cNvPr>
            <p:cNvSpPr/>
            <p:nvPr/>
          </p:nvSpPr>
          <p:spPr bwMode="auto">
            <a:xfrm>
              <a:off x="7543800" y="3416300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1" name="íŝḷíḍê">
              <a:extLst>
                <a:ext uri="{FF2B5EF4-FFF2-40B4-BE49-F238E27FC236}">
                  <a16:creationId xmlns:a16="http://schemas.microsoft.com/office/drawing/2014/main" id="{E9E7BDDB-7B15-450F-B3CC-3BED0E9DC7F4}"/>
                </a:ext>
              </a:extLst>
            </p:cNvPr>
            <p:cNvSpPr/>
            <p:nvPr/>
          </p:nvSpPr>
          <p:spPr bwMode="auto">
            <a:xfrm>
              <a:off x="7535863" y="320516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2" name="íSliḋe">
              <a:extLst>
                <a:ext uri="{FF2B5EF4-FFF2-40B4-BE49-F238E27FC236}">
                  <a16:creationId xmlns:a16="http://schemas.microsoft.com/office/drawing/2014/main" id="{56E76DB4-1B6B-49EF-930F-6A3635FFDE83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3" name="ïṣļíḍè">
              <a:extLst>
                <a:ext uri="{FF2B5EF4-FFF2-40B4-BE49-F238E27FC236}">
                  <a16:creationId xmlns:a16="http://schemas.microsoft.com/office/drawing/2014/main" id="{1FAF872C-7CDF-4A6E-BCC6-CCA52E804F25}"/>
                </a:ext>
              </a:extLst>
            </p:cNvPr>
            <p:cNvSpPr/>
            <p:nvPr/>
          </p:nvSpPr>
          <p:spPr bwMode="auto">
            <a:xfrm>
              <a:off x="7543800" y="320516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4" name="íş1ïḍê">
              <a:extLst>
                <a:ext uri="{FF2B5EF4-FFF2-40B4-BE49-F238E27FC236}">
                  <a16:creationId xmlns:a16="http://schemas.microsoft.com/office/drawing/2014/main" id="{538BBDBD-E780-44ED-8CD3-B249AF1F55E5}"/>
                </a:ext>
              </a:extLst>
            </p:cNvPr>
            <p:cNvSpPr/>
            <p:nvPr/>
          </p:nvSpPr>
          <p:spPr bwMode="auto">
            <a:xfrm>
              <a:off x="7535863" y="299402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5" name="ïšľïḑe">
              <a:extLst>
                <a:ext uri="{FF2B5EF4-FFF2-40B4-BE49-F238E27FC236}">
                  <a16:creationId xmlns:a16="http://schemas.microsoft.com/office/drawing/2014/main" id="{B51D1FE4-E848-47C0-B8F2-FA1536343551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5 h 148"/>
                <a:gd name="T4" fmla="*/ 7 w 305"/>
                <a:gd name="T5" fmla="*/ 0 h 148"/>
                <a:gd name="T6" fmla="*/ 305 w 305"/>
                <a:gd name="T7" fmla="*/ 131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1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6" name="îṧliḑé">
              <a:extLst>
                <a:ext uri="{FF2B5EF4-FFF2-40B4-BE49-F238E27FC236}">
                  <a16:creationId xmlns:a16="http://schemas.microsoft.com/office/drawing/2014/main" id="{6442ED25-6220-4F47-8BC1-91B7360C6D37}"/>
                </a:ext>
              </a:extLst>
            </p:cNvPr>
            <p:cNvSpPr/>
            <p:nvPr/>
          </p:nvSpPr>
          <p:spPr bwMode="auto">
            <a:xfrm>
              <a:off x="7543800" y="299720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1 h 148"/>
                <a:gd name="T4" fmla="*/ 298 w 305"/>
                <a:gd name="T5" fmla="*/ 0 h 148"/>
                <a:gd name="T6" fmla="*/ 305 w 305"/>
                <a:gd name="T7" fmla="*/ 15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1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7" name="ïṧḻiḋè">
              <a:extLst>
                <a:ext uri="{FF2B5EF4-FFF2-40B4-BE49-F238E27FC236}">
                  <a16:creationId xmlns:a16="http://schemas.microsoft.com/office/drawing/2014/main" id="{6FD82E2E-3802-4A79-A973-A139F68F39D2}"/>
                </a:ext>
              </a:extLst>
            </p:cNvPr>
            <p:cNvSpPr/>
            <p:nvPr/>
          </p:nvSpPr>
          <p:spPr bwMode="auto">
            <a:xfrm>
              <a:off x="7535863" y="2784475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8" name="ïśḻíḓê">
              <a:extLst>
                <a:ext uri="{FF2B5EF4-FFF2-40B4-BE49-F238E27FC236}">
                  <a16:creationId xmlns:a16="http://schemas.microsoft.com/office/drawing/2014/main" id="{7486AEDB-72F0-4ABC-A63F-8719B28C071A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7 h 149"/>
                <a:gd name="T4" fmla="*/ 7 w 305"/>
                <a:gd name="T5" fmla="*/ 0 h 149"/>
                <a:gd name="T6" fmla="*/ 305 w 305"/>
                <a:gd name="T7" fmla="*/ 134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4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9" name="íşľíḑe">
              <a:extLst>
                <a:ext uri="{FF2B5EF4-FFF2-40B4-BE49-F238E27FC236}">
                  <a16:creationId xmlns:a16="http://schemas.microsoft.com/office/drawing/2014/main" id="{9757F853-4BC5-43D1-8685-E8ACD40409B7}"/>
                </a:ext>
              </a:extLst>
            </p:cNvPr>
            <p:cNvSpPr/>
            <p:nvPr/>
          </p:nvSpPr>
          <p:spPr bwMode="auto">
            <a:xfrm>
              <a:off x="7543800" y="2784475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4 h 149"/>
                <a:gd name="T4" fmla="*/ 298 w 305"/>
                <a:gd name="T5" fmla="*/ 0 h 149"/>
                <a:gd name="T6" fmla="*/ 305 w 305"/>
                <a:gd name="T7" fmla="*/ 17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4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0" name="îṩľïḍè">
              <a:extLst>
                <a:ext uri="{FF2B5EF4-FFF2-40B4-BE49-F238E27FC236}">
                  <a16:creationId xmlns:a16="http://schemas.microsoft.com/office/drawing/2014/main" id="{FFC79EC3-62C3-44CB-9120-4A0FC38B0B69}"/>
                </a:ext>
              </a:extLst>
            </p:cNvPr>
            <p:cNvSpPr/>
            <p:nvPr/>
          </p:nvSpPr>
          <p:spPr bwMode="auto">
            <a:xfrm>
              <a:off x="7535863" y="2573338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1" name="íṡļiḑè">
              <a:extLst>
                <a:ext uri="{FF2B5EF4-FFF2-40B4-BE49-F238E27FC236}">
                  <a16:creationId xmlns:a16="http://schemas.microsoft.com/office/drawing/2014/main" id="{E7B67540-80E8-4FBD-8D62-CB766D04D0E1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7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2" name="ïŝ1iḍé">
              <a:extLst>
                <a:ext uri="{FF2B5EF4-FFF2-40B4-BE49-F238E27FC236}">
                  <a16:creationId xmlns:a16="http://schemas.microsoft.com/office/drawing/2014/main" id="{48E1B3F8-7596-43C1-9F00-A5AB21481678}"/>
                </a:ext>
              </a:extLst>
            </p:cNvPr>
            <p:cNvSpPr/>
            <p:nvPr/>
          </p:nvSpPr>
          <p:spPr bwMode="auto">
            <a:xfrm>
              <a:off x="7543800" y="2573338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7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3" name="î$ḷïde">
              <a:extLst>
                <a:ext uri="{FF2B5EF4-FFF2-40B4-BE49-F238E27FC236}">
                  <a16:creationId xmlns:a16="http://schemas.microsoft.com/office/drawing/2014/main" id="{01B36387-0A18-4E19-8033-6F4948FAE008}"/>
                </a:ext>
              </a:extLst>
            </p:cNvPr>
            <p:cNvSpPr/>
            <p:nvPr/>
          </p:nvSpPr>
          <p:spPr bwMode="auto">
            <a:xfrm>
              <a:off x="7535863" y="236220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4" name="ïṡ1îḓé">
              <a:extLst>
                <a:ext uri="{FF2B5EF4-FFF2-40B4-BE49-F238E27FC236}">
                  <a16:creationId xmlns:a16="http://schemas.microsoft.com/office/drawing/2014/main" id="{EA56C0F1-696C-498E-9146-EBDEB0B6AC52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298 w 305"/>
                <a:gd name="T1" fmla="*/ 149 h 149"/>
                <a:gd name="T2" fmla="*/ 0 w 305"/>
                <a:gd name="T3" fmla="*/ 15 h 149"/>
                <a:gd name="T4" fmla="*/ 7 w 305"/>
                <a:gd name="T5" fmla="*/ 0 h 149"/>
                <a:gd name="T6" fmla="*/ 305 w 305"/>
                <a:gd name="T7" fmla="*/ 132 h 149"/>
                <a:gd name="T8" fmla="*/ 298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298" y="149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305" y="132"/>
                  </a:lnTo>
                  <a:lnTo>
                    <a:pt x="298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5" name="îśliḍe">
              <a:extLst>
                <a:ext uri="{FF2B5EF4-FFF2-40B4-BE49-F238E27FC236}">
                  <a16:creationId xmlns:a16="http://schemas.microsoft.com/office/drawing/2014/main" id="{3800661C-E486-4CB9-8C40-FC2C39520C6C}"/>
                </a:ext>
              </a:extLst>
            </p:cNvPr>
            <p:cNvSpPr/>
            <p:nvPr/>
          </p:nvSpPr>
          <p:spPr bwMode="auto">
            <a:xfrm>
              <a:off x="7543800" y="2363788"/>
              <a:ext cx="484188" cy="236538"/>
            </a:xfrm>
            <a:custGeom>
              <a:avLst/>
              <a:gdLst>
                <a:gd name="T0" fmla="*/ 7 w 305"/>
                <a:gd name="T1" fmla="*/ 149 h 149"/>
                <a:gd name="T2" fmla="*/ 0 w 305"/>
                <a:gd name="T3" fmla="*/ 132 h 149"/>
                <a:gd name="T4" fmla="*/ 298 w 305"/>
                <a:gd name="T5" fmla="*/ 0 h 149"/>
                <a:gd name="T6" fmla="*/ 305 w 305"/>
                <a:gd name="T7" fmla="*/ 15 h 149"/>
                <a:gd name="T8" fmla="*/ 7 w 305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9">
                  <a:moveTo>
                    <a:pt x="7" y="149"/>
                  </a:moveTo>
                  <a:lnTo>
                    <a:pt x="0" y="132"/>
                  </a:lnTo>
                  <a:lnTo>
                    <a:pt x="298" y="0"/>
                  </a:lnTo>
                  <a:lnTo>
                    <a:pt x="305" y="15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6" name="iSľíḓê">
              <a:extLst>
                <a:ext uri="{FF2B5EF4-FFF2-40B4-BE49-F238E27FC236}">
                  <a16:creationId xmlns:a16="http://schemas.microsoft.com/office/drawing/2014/main" id="{1CCE88FE-A292-4667-8DCD-DA2F8E7570B1}"/>
                </a:ext>
              </a:extLst>
            </p:cNvPr>
            <p:cNvSpPr/>
            <p:nvPr/>
          </p:nvSpPr>
          <p:spPr bwMode="auto">
            <a:xfrm>
              <a:off x="7535863" y="2152650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2 h 150"/>
                <a:gd name="T12" fmla="*/ 297 w 315"/>
                <a:gd name="T13" fmla="*/ 132 h 150"/>
                <a:gd name="T14" fmla="*/ 297 w 315"/>
                <a:gd name="T15" fmla="*/ 17 h 150"/>
                <a:gd name="T16" fmla="*/ 17 w 315"/>
                <a:gd name="T17" fmla="*/ 17 h 150"/>
                <a:gd name="T18" fmla="*/ 17 w 315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2"/>
                  </a:moveTo>
                  <a:lnTo>
                    <a:pt x="297" y="132"/>
                  </a:lnTo>
                  <a:lnTo>
                    <a:pt x="297" y="17"/>
                  </a:lnTo>
                  <a:lnTo>
                    <a:pt x="17" y="17"/>
                  </a:lnTo>
                  <a:lnTo>
                    <a:pt x="17" y="132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7" name="ïṣḷîḓe">
              <a:extLst>
                <a:ext uri="{FF2B5EF4-FFF2-40B4-BE49-F238E27FC236}">
                  <a16:creationId xmlns:a16="http://schemas.microsoft.com/office/drawing/2014/main" id="{99182EA6-2640-425E-9C65-43A3E3C4099C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298 w 305"/>
                <a:gd name="T1" fmla="*/ 148 h 148"/>
                <a:gd name="T2" fmla="*/ 0 w 305"/>
                <a:gd name="T3" fmla="*/ 17 h 148"/>
                <a:gd name="T4" fmla="*/ 7 w 305"/>
                <a:gd name="T5" fmla="*/ 0 h 148"/>
                <a:gd name="T6" fmla="*/ 305 w 305"/>
                <a:gd name="T7" fmla="*/ 133 h 148"/>
                <a:gd name="T8" fmla="*/ 298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298" y="148"/>
                  </a:moveTo>
                  <a:lnTo>
                    <a:pt x="0" y="17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8" name="î$ļïďè">
              <a:extLst>
                <a:ext uri="{FF2B5EF4-FFF2-40B4-BE49-F238E27FC236}">
                  <a16:creationId xmlns:a16="http://schemas.microsoft.com/office/drawing/2014/main" id="{7B666BF0-ECB2-4423-A42C-A8E01155E537}"/>
                </a:ext>
              </a:extLst>
            </p:cNvPr>
            <p:cNvSpPr/>
            <p:nvPr/>
          </p:nvSpPr>
          <p:spPr bwMode="auto">
            <a:xfrm>
              <a:off x="7543800" y="2152650"/>
              <a:ext cx="484188" cy="234950"/>
            </a:xfrm>
            <a:custGeom>
              <a:avLst/>
              <a:gdLst>
                <a:gd name="T0" fmla="*/ 7 w 305"/>
                <a:gd name="T1" fmla="*/ 148 h 148"/>
                <a:gd name="T2" fmla="*/ 0 w 305"/>
                <a:gd name="T3" fmla="*/ 133 h 148"/>
                <a:gd name="T4" fmla="*/ 298 w 305"/>
                <a:gd name="T5" fmla="*/ 0 h 148"/>
                <a:gd name="T6" fmla="*/ 305 w 305"/>
                <a:gd name="T7" fmla="*/ 17 h 148"/>
                <a:gd name="T8" fmla="*/ 7 w 3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48">
                  <a:moveTo>
                    <a:pt x="7" y="148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7"/>
                  </a:lnTo>
                  <a:lnTo>
                    <a:pt x="7" y="148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9" name="íšliḓe">
              <a:extLst>
                <a:ext uri="{FF2B5EF4-FFF2-40B4-BE49-F238E27FC236}">
                  <a16:creationId xmlns:a16="http://schemas.microsoft.com/office/drawing/2014/main" id="{E3F2A0E8-ECAC-496B-9B21-B0FA66903A26}"/>
                </a:ext>
              </a:extLst>
            </p:cNvPr>
            <p:cNvSpPr/>
            <p:nvPr/>
          </p:nvSpPr>
          <p:spPr bwMode="auto">
            <a:xfrm>
              <a:off x="7535863" y="1941513"/>
              <a:ext cx="500063" cy="238125"/>
            </a:xfrm>
            <a:custGeom>
              <a:avLst/>
              <a:gdLst>
                <a:gd name="T0" fmla="*/ 315 w 315"/>
                <a:gd name="T1" fmla="*/ 150 h 150"/>
                <a:gd name="T2" fmla="*/ 0 w 315"/>
                <a:gd name="T3" fmla="*/ 150 h 150"/>
                <a:gd name="T4" fmla="*/ 0 w 315"/>
                <a:gd name="T5" fmla="*/ 0 h 150"/>
                <a:gd name="T6" fmla="*/ 315 w 315"/>
                <a:gd name="T7" fmla="*/ 0 h 150"/>
                <a:gd name="T8" fmla="*/ 315 w 315"/>
                <a:gd name="T9" fmla="*/ 150 h 150"/>
                <a:gd name="T10" fmla="*/ 17 w 315"/>
                <a:gd name="T11" fmla="*/ 133 h 150"/>
                <a:gd name="T12" fmla="*/ 297 w 315"/>
                <a:gd name="T13" fmla="*/ 133 h 150"/>
                <a:gd name="T14" fmla="*/ 297 w 315"/>
                <a:gd name="T15" fmla="*/ 18 h 150"/>
                <a:gd name="T16" fmla="*/ 17 w 315"/>
                <a:gd name="T17" fmla="*/ 18 h 150"/>
                <a:gd name="T18" fmla="*/ 17 w 315"/>
                <a:gd name="T19" fmla="*/ 1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5" h="150">
                  <a:moveTo>
                    <a:pt x="315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315" y="150"/>
                  </a:lnTo>
                  <a:close/>
                  <a:moveTo>
                    <a:pt x="17" y="133"/>
                  </a:moveTo>
                  <a:lnTo>
                    <a:pt x="297" y="133"/>
                  </a:lnTo>
                  <a:lnTo>
                    <a:pt x="297" y="18"/>
                  </a:lnTo>
                  <a:lnTo>
                    <a:pt x="17" y="18"/>
                  </a:lnTo>
                  <a:lnTo>
                    <a:pt x="17" y="133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0" name="íṧḷïḑe">
              <a:extLst>
                <a:ext uri="{FF2B5EF4-FFF2-40B4-BE49-F238E27FC236}">
                  <a16:creationId xmlns:a16="http://schemas.microsoft.com/office/drawing/2014/main" id="{D4D85031-F789-448A-96C3-37F2DADE6F79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298 w 305"/>
                <a:gd name="T1" fmla="*/ 150 h 150"/>
                <a:gd name="T2" fmla="*/ 0 w 305"/>
                <a:gd name="T3" fmla="*/ 16 h 150"/>
                <a:gd name="T4" fmla="*/ 7 w 305"/>
                <a:gd name="T5" fmla="*/ 0 h 150"/>
                <a:gd name="T6" fmla="*/ 305 w 305"/>
                <a:gd name="T7" fmla="*/ 133 h 150"/>
                <a:gd name="T8" fmla="*/ 298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298" y="150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305" y="133"/>
                  </a:lnTo>
                  <a:lnTo>
                    <a:pt x="298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1" name="iṧľiďè">
              <a:extLst>
                <a:ext uri="{FF2B5EF4-FFF2-40B4-BE49-F238E27FC236}">
                  <a16:creationId xmlns:a16="http://schemas.microsoft.com/office/drawing/2014/main" id="{9ECE2F13-8387-46F7-B6A0-6CDD3C11F412}"/>
                </a:ext>
              </a:extLst>
            </p:cNvPr>
            <p:cNvSpPr/>
            <p:nvPr/>
          </p:nvSpPr>
          <p:spPr bwMode="auto">
            <a:xfrm>
              <a:off x="7543800" y="1941513"/>
              <a:ext cx="484188" cy="238125"/>
            </a:xfrm>
            <a:custGeom>
              <a:avLst/>
              <a:gdLst>
                <a:gd name="T0" fmla="*/ 7 w 305"/>
                <a:gd name="T1" fmla="*/ 150 h 150"/>
                <a:gd name="T2" fmla="*/ 0 w 305"/>
                <a:gd name="T3" fmla="*/ 133 h 150"/>
                <a:gd name="T4" fmla="*/ 298 w 305"/>
                <a:gd name="T5" fmla="*/ 0 h 150"/>
                <a:gd name="T6" fmla="*/ 305 w 305"/>
                <a:gd name="T7" fmla="*/ 16 h 150"/>
                <a:gd name="T8" fmla="*/ 7 w 305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150">
                  <a:moveTo>
                    <a:pt x="7" y="150"/>
                  </a:moveTo>
                  <a:lnTo>
                    <a:pt x="0" y="133"/>
                  </a:lnTo>
                  <a:lnTo>
                    <a:pt x="298" y="0"/>
                  </a:lnTo>
                  <a:lnTo>
                    <a:pt x="305" y="16"/>
                  </a:lnTo>
                  <a:lnTo>
                    <a:pt x="7" y="15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2" name="íSļïďé">
              <a:extLst>
                <a:ext uri="{FF2B5EF4-FFF2-40B4-BE49-F238E27FC236}">
                  <a16:creationId xmlns:a16="http://schemas.microsoft.com/office/drawing/2014/main" id="{86E6E65E-D7C7-49D3-A1B6-CA356AD74424}"/>
                </a:ext>
              </a:extLst>
            </p:cNvPr>
            <p:cNvSpPr/>
            <p:nvPr/>
          </p:nvSpPr>
          <p:spPr bwMode="auto">
            <a:xfrm>
              <a:off x="7416800" y="1470025"/>
              <a:ext cx="736600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3" name="íṩļiďè">
              <a:extLst>
                <a:ext uri="{FF2B5EF4-FFF2-40B4-BE49-F238E27FC236}">
                  <a16:creationId xmlns:a16="http://schemas.microsoft.com/office/drawing/2014/main" id="{0CCC46F6-AD95-4E4C-8383-98FAD6E08E0A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4" name="iṧľïḑé">
              <a:extLst>
                <a:ext uri="{FF2B5EF4-FFF2-40B4-BE49-F238E27FC236}">
                  <a16:creationId xmlns:a16="http://schemas.microsoft.com/office/drawing/2014/main" id="{6A02C9ED-48D6-4CDE-B67D-371904FDDE21}"/>
                </a:ext>
              </a:extLst>
            </p:cNvPr>
            <p:cNvSpPr/>
            <p:nvPr/>
          </p:nvSpPr>
          <p:spPr bwMode="auto">
            <a:xfrm>
              <a:off x="7416800" y="1827213"/>
              <a:ext cx="736600" cy="127000"/>
            </a:xfrm>
            <a:custGeom>
              <a:avLst/>
              <a:gdLst>
                <a:gd name="T0" fmla="*/ 0 w 464"/>
                <a:gd name="T1" fmla="*/ 80 h 80"/>
                <a:gd name="T2" fmla="*/ 464 w 464"/>
                <a:gd name="T3" fmla="*/ 0 h 80"/>
                <a:gd name="T4" fmla="*/ 0 w 464"/>
                <a:gd name="T5" fmla="*/ 0 h 80"/>
                <a:gd name="T6" fmla="*/ 0 w 464"/>
                <a:gd name="T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4" h="80">
                  <a:moveTo>
                    <a:pt x="0" y="80"/>
                  </a:moveTo>
                  <a:lnTo>
                    <a:pt x="464" y="0"/>
                  </a:lnTo>
                  <a:lnTo>
                    <a:pt x="0" y="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5" name="ïşlídê">
              <a:extLst>
                <a:ext uri="{FF2B5EF4-FFF2-40B4-BE49-F238E27FC236}">
                  <a16:creationId xmlns:a16="http://schemas.microsoft.com/office/drawing/2014/main" id="{F223A903-AD1D-4405-9AA9-54C2A84C2C47}"/>
                </a:ext>
              </a:extLst>
            </p:cNvPr>
            <p:cNvSpPr/>
            <p:nvPr/>
          </p:nvSpPr>
          <p:spPr bwMode="auto">
            <a:xfrm>
              <a:off x="7802563" y="1504950"/>
              <a:ext cx="350838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6" name="iš1îḋê">
              <a:extLst>
                <a:ext uri="{FF2B5EF4-FFF2-40B4-BE49-F238E27FC236}">
                  <a16:creationId xmlns:a16="http://schemas.microsoft.com/office/drawing/2014/main" id="{C67F7C49-AAE2-4D38-8908-9416B4F48ADB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7" name="îṥliḑê">
              <a:extLst>
                <a:ext uri="{FF2B5EF4-FFF2-40B4-BE49-F238E27FC236}">
                  <a16:creationId xmlns:a16="http://schemas.microsoft.com/office/drawing/2014/main" id="{3D8591D9-1C15-4B8E-90F5-655535FCF398}"/>
                </a:ext>
              </a:extLst>
            </p:cNvPr>
            <p:cNvSpPr/>
            <p:nvPr/>
          </p:nvSpPr>
          <p:spPr bwMode="auto">
            <a:xfrm>
              <a:off x="7461250" y="1504950"/>
              <a:ext cx="341313" cy="322263"/>
            </a:xfrm>
            <a:custGeom>
              <a:avLst/>
              <a:gdLst>
                <a:gd name="T0" fmla="*/ 215 w 215"/>
                <a:gd name="T1" fmla="*/ 45 h 203"/>
                <a:gd name="T2" fmla="*/ 57 w 215"/>
                <a:gd name="T3" fmla="*/ 203 h 203"/>
                <a:gd name="T4" fmla="*/ 0 w 215"/>
                <a:gd name="T5" fmla="*/ 203 h 203"/>
                <a:gd name="T6" fmla="*/ 204 w 215"/>
                <a:gd name="T7" fmla="*/ 0 h 203"/>
                <a:gd name="T8" fmla="*/ 215 w 215"/>
                <a:gd name="T9" fmla="*/ 0 h 203"/>
                <a:gd name="T10" fmla="*/ 215 w 215"/>
                <a:gd name="T11" fmla="*/ 4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203">
                  <a:moveTo>
                    <a:pt x="215" y="45"/>
                  </a:moveTo>
                  <a:lnTo>
                    <a:pt x="57" y="203"/>
                  </a:lnTo>
                  <a:lnTo>
                    <a:pt x="0" y="203"/>
                  </a:lnTo>
                  <a:lnTo>
                    <a:pt x="204" y="0"/>
                  </a:lnTo>
                  <a:lnTo>
                    <a:pt x="215" y="0"/>
                  </a:lnTo>
                  <a:lnTo>
                    <a:pt x="215" y="45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8" name="ïṣḻïďè">
              <a:extLst>
                <a:ext uri="{FF2B5EF4-FFF2-40B4-BE49-F238E27FC236}">
                  <a16:creationId xmlns:a16="http://schemas.microsoft.com/office/drawing/2014/main" id="{19027FB9-E9B7-4EDE-80FB-E51355BFBD96}"/>
                </a:ext>
              </a:extLst>
            </p:cNvPr>
            <p:cNvSpPr/>
            <p:nvPr/>
          </p:nvSpPr>
          <p:spPr bwMode="auto">
            <a:xfrm>
              <a:off x="7461250" y="1504950"/>
              <a:ext cx="300038" cy="298450"/>
            </a:xfrm>
            <a:custGeom>
              <a:avLst/>
              <a:gdLst>
                <a:gd name="T0" fmla="*/ 189 w 189"/>
                <a:gd name="T1" fmla="*/ 0 h 188"/>
                <a:gd name="T2" fmla="*/ 0 w 189"/>
                <a:gd name="T3" fmla="*/ 188 h 188"/>
                <a:gd name="T4" fmla="*/ 0 w 189"/>
                <a:gd name="T5" fmla="*/ 180 h 188"/>
                <a:gd name="T6" fmla="*/ 182 w 189"/>
                <a:gd name="T7" fmla="*/ 0 h 188"/>
                <a:gd name="T8" fmla="*/ 189 w 189"/>
                <a:gd name="T9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88">
                  <a:moveTo>
                    <a:pt x="189" y="0"/>
                  </a:moveTo>
                  <a:lnTo>
                    <a:pt x="0" y="188"/>
                  </a:lnTo>
                  <a:lnTo>
                    <a:pt x="0" y="180"/>
                  </a:lnTo>
                  <a:lnTo>
                    <a:pt x="182" y="0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9" name="í$ḷiďê">
              <a:extLst>
                <a:ext uri="{FF2B5EF4-FFF2-40B4-BE49-F238E27FC236}">
                  <a16:creationId xmlns:a16="http://schemas.microsoft.com/office/drawing/2014/main" id="{FCAD9548-8055-452A-A3E8-A66D3B4B7D96}"/>
                </a:ext>
              </a:extLst>
            </p:cNvPr>
            <p:cNvSpPr/>
            <p:nvPr/>
          </p:nvSpPr>
          <p:spPr bwMode="auto">
            <a:xfrm>
              <a:off x="8015288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0" name="ïṡlïḋê">
              <a:extLst>
                <a:ext uri="{FF2B5EF4-FFF2-40B4-BE49-F238E27FC236}">
                  <a16:creationId xmlns:a16="http://schemas.microsoft.com/office/drawing/2014/main" id="{9C5ACEBF-17D3-401B-9D1E-0D40901CD8E0}"/>
                </a:ext>
              </a:extLst>
            </p:cNvPr>
            <p:cNvSpPr/>
            <p:nvPr/>
          </p:nvSpPr>
          <p:spPr bwMode="auto">
            <a:xfrm>
              <a:off x="7726363" y="1223963"/>
              <a:ext cx="304800" cy="244475"/>
            </a:xfrm>
            <a:custGeom>
              <a:avLst/>
              <a:gdLst>
                <a:gd name="T0" fmla="*/ 12 w 192"/>
                <a:gd name="T1" fmla="*/ 154 h 154"/>
                <a:gd name="T2" fmla="*/ 0 w 192"/>
                <a:gd name="T3" fmla="*/ 140 h 154"/>
                <a:gd name="T4" fmla="*/ 182 w 192"/>
                <a:gd name="T5" fmla="*/ 0 h 154"/>
                <a:gd name="T6" fmla="*/ 192 w 192"/>
                <a:gd name="T7" fmla="*/ 14 h 154"/>
                <a:gd name="T8" fmla="*/ 12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2" y="154"/>
                  </a:moveTo>
                  <a:lnTo>
                    <a:pt x="0" y="140"/>
                  </a:lnTo>
                  <a:lnTo>
                    <a:pt x="182" y="0"/>
                  </a:lnTo>
                  <a:lnTo>
                    <a:pt x="192" y="14"/>
                  </a:lnTo>
                  <a:lnTo>
                    <a:pt x="12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1" name="iSḻîḓe">
              <a:extLst>
                <a:ext uri="{FF2B5EF4-FFF2-40B4-BE49-F238E27FC236}">
                  <a16:creationId xmlns:a16="http://schemas.microsoft.com/office/drawing/2014/main" id="{BA238390-AC66-4808-8775-A85D8B31B45D}"/>
                </a:ext>
              </a:extLst>
            </p:cNvPr>
            <p:cNvSpPr/>
            <p:nvPr/>
          </p:nvSpPr>
          <p:spPr bwMode="auto">
            <a:xfrm>
              <a:off x="7440613" y="1223963"/>
              <a:ext cx="304800" cy="244475"/>
            </a:xfrm>
            <a:custGeom>
              <a:avLst/>
              <a:gdLst>
                <a:gd name="T0" fmla="*/ 180 w 192"/>
                <a:gd name="T1" fmla="*/ 154 h 154"/>
                <a:gd name="T2" fmla="*/ 0 w 192"/>
                <a:gd name="T3" fmla="*/ 14 h 154"/>
                <a:gd name="T4" fmla="*/ 11 w 192"/>
                <a:gd name="T5" fmla="*/ 0 h 154"/>
                <a:gd name="T6" fmla="*/ 192 w 192"/>
                <a:gd name="T7" fmla="*/ 140 h 154"/>
                <a:gd name="T8" fmla="*/ 18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0" y="154"/>
                  </a:moveTo>
                  <a:lnTo>
                    <a:pt x="0" y="14"/>
                  </a:lnTo>
                  <a:lnTo>
                    <a:pt x="11" y="0"/>
                  </a:lnTo>
                  <a:lnTo>
                    <a:pt x="192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2" name="îšlîḍè">
              <a:extLst>
                <a:ext uri="{FF2B5EF4-FFF2-40B4-BE49-F238E27FC236}">
                  <a16:creationId xmlns:a16="http://schemas.microsoft.com/office/drawing/2014/main" id="{4AAD4801-3A27-4D27-BD5A-16B7034C9950}"/>
                </a:ext>
              </a:extLst>
            </p:cNvPr>
            <p:cNvSpPr/>
            <p:nvPr/>
          </p:nvSpPr>
          <p:spPr bwMode="auto">
            <a:xfrm>
              <a:off x="7154863" y="1223963"/>
              <a:ext cx="303213" cy="244475"/>
            </a:xfrm>
            <a:custGeom>
              <a:avLst/>
              <a:gdLst>
                <a:gd name="T0" fmla="*/ 11 w 191"/>
                <a:gd name="T1" fmla="*/ 154 h 154"/>
                <a:gd name="T2" fmla="*/ 0 w 191"/>
                <a:gd name="T3" fmla="*/ 140 h 154"/>
                <a:gd name="T4" fmla="*/ 180 w 191"/>
                <a:gd name="T5" fmla="*/ 0 h 154"/>
                <a:gd name="T6" fmla="*/ 191 w 191"/>
                <a:gd name="T7" fmla="*/ 14 h 154"/>
                <a:gd name="T8" fmla="*/ 11 w 191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54">
                  <a:moveTo>
                    <a:pt x="11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1" y="14"/>
                  </a:lnTo>
                  <a:lnTo>
                    <a:pt x="1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3" name="iSlîdê">
              <a:extLst>
                <a:ext uri="{FF2B5EF4-FFF2-40B4-BE49-F238E27FC236}">
                  <a16:creationId xmlns:a16="http://schemas.microsoft.com/office/drawing/2014/main" id="{29A9EAC8-02FA-4E62-A5D7-61B4F8CB55F3}"/>
                </a:ext>
              </a:extLst>
            </p:cNvPr>
            <p:cNvSpPr/>
            <p:nvPr/>
          </p:nvSpPr>
          <p:spPr bwMode="auto">
            <a:xfrm>
              <a:off x="6867525" y="1223963"/>
              <a:ext cx="304800" cy="244475"/>
            </a:xfrm>
            <a:custGeom>
              <a:avLst/>
              <a:gdLst>
                <a:gd name="T0" fmla="*/ 181 w 192"/>
                <a:gd name="T1" fmla="*/ 154 h 154"/>
                <a:gd name="T2" fmla="*/ 0 w 192"/>
                <a:gd name="T3" fmla="*/ 14 h 154"/>
                <a:gd name="T4" fmla="*/ 12 w 192"/>
                <a:gd name="T5" fmla="*/ 0 h 154"/>
                <a:gd name="T6" fmla="*/ 192 w 192"/>
                <a:gd name="T7" fmla="*/ 140 h 154"/>
                <a:gd name="T8" fmla="*/ 181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81" y="154"/>
                  </a:moveTo>
                  <a:lnTo>
                    <a:pt x="0" y="14"/>
                  </a:lnTo>
                  <a:lnTo>
                    <a:pt x="12" y="0"/>
                  </a:lnTo>
                  <a:lnTo>
                    <a:pt x="192" y="140"/>
                  </a:lnTo>
                  <a:lnTo>
                    <a:pt x="181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4" name="îS1iďê">
              <a:extLst>
                <a:ext uri="{FF2B5EF4-FFF2-40B4-BE49-F238E27FC236}">
                  <a16:creationId xmlns:a16="http://schemas.microsoft.com/office/drawing/2014/main" id="{B15A3770-A938-4A39-9353-CE01AA92E8F9}"/>
                </a:ext>
              </a:extLst>
            </p:cNvPr>
            <p:cNvSpPr/>
            <p:nvPr/>
          </p:nvSpPr>
          <p:spPr bwMode="auto">
            <a:xfrm>
              <a:off x="6581775" y="1223963"/>
              <a:ext cx="304800" cy="244475"/>
            </a:xfrm>
            <a:custGeom>
              <a:avLst/>
              <a:gdLst>
                <a:gd name="T0" fmla="*/ 10 w 192"/>
                <a:gd name="T1" fmla="*/ 154 h 154"/>
                <a:gd name="T2" fmla="*/ 0 w 192"/>
                <a:gd name="T3" fmla="*/ 140 h 154"/>
                <a:gd name="T4" fmla="*/ 180 w 192"/>
                <a:gd name="T5" fmla="*/ 0 h 154"/>
                <a:gd name="T6" fmla="*/ 192 w 192"/>
                <a:gd name="T7" fmla="*/ 14 h 154"/>
                <a:gd name="T8" fmla="*/ 10 w 192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2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5" name="işḻiḓê">
              <a:extLst>
                <a:ext uri="{FF2B5EF4-FFF2-40B4-BE49-F238E27FC236}">
                  <a16:creationId xmlns:a16="http://schemas.microsoft.com/office/drawing/2014/main" id="{F94B8D54-485A-4755-822C-067814DE4292}"/>
                </a:ext>
              </a:extLst>
            </p:cNvPr>
            <p:cNvSpPr/>
            <p:nvPr/>
          </p:nvSpPr>
          <p:spPr bwMode="auto">
            <a:xfrm>
              <a:off x="6296025" y="1223963"/>
              <a:ext cx="301625" cy="244475"/>
            </a:xfrm>
            <a:custGeom>
              <a:avLst/>
              <a:gdLst>
                <a:gd name="T0" fmla="*/ 180 w 190"/>
                <a:gd name="T1" fmla="*/ 154 h 154"/>
                <a:gd name="T2" fmla="*/ 0 w 190"/>
                <a:gd name="T3" fmla="*/ 14 h 154"/>
                <a:gd name="T4" fmla="*/ 10 w 190"/>
                <a:gd name="T5" fmla="*/ 0 h 154"/>
                <a:gd name="T6" fmla="*/ 190 w 190"/>
                <a:gd name="T7" fmla="*/ 140 h 154"/>
                <a:gd name="T8" fmla="*/ 18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80" y="154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90" y="140"/>
                  </a:lnTo>
                  <a:lnTo>
                    <a:pt x="18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6" name="îšlíďè">
              <a:extLst>
                <a:ext uri="{FF2B5EF4-FFF2-40B4-BE49-F238E27FC236}">
                  <a16:creationId xmlns:a16="http://schemas.microsoft.com/office/drawing/2014/main" id="{1BED34F9-5A55-471F-8038-4F5ABE8A2E5F}"/>
                </a:ext>
              </a:extLst>
            </p:cNvPr>
            <p:cNvSpPr/>
            <p:nvPr/>
          </p:nvSpPr>
          <p:spPr bwMode="auto">
            <a:xfrm>
              <a:off x="6010275" y="1223963"/>
              <a:ext cx="301625" cy="244475"/>
            </a:xfrm>
            <a:custGeom>
              <a:avLst/>
              <a:gdLst>
                <a:gd name="T0" fmla="*/ 10 w 190"/>
                <a:gd name="T1" fmla="*/ 154 h 154"/>
                <a:gd name="T2" fmla="*/ 0 w 190"/>
                <a:gd name="T3" fmla="*/ 140 h 154"/>
                <a:gd name="T4" fmla="*/ 180 w 190"/>
                <a:gd name="T5" fmla="*/ 0 h 154"/>
                <a:gd name="T6" fmla="*/ 190 w 190"/>
                <a:gd name="T7" fmla="*/ 14 h 154"/>
                <a:gd name="T8" fmla="*/ 10 w 190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54">
                  <a:moveTo>
                    <a:pt x="10" y="154"/>
                  </a:moveTo>
                  <a:lnTo>
                    <a:pt x="0" y="140"/>
                  </a:lnTo>
                  <a:lnTo>
                    <a:pt x="180" y="0"/>
                  </a:lnTo>
                  <a:lnTo>
                    <a:pt x="190" y="14"/>
                  </a:lnTo>
                  <a:lnTo>
                    <a:pt x="10" y="154"/>
                  </a:ln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7" name="ï$ḻïḋê">
              <a:extLst>
                <a:ext uri="{FF2B5EF4-FFF2-40B4-BE49-F238E27FC236}">
                  <a16:creationId xmlns:a16="http://schemas.microsoft.com/office/drawing/2014/main" id="{792A4470-E248-4BE8-A9B0-0695C2C9C257}"/>
                </a:ext>
              </a:extLst>
            </p:cNvPr>
            <p:cNvSpPr/>
            <p:nvPr/>
          </p:nvSpPr>
          <p:spPr bwMode="auto">
            <a:xfrm>
              <a:off x="6070600" y="1470025"/>
              <a:ext cx="388938" cy="34925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8" name="iŝḷíďê">
              <a:extLst>
                <a:ext uri="{FF2B5EF4-FFF2-40B4-BE49-F238E27FC236}">
                  <a16:creationId xmlns:a16="http://schemas.microsoft.com/office/drawing/2014/main" id="{04F9C25A-8846-4FA3-ACDE-39E2A2A9A89B}"/>
                </a:ext>
              </a:extLst>
            </p:cNvPr>
            <p:cNvSpPr/>
            <p:nvPr/>
          </p:nvSpPr>
          <p:spPr bwMode="auto">
            <a:xfrm>
              <a:off x="6116638" y="1504950"/>
              <a:ext cx="295275" cy="52388"/>
            </a:xfrm>
            <a:custGeom>
              <a:avLst/>
              <a:gdLst>
                <a:gd name="T0" fmla="*/ 0 w 112"/>
                <a:gd name="T1" fmla="*/ 0 h 20"/>
                <a:gd name="T2" fmla="*/ 112 w 112"/>
                <a:gd name="T3" fmla="*/ 0 h 20"/>
                <a:gd name="T4" fmla="*/ 112 w 112"/>
                <a:gd name="T5" fmla="*/ 0 h 20"/>
                <a:gd name="T6" fmla="*/ 92 w 112"/>
                <a:gd name="T7" fmla="*/ 20 h 20"/>
                <a:gd name="T8" fmla="*/ 21 w 112"/>
                <a:gd name="T9" fmla="*/ 20 h 20"/>
                <a:gd name="T10" fmla="*/ 0 w 112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0">
                  <a:moveTo>
                    <a:pt x="0" y="0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11"/>
                    <a:pt x="103" y="20"/>
                    <a:pt x="92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0" y="20"/>
                    <a:pt x="0" y="11"/>
                    <a:pt x="0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9" name="í$ľíḋè">
              <a:extLst>
                <a:ext uri="{FF2B5EF4-FFF2-40B4-BE49-F238E27FC236}">
                  <a16:creationId xmlns:a16="http://schemas.microsoft.com/office/drawing/2014/main" id="{AA77412B-1DA0-44FF-9820-592048331877}"/>
                </a:ext>
              </a:extLst>
            </p:cNvPr>
            <p:cNvSpPr/>
            <p:nvPr/>
          </p:nvSpPr>
          <p:spPr bwMode="auto">
            <a:xfrm>
              <a:off x="6227763" y="1643063"/>
              <a:ext cx="73025" cy="71438"/>
            </a:xfrm>
            <a:prstGeom prst="ellipse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0" name="ïslïḑé">
              <a:extLst>
                <a:ext uri="{FF2B5EF4-FFF2-40B4-BE49-F238E27FC236}">
                  <a16:creationId xmlns:a16="http://schemas.microsoft.com/office/drawing/2014/main" id="{ED160E21-E440-4A54-A6BF-E5B5642AD9B6}"/>
                </a:ext>
              </a:extLst>
            </p:cNvPr>
            <p:cNvSpPr/>
            <p:nvPr/>
          </p:nvSpPr>
          <p:spPr bwMode="auto">
            <a:xfrm>
              <a:off x="6208713" y="1698625"/>
              <a:ext cx="127000" cy="200025"/>
            </a:xfrm>
            <a:custGeom>
              <a:avLst/>
              <a:gdLst>
                <a:gd name="T0" fmla="*/ 22 w 48"/>
                <a:gd name="T1" fmla="*/ 0 h 76"/>
                <a:gd name="T2" fmla="*/ 21 w 48"/>
                <a:gd name="T3" fmla="*/ 0 h 76"/>
                <a:gd name="T4" fmla="*/ 19 w 48"/>
                <a:gd name="T5" fmla="*/ 1 h 76"/>
                <a:gd name="T6" fmla="*/ 17 w 48"/>
                <a:gd name="T7" fmla="*/ 5 h 76"/>
                <a:gd name="T8" fmla="*/ 16 w 48"/>
                <a:gd name="T9" fmla="*/ 12 h 76"/>
                <a:gd name="T10" fmla="*/ 16 w 48"/>
                <a:gd name="T11" fmla="*/ 20 h 76"/>
                <a:gd name="T12" fmla="*/ 16 w 48"/>
                <a:gd name="T13" fmla="*/ 21 h 76"/>
                <a:gd name="T14" fmla="*/ 16 w 48"/>
                <a:gd name="T15" fmla="*/ 21 h 76"/>
                <a:gd name="T16" fmla="*/ 17 w 48"/>
                <a:gd name="T17" fmla="*/ 22 h 76"/>
                <a:gd name="T18" fmla="*/ 17 w 48"/>
                <a:gd name="T19" fmla="*/ 22 h 76"/>
                <a:gd name="T20" fmla="*/ 17 w 48"/>
                <a:gd name="T21" fmla="*/ 23 h 76"/>
                <a:gd name="T22" fmla="*/ 17 w 48"/>
                <a:gd name="T23" fmla="*/ 23 h 76"/>
                <a:gd name="T24" fmla="*/ 20 w 48"/>
                <a:gd name="T25" fmla="*/ 26 h 76"/>
                <a:gd name="T26" fmla="*/ 22 w 48"/>
                <a:gd name="T27" fmla="*/ 28 h 76"/>
                <a:gd name="T28" fmla="*/ 26 w 48"/>
                <a:gd name="T29" fmla="*/ 30 h 76"/>
                <a:gd name="T30" fmla="*/ 34 w 48"/>
                <a:gd name="T31" fmla="*/ 36 h 76"/>
                <a:gd name="T32" fmla="*/ 38 w 48"/>
                <a:gd name="T33" fmla="*/ 44 h 76"/>
                <a:gd name="T34" fmla="*/ 39 w 48"/>
                <a:gd name="T35" fmla="*/ 49 h 76"/>
                <a:gd name="T36" fmla="*/ 39 w 48"/>
                <a:gd name="T37" fmla="*/ 52 h 76"/>
                <a:gd name="T38" fmla="*/ 39 w 48"/>
                <a:gd name="T39" fmla="*/ 54 h 76"/>
                <a:gd name="T40" fmla="*/ 35 w 48"/>
                <a:gd name="T41" fmla="*/ 64 h 76"/>
                <a:gd name="T42" fmla="*/ 27 w 48"/>
                <a:gd name="T43" fmla="*/ 69 h 76"/>
                <a:gd name="T44" fmla="*/ 18 w 48"/>
                <a:gd name="T45" fmla="*/ 70 h 76"/>
                <a:gd name="T46" fmla="*/ 10 w 48"/>
                <a:gd name="T47" fmla="*/ 66 h 76"/>
                <a:gd name="T48" fmla="*/ 4 w 48"/>
                <a:gd name="T49" fmla="*/ 54 h 76"/>
                <a:gd name="T50" fmla="*/ 3 w 48"/>
                <a:gd name="T51" fmla="*/ 50 h 76"/>
                <a:gd name="T52" fmla="*/ 2 w 48"/>
                <a:gd name="T53" fmla="*/ 49 h 76"/>
                <a:gd name="T54" fmla="*/ 2 w 48"/>
                <a:gd name="T55" fmla="*/ 49 h 76"/>
                <a:gd name="T56" fmla="*/ 0 w 48"/>
                <a:gd name="T57" fmla="*/ 50 h 76"/>
                <a:gd name="T58" fmla="*/ 1 w 48"/>
                <a:gd name="T59" fmla="*/ 54 h 76"/>
                <a:gd name="T60" fmla="*/ 7 w 48"/>
                <a:gd name="T61" fmla="*/ 69 h 76"/>
                <a:gd name="T62" fmla="*/ 16 w 48"/>
                <a:gd name="T63" fmla="*/ 75 h 76"/>
                <a:gd name="T64" fmla="*/ 29 w 48"/>
                <a:gd name="T65" fmla="*/ 75 h 76"/>
                <a:gd name="T66" fmla="*/ 40 w 48"/>
                <a:gd name="T67" fmla="*/ 69 h 76"/>
                <a:gd name="T68" fmla="*/ 47 w 48"/>
                <a:gd name="T69" fmla="*/ 56 h 76"/>
                <a:gd name="T70" fmla="*/ 48 w 48"/>
                <a:gd name="T71" fmla="*/ 52 h 76"/>
                <a:gd name="T72" fmla="*/ 48 w 48"/>
                <a:gd name="T73" fmla="*/ 49 h 76"/>
                <a:gd name="T74" fmla="*/ 48 w 48"/>
                <a:gd name="T75" fmla="*/ 42 h 76"/>
                <a:gd name="T76" fmla="*/ 42 w 48"/>
                <a:gd name="T77" fmla="*/ 29 h 76"/>
                <a:gd name="T78" fmla="*/ 32 w 48"/>
                <a:gd name="T79" fmla="*/ 21 h 76"/>
                <a:gd name="T80" fmla="*/ 27 w 48"/>
                <a:gd name="T81" fmla="*/ 19 h 76"/>
                <a:gd name="T82" fmla="*/ 26 w 48"/>
                <a:gd name="T83" fmla="*/ 18 h 76"/>
                <a:gd name="T84" fmla="*/ 26 w 48"/>
                <a:gd name="T85" fmla="*/ 18 h 76"/>
                <a:gd name="T86" fmla="*/ 26 w 48"/>
                <a:gd name="T87" fmla="*/ 18 h 76"/>
                <a:gd name="T88" fmla="*/ 27 w 48"/>
                <a:gd name="T89" fmla="*/ 18 h 76"/>
                <a:gd name="T90" fmla="*/ 27 w 48"/>
                <a:gd name="T91" fmla="*/ 19 h 76"/>
                <a:gd name="T92" fmla="*/ 27 w 48"/>
                <a:gd name="T93" fmla="*/ 19 h 76"/>
                <a:gd name="T94" fmla="*/ 27 w 48"/>
                <a:gd name="T95" fmla="*/ 19 h 76"/>
                <a:gd name="T96" fmla="*/ 27 w 48"/>
                <a:gd name="T97" fmla="*/ 19 h 76"/>
                <a:gd name="T98" fmla="*/ 27 w 48"/>
                <a:gd name="T99" fmla="*/ 19 h 76"/>
                <a:gd name="T100" fmla="*/ 27 w 48"/>
                <a:gd name="T101" fmla="*/ 21 h 76"/>
                <a:gd name="T102" fmla="*/ 27 w 48"/>
                <a:gd name="T103" fmla="*/ 21 h 76"/>
                <a:gd name="T104" fmla="*/ 27 w 48"/>
                <a:gd name="T105" fmla="*/ 20 h 76"/>
                <a:gd name="T106" fmla="*/ 27 w 48"/>
                <a:gd name="T107" fmla="*/ 12 h 76"/>
                <a:gd name="T108" fmla="*/ 27 w 48"/>
                <a:gd name="T109" fmla="*/ 5 h 76"/>
                <a:gd name="T110" fmla="*/ 24 w 48"/>
                <a:gd name="T111" fmla="*/ 1 h 76"/>
                <a:gd name="T112" fmla="*/ 22 w 48"/>
                <a:gd name="T113" fmla="*/ 0 h 76"/>
                <a:gd name="T114" fmla="*/ 22 w 48"/>
                <a:gd name="T11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" h="76">
                  <a:moveTo>
                    <a:pt x="22" y="0"/>
                  </a:moveTo>
                  <a:cubicBezTo>
                    <a:pt x="22" y="0"/>
                    <a:pt x="21" y="0"/>
                    <a:pt x="21" y="0"/>
                  </a:cubicBezTo>
                  <a:cubicBezTo>
                    <a:pt x="21" y="0"/>
                    <a:pt x="20" y="1"/>
                    <a:pt x="19" y="1"/>
                  </a:cubicBezTo>
                  <a:cubicBezTo>
                    <a:pt x="18" y="2"/>
                    <a:pt x="17" y="3"/>
                    <a:pt x="17" y="5"/>
                  </a:cubicBezTo>
                  <a:cubicBezTo>
                    <a:pt x="16" y="7"/>
                    <a:pt x="16" y="9"/>
                    <a:pt x="16" y="12"/>
                  </a:cubicBezTo>
                  <a:cubicBezTo>
                    <a:pt x="16" y="14"/>
                    <a:pt x="16" y="17"/>
                    <a:pt x="16" y="20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7" y="24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4"/>
                    <a:pt x="19" y="26"/>
                    <a:pt x="20" y="26"/>
                  </a:cubicBezTo>
                  <a:cubicBezTo>
                    <a:pt x="21" y="27"/>
                    <a:pt x="21" y="27"/>
                    <a:pt x="22" y="28"/>
                  </a:cubicBezTo>
                  <a:cubicBezTo>
                    <a:pt x="24" y="29"/>
                    <a:pt x="25" y="29"/>
                    <a:pt x="26" y="30"/>
                  </a:cubicBezTo>
                  <a:cubicBezTo>
                    <a:pt x="29" y="32"/>
                    <a:pt x="32" y="34"/>
                    <a:pt x="34" y="36"/>
                  </a:cubicBezTo>
                  <a:cubicBezTo>
                    <a:pt x="36" y="38"/>
                    <a:pt x="38" y="41"/>
                    <a:pt x="38" y="44"/>
                  </a:cubicBezTo>
                  <a:cubicBezTo>
                    <a:pt x="39" y="46"/>
                    <a:pt x="39" y="48"/>
                    <a:pt x="39" y="49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8" y="58"/>
                    <a:pt x="37" y="61"/>
                    <a:pt x="35" y="64"/>
                  </a:cubicBezTo>
                  <a:cubicBezTo>
                    <a:pt x="33" y="66"/>
                    <a:pt x="30" y="68"/>
                    <a:pt x="27" y="69"/>
                  </a:cubicBezTo>
                  <a:cubicBezTo>
                    <a:pt x="24" y="70"/>
                    <a:pt x="20" y="70"/>
                    <a:pt x="18" y="70"/>
                  </a:cubicBezTo>
                  <a:cubicBezTo>
                    <a:pt x="15" y="69"/>
                    <a:pt x="12" y="68"/>
                    <a:pt x="10" y="66"/>
                  </a:cubicBezTo>
                  <a:cubicBezTo>
                    <a:pt x="6" y="62"/>
                    <a:pt x="4" y="57"/>
                    <a:pt x="4" y="54"/>
                  </a:cubicBezTo>
                  <a:cubicBezTo>
                    <a:pt x="3" y="52"/>
                    <a:pt x="3" y="51"/>
                    <a:pt x="3" y="50"/>
                  </a:cubicBezTo>
                  <a:cubicBezTo>
                    <a:pt x="3" y="49"/>
                    <a:pt x="2" y="49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1" y="49"/>
                    <a:pt x="0" y="49"/>
                    <a:pt x="0" y="50"/>
                  </a:cubicBezTo>
                  <a:cubicBezTo>
                    <a:pt x="0" y="51"/>
                    <a:pt x="0" y="53"/>
                    <a:pt x="1" y="54"/>
                  </a:cubicBezTo>
                  <a:cubicBezTo>
                    <a:pt x="1" y="58"/>
                    <a:pt x="2" y="64"/>
                    <a:pt x="7" y="69"/>
                  </a:cubicBezTo>
                  <a:cubicBezTo>
                    <a:pt x="9" y="71"/>
                    <a:pt x="12" y="74"/>
                    <a:pt x="16" y="75"/>
                  </a:cubicBezTo>
                  <a:cubicBezTo>
                    <a:pt x="20" y="76"/>
                    <a:pt x="24" y="76"/>
                    <a:pt x="29" y="75"/>
                  </a:cubicBezTo>
                  <a:cubicBezTo>
                    <a:pt x="33" y="74"/>
                    <a:pt x="37" y="72"/>
                    <a:pt x="40" y="69"/>
                  </a:cubicBezTo>
                  <a:cubicBezTo>
                    <a:pt x="44" y="65"/>
                    <a:pt x="46" y="61"/>
                    <a:pt x="47" y="56"/>
                  </a:cubicBezTo>
                  <a:cubicBezTo>
                    <a:pt x="47" y="55"/>
                    <a:pt x="48" y="54"/>
                    <a:pt x="48" y="52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47"/>
                    <a:pt x="48" y="45"/>
                    <a:pt x="48" y="42"/>
                  </a:cubicBezTo>
                  <a:cubicBezTo>
                    <a:pt x="47" y="37"/>
                    <a:pt x="44" y="33"/>
                    <a:pt x="42" y="29"/>
                  </a:cubicBezTo>
                  <a:cubicBezTo>
                    <a:pt x="39" y="26"/>
                    <a:pt x="35" y="23"/>
                    <a:pt x="32" y="21"/>
                  </a:cubicBezTo>
                  <a:cubicBezTo>
                    <a:pt x="30" y="20"/>
                    <a:pt x="29" y="19"/>
                    <a:pt x="27" y="19"/>
                  </a:cubicBezTo>
                  <a:cubicBezTo>
                    <a:pt x="27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7" y="18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20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7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7"/>
                    <a:pt x="27" y="14"/>
                    <a:pt x="27" y="12"/>
                  </a:cubicBezTo>
                  <a:cubicBezTo>
                    <a:pt x="27" y="9"/>
                    <a:pt x="27" y="7"/>
                    <a:pt x="27" y="5"/>
                  </a:cubicBezTo>
                  <a:cubicBezTo>
                    <a:pt x="27" y="3"/>
                    <a:pt x="25" y="2"/>
                    <a:pt x="24" y="1"/>
                  </a:cubicBezTo>
                  <a:cubicBezTo>
                    <a:pt x="23" y="1"/>
                    <a:pt x="23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1" name="iś1ídé">
              <a:extLst>
                <a:ext uri="{FF2B5EF4-FFF2-40B4-BE49-F238E27FC236}">
                  <a16:creationId xmlns:a16="http://schemas.microsoft.com/office/drawing/2014/main" id="{4A597953-C84B-4507-B0C0-361C5DE48008}"/>
                </a:ext>
              </a:extLst>
            </p:cNvPr>
            <p:cNvSpPr/>
            <p:nvPr/>
          </p:nvSpPr>
          <p:spPr bwMode="auto">
            <a:xfrm>
              <a:off x="7458075" y="4287838"/>
              <a:ext cx="695325" cy="1354138"/>
            </a:xfrm>
            <a:prstGeom prst="rect">
              <a:avLst/>
            </a:prstGeom>
            <a:solidFill>
              <a:srgbClr val="79B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2" name="íš1ïḑê">
              <a:extLst>
                <a:ext uri="{FF2B5EF4-FFF2-40B4-BE49-F238E27FC236}">
                  <a16:creationId xmlns:a16="http://schemas.microsoft.com/office/drawing/2014/main" id="{B6FF5E89-72B4-4B42-9522-76C9DB07F1BF}"/>
                </a:ext>
              </a:extLst>
            </p:cNvPr>
            <p:cNvSpPr/>
            <p:nvPr/>
          </p:nvSpPr>
          <p:spPr bwMode="auto">
            <a:xfrm>
              <a:off x="4614863" y="5381625"/>
              <a:ext cx="314325" cy="34925"/>
            </a:xfrm>
            <a:prstGeom prst="rect">
              <a:avLst/>
            </a:prstGeom>
            <a:solidFill>
              <a:srgbClr val="447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3" name="ïṧḷiďe">
              <a:extLst>
                <a:ext uri="{FF2B5EF4-FFF2-40B4-BE49-F238E27FC236}">
                  <a16:creationId xmlns:a16="http://schemas.microsoft.com/office/drawing/2014/main" id="{92B67F61-34FB-42CD-B971-77DF883D7DB7}"/>
                </a:ext>
              </a:extLst>
            </p:cNvPr>
            <p:cNvSpPr/>
            <p:nvPr/>
          </p:nvSpPr>
          <p:spPr bwMode="auto">
            <a:xfrm>
              <a:off x="4548188" y="5000625"/>
              <a:ext cx="153988" cy="641350"/>
            </a:xfrm>
            <a:custGeom>
              <a:avLst/>
              <a:gdLst>
                <a:gd name="T0" fmla="*/ 68 w 97"/>
                <a:gd name="T1" fmla="*/ 0 h 404"/>
                <a:gd name="T2" fmla="*/ 0 w 97"/>
                <a:gd name="T3" fmla="*/ 404 h 404"/>
                <a:gd name="T4" fmla="*/ 28 w 97"/>
                <a:gd name="T5" fmla="*/ 404 h 404"/>
                <a:gd name="T6" fmla="*/ 97 w 97"/>
                <a:gd name="T7" fmla="*/ 2 h 404"/>
                <a:gd name="T8" fmla="*/ 68 w 97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404">
                  <a:moveTo>
                    <a:pt x="68" y="0"/>
                  </a:moveTo>
                  <a:lnTo>
                    <a:pt x="0" y="404"/>
                  </a:lnTo>
                  <a:lnTo>
                    <a:pt x="28" y="404"/>
                  </a:lnTo>
                  <a:lnTo>
                    <a:pt x="97" y="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4" name="iŝḻiḓé">
              <a:extLst>
                <a:ext uri="{FF2B5EF4-FFF2-40B4-BE49-F238E27FC236}">
                  <a16:creationId xmlns:a16="http://schemas.microsoft.com/office/drawing/2014/main" id="{361DD9D3-F4CF-4AC0-B934-977A85EF49C5}"/>
                </a:ext>
              </a:extLst>
            </p:cNvPr>
            <p:cNvSpPr/>
            <p:nvPr/>
          </p:nvSpPr>
          <p:spPr bwMode="auto">
            <a:xfrm>
              <a:off x="4838700" y="5000625"/>
              <a:ext cx="157163" cy="641350"/>
            </a:xfrm>
            <a:custGeom>
              <a:avLst/>
              <a:gdLst>
                <a:gd name="T0" fmla="*/ 29 w 99"/>
                <a:gd name="T1" fmla="*/ 0 h 404"/>
                <a:gd name="T2" fmla="*/ 99 w 99"/>
                <a:gd name="T3" fmla="*/ 404 h 404"/>
                <a:gd name="T4" fmla="*/ 70 w 99"/>
                <a:gd name="T5" fmla="*/ 404 h 404"/>
                <a:gd name="T6" fmla="*/ 0 w 99"/>
                <a:gd name="T7" fmla="*/ 2 h 404"/>
                <a:gd name="T8" fmla="*/ 29 w 99"/>
                <a:gd name="T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404">
                  <a:moveTo>
                    <a:pt x="29" y="0"/>
                  </a:moveTo>
                  <a:lnTo>
                    <a:pt x="99" y="404"/>
                  </a:lnTo>
                  <a:lnTo>
                    <a:pt x="70" y="404"/>
                  </a:lnTo>
                  <a:lnTo>
                    <a:pt x="0" y="2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5" name="îṡļïḍê">
              <a:extLst>
                <a:ext uri="{FF2B5EF4-FFF2-40B4-BE49-F238E27FC236}">
                  <a16:creationId xmlns:a16="http://schemas.microsoft.com/office/drawing/2014/main" id="{B8DA3D4E-F10A-437E-92E9-5A83751B6A1E}"/>
                </a:ext>
              </a:extLst>
            </p:cNvPr>
            <p:cNvSpPr/>
            <p:nvPr/>
          </p:nvSpPr>
          <p:spPr bwMode="auto">
            <a:xfrm>
              <a:off x="4719638" y="5372100"/>
              <a:ext cx="103188" cy="55563"/>
            </a:xfrm>
            <a:custGeom>
              <a:avLst/>
              <a:gdLst>
                <a:gd name="T0" fmla="*/ 0 w 39"/>
                <a:gd name="T1" fmla="*/ 0 h 21"/>
                <a:gd name="T2" fmla="*/ 39 w 39"/>
                <a:gd name="T3" fmla="*/ 0 h 21"/>
                <a:gd name="T4" fmla="*/ 39 w 39"/>
                <a:gd name="T5" fmla="*/ 7 h 21"/>
                <a:gd name="T6" fmla="*/ 25 w 39"/>
                <a:gd name="T7" fmla="*/ 21 h 21"/>
                <a:gd name="T8" fmla="*/ 14 w 39"/>
                <a:gd name="T9" fmla="*/ 21 h 21"/>
                <a:gd name="T10" fmla="*/ 0 w 39"/>
                <a:gd name="T11" fmla="*/ 7 h 21"/>
                <a:gd name="T12" fmla="*/ 0 w 3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21">
                  <a:moveTo>
                    <a:pt x="0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15"/>
                    <a:pt x="33" y="21"/>
                    <a:pt x="25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6" y="21"/>
                    <a:pt x="0" y="15"/>
                    <a:pt x="0" y="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E65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6" name="íSļiḑê">
              <a:extLst>
                <a:ext uri="{FF2B5EF4-FFF2-40B4-BE49-F238E27FC236}">
                  <a16:creationId xmlns:a16="http://schemas.microsoft.com/office/drawing/2014/main" id="{8948C0E0-89E2-42F4-826C-69DD00AD99AF}"/>
                </a:ext>
              </a:extLst>
            </p:cNvPr>
            <p:cNvSpPr/>
            <p:nvPr/>
          </p:nvSpPr>
          <p:spPr bwMode="auto">
            <a:xfrm>
              <a:off x="4757738" y="5384800"/>
              <a:ext cx="28575" cy="28575"/>
            </a:xfrm>
            <a:prstGeom prst="ellipse">
              <a:avLst/>
            </a:pr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7" name="ïṧļide">
              <a:extLst>
                <a:ext uri="{FF2B5EF4-FFF2-40B4-BE49-F238E27FC236}">
                  <a16:creationId xmlns:a16="http://schemas.microsoft.com/office/drawing/2014/main" id="{DC15C3C1-5695-4953-B0F3-DB431B259CDC}"/>
                </a:ext>
              </a:extLst>
            </p:cNvPr>
            <p:cNvSpPr/>
            <p:nvPr/>
          </p:nvSpPr>
          <p:spPr bwMode="auto">
            <a:xfrm>
              <a:off x="4595813" y="4968875"/>
              <a:ext cx="357188" cy="50800"/>
            </a:xfrm>
            <a:prstGeom prst="rect">
              <a:avLst/>
            </a:prstGeom>
            <a:solidFill>
              <a:srgbClr val="71AB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8" name="ïṣļîḍè">
              <a:extLst>
                <a:ext uri="{FF2B5EF4-FFF2-40B4-BE49-F238E27FC236}">
                  <a16:creationId xmlns:a16="http://schemas.microsoft.com/office/drawing/2014/main" id="{CAD21CFD-1018-430C-9675-281342B77707}"/>
                </a:ext>
              </a:extLst>
            </p:cNvPr>
            <p:cNvSpPr/>
            <p:nvPr/>
          </p:nvSpPr>
          <p:spPr bwMode="auto">
            <a:xfrm>
              <a:off x="4841875" y="5019675"/>
              <a:ext cx="50800" cy="20638"/>
            </a:xfrm>
            <a:custGeom>
              <a:avLst/>
              <a:gdLst>
                <a:gd name="T0" fmla="*/ 0 w 32"/>
                <a:gd name="T1" fmla="*/ 0 h 13"/>
                <a:gd name="T2" fmla="*/ 28 w 32"/>
                <a:gd name="T3" fmla="*/ 0 h 13"/>
                <a:gd name="T4" fmla="*/ 32 w 32"/>
                <a:gd name="T5" fmla="*/ 13 h 13"/>
                <a:gd name="T6" fmla="*/ 3 w 32"/>
                <a:gd name="T7" fmla="*/ 13 h 13"/>
                <a:gd name="T8" fmla="*/ 0 w 3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3">
                  <a:moveTo>
                    <a:pt x="0" y="0"/>
                  </a:moveTo>
                  <a:lnTo>
                    <a:pt x="28" y="0"/>
                  </a:lnTo>
                  <a:lnTo>
                    <a:pt x="32" y="13"/>
                  </a:lnTo>
                  <a:lnTo>
                    <a:pt x="3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9" name="îŝliḓê">
              <a:extLst>
                <a:ext uri="{FF2B5EF4-FFF2-40B4-BE49-F238E27FC236}">
                  <a16:creationId xmlns:a16="http://schemas.microsoft.com/office/drawing/2014/main" id="{378C5809-CFB6-4AA7-A5E0-4EC9979A5DC7}"/>
                </a:ext>
              </a:extLst>
            </p:cNvPr>
            <p:cNvSpPr/>
            <p:nvPr/>
          </p:nvSpPr>
          <p:spPr bwMode="auto">
            <a:xfrm>
              <a:off x="4651375" y="5019675"/>
              <a:ext cx="47625" cy="20638"/>
            </a:xfrm>
            <a:custGeom>
              <a:avLst/>
              <a:gdLst>
                <a:gd name="T0" fmla="*/ 30 w 30"/>
                <a:gd name="T1" fmla="*/ 0 h 13"/>
                <a:gd name="T2" fmla="*/ 2 w 30"/>
                <a:gd name="T3" fmla="*/ 0 h 13"/>
                <a:gd name="T4" fmla="*/ 0 w 30"/>
                <a:gd name="T5" fmla="*/ 13 h 13"/>
                <a:gd name="T6" fmla="*/ 28 w 30"/>
                <a:gd name="T7" fmla="*/ 13 h 13"/>
                <a:gd name="T8" fmla="*/ 30 w 3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3">
                  <a:moveTo>
                    <a:pt x="30" y="0"/>
                  </a:moveTo>
                  <a:lnTo>
                    <a:pt x="2" y="0"/>
                  </a:lnTo>
                  <a:lnTo>
                    <a:pt x="0" y="13"/>
                  </a:lnTo>
                  <a:lnTo>
                    <a:pt x="28" y="13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3150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0" name="ïSļîḑé">
              <a:extLst>
                <a:ext uri="{FF2B5EF4-FFF2-40B4-BE49-F238E27FC236}">
                  <a16:creationId xmlns:a16="http://schemas.microsoft.com/office/drawing/2014/main" id="{648CF7C2-3E8A-4DC1-8CCD-EC2B2AE9B1BB}"/>
                </a:ext>
              </a:extLst>
            </p:cNvPr>
            <p:cNvSpPr/>
            <p:nvPr/>
          </p:nvSpPr>
          <p:spPr bwMode="auto">
            <a:xfrm>
              <a:off x="4595813" y="4995863"/>
              <a:ext cx="357188" cy="23813"/>
            </a:xfrm>
            <a:prstGeom prst="rect">
              <a:avLst/>
            </a:prstGeom>
            <a:solidFill>
              <a:srgbClr val="588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806" name="Group 805">
            <a:extLst>
              <a:ext uri="{FF2B5EF4-FFF2-40B4-BE49-F238E27FC236}">
                <a16:creationId xmlns:a16="http://schemas.microsoft.com/office/drawing/2014/main" id="{15E97AD9-3F8F-442B-8580-F6DE936498A0}"/>
              </a:ext>
            </a:extLst>
          </p:cNvPr>
          <p:cNvGrpSpPr/>
          <p:nvPr/>
        </p:nvGrpSpPr>
        <p:grpSpPr>
          <a:xfrm>
            <a:off x="2907165" y="1161722"/>
            <a:ext cx="1024614" cy="1024610"/>
            <a:chOff x="2907165" y="1161722"/>
            <a:chExt cx="1024614" cy="1024610"/>
          </a:xfrm>
        </p:grpSpPr>
        <p:sp>
          <p:nvSpPr>
            <p:cNvPr id="39" name="îšľîḍè">
              <a:extLst>
                <a:ext uri="{FF2B5EF4-FFF2-40B4-BE49-F238E27FC236}">
                  <a16:creationId xmlns:a16="http://schemas.microsoft.com/office/drawing/2014/main" id="{EE46BFD3-3656-45E3-A35D-DAC1BD0B5B7E}"/>
                </a:ext>
              </a:extLst>
            </p:cNvPr>
            <p:cNvSpPr/>
            <p:nvPr/>
          </p:nvSpPr>
          <p:spPr>
            <a:xfrm>
              <a:off x="2907165" y="1161722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22" name="iconfont-11244-5317052">
              <a:extLst>
                <a:ext uri="{FF2B5EF4-FFF2-40B4-BE49-F238E27FC236}">
                  <a16:creationId xmlns:a16="http://schemas.microsoft.com/office/drawing/2014/main" id="{1079FECC-3F1D-4B46-AF4D-AA514CEEA5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5776" y="1432988"/>
              <a:ext cx="609685" cy="398769"/>
            </a:xfrm>
            <a:custGeom>
              <a:avLst/>
              <a:gdLst>
                <a:gd name="T0" fmla="*/ 4499 w 12887"/>
                <a:gd name="T1" fmla="*/ 7938 h 8428"/>
                <a:gd name="T2" fmla="*/ 3677 w 12887"/>
                <a:gd name="T3" fmla="*/ 6020 h 8428"/>
                <a:gd name="T4" fmla="*/ 3676 w 12887"/>
                <a:gd name="T5" fmla="*/ 6018 h 8428"/>
                <a:gd name="T6" fmla="*/ 2579 w 12887"/>
                <a:gd name="T7" fmla="*/ 3458 h 8428"/>
                <a:gd name="T8" fmla="*/ 1990 w 12887"/>
                <a:gd name="T9" fmla="*/ 3458 h 8428"/>
                <a:gd name="T10" fmla="*/ 893 w 12887"/>
                <a:gd name="T11" fmla="*/ 6018 h 8428"/>
                <a:gd name="T12" fmla="*/ 892 w 12887"/>
                <a:gd name="T13" fmla="*/ 6020 h 8428"/>
                <a:gd name="T14" fmla="*/ 70 w 12887"/>
                <a:gd name="T15" fmla="*/ 7938 h 8428"/>
                <a:gd name="T16" fmla="*/ 238 w 12887"/>
                <a:gd name="T17" fmla="*/ 8358 h 8428"/>
                <a:gd name="T18" fmla="*/ 659 w 12887"/>
                <a:gd name="T19" fmla="*/ 8190 h 8428"/>
                <a:gd name="T20" fmla="*/ 1399 w 12887"/>
                <a:gd name="T21" fmla="*/ 6464 h 8428"/>
                <a:gd name="T22" fmla="*/ 3171 w 12887"/>
                <a:gd name="T23" fmla="*/ 6464 h 8428"/>
                <a:gd name="T24" fmla="*/ 3911 w 12887"/>
                <a:gd name="T25" fmla="*/ 8190 h 8428"/>
                <a:gd name="T26" fmla="*/ 4331 w 12887"/>
                <a:gd name="T27" fmla="*/ 8358 h 8428"/>
                <a:gd name="T28" fmla="*/ 4499 w 12887"/>
                <a:gd name="T29" fmla="*/ 7937 h 8428"/>
                <a:gd name="T30" fmla="*/ 4499 w 12887"/>
                <a:gd name="T31" fmla="*/ 7938 h 8428"/>
                <a:gd name="T32" fmla="*/ 1672 w 12887"/>
                <a:gd name="T33" fmla="*/ 5824 h 8428"/>
                <a:gd name="T34" fmla="*/ 2284 w 12887"/>
                <a:gd name="T35" fmla="*/ 4396 h 8428"/>
                <a:gd name="T36" fmla="*/ 2896 w 12887"/>
                <a:gd name="T37" fmla="*/ 5824 h 8428"/>
                <a:gd name="T38" fmla="*/ 1672 w 12887"/>
                <a:gd name="T39" fmla="*/ 5824 h 8428"/>
                <a:gd name="T40" fmla="*/ 12820 w 12887"/>
                <a:gd name="T41" fmla="*/ 7941 h 8428"/>
                <a:gd name="T42" fmla="*/ 11487 w 12887"/>
                <a:gd name="T43" fmla="*/ 4741 h 8428"/>
                <a:gd name="T44" fmla="*/ 11486 w 12887"/>
                <a:gd name="T45" fmla="*/ 4739 h 8428"/>
                <a:gd name="T46" fmla="*/ 9620 w 12887"/>
                <a:gd name="T47" fmla="*/ 261 h 8428"/>
                <a:gd name="T48" fmla="*/ 9029 w 12887"/>
                <a:gd name="T49" fmla="*/ 261 h 8428"/>
                <a:gd name="T50" fmla="*/ 7163 w 12887"/>
                <a:gd name="T51" fmla="*/ 4739 h 8428"/>
                <a:gd name="T52" fmla="*/ 7162 w 12887"/>
                <a:gd name="T53" fmla="*/ 4741 h 8428"/>
                <a:gd name="T54" fmla="*/ 5829 w 12887"/>
                <a:gd name="T55" fmla="*/ 7941 h 8428"/>
                <a:gd name="T56" fmla="*/ 6001 w 12887"/>
                <a:gd name="T57" fmla="*/ 8360 h 8428"/>
                <a:gd name="T58" fmla="*/ 6419 w 12887"/>
                <a:gd name="T59" fmla="*/ 8188 h 8428"/>
                <a:gd name="T60" fmla="*/ 7671 w 12887"/>
                <a:gd name="T61" fmla="*/ 5185 h 8428"/>
                <a:gd name="T62" fmla="*/ 10977 w 12887"/>
                <a:gd name="T63" fmla="*/ 5185 h 8428"/>
                <a:gd name="T64" fmla="*/ 12229 w 12887"/>
                <a:gd name="T65" fmla="*/ 8188 h 8428"/>
                <a:gd name="T66" fmla="*/ 12647 w 12887"/>
                <a:gd name="T67" fmla="*/ 8360 h 8428"/>
                <a:gd name="T68" fmla="*/ 12819 w 12887"/>
                <a:gd name="T69" fmla="*/ 7941 h 8428"/>
                <a:gd name="T70" fmla="*/ 12820 w 12887"/>
                <a:gd name="T71" fmla="*/ 7941 h 8428"/>
                <a:gd name="T72" fmla="*/ 7937 w 12887"/>
                <a:gd name="T73" fmla="*/ 4544 h 8428"/>
                <a:gd name="T74" fmla="*/ 9324 w 12887"/>
                <a:gd name="T75" fmla="*/ 1216 h 8428"/>
                <a:gd name="T76" fmla="*/ 10711 w 12887"/>
                <a:gd name="T77" fmla="*/ 4544 h 8428"/>
                <a:gd name="T78" fmla="*/ 7938 w 12887"/>
                <a:gd name="T79" fmla="*/ 4544 h 8428"/>
                <a:gd name="T80" fmla="*/ 7937 w 12887"/>
                <a:gd name="T81" fmla="*/ 4544 h 8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887" h="8428">
                  <a:moveTo>
                    <a:pt x="4499" y="7938"/>
                  </a:moveTo>
                  <a:lnTo>
                    <a:pt x="3677" y="6020"/>
                  </a:lnTo>
                  <a:lnTo>
                    <a:pt x="3676" y="6018"/>
                  </a:lnTo>
                  <a:lnTo>
                    <a:pt x="2579" y="3458"/>
                  </a:lnTo>
                  <a:cubicBezTo>
                    <a:pt x="2468" y="3198"/>
                    <a:pt x="2100" y="3198"/>
                    <a:pt x="1990" y="3458"/>
                  </a:cubicBezTo>
                  <a:lnTo>
                    <a:pt x="893" y="6018"/>
                  </a:lnTo>
                  <a:lnTo>
                    <a:pt x="892" y="6020"/>
                  </a:lnTo>
                  <a:lnTo>
                    <a:pt x="70" y="7938"/>
                  </a:lnTo>
                  <a:cubicBezTo>
                    <a:pt x="0" y="8101"/>
                    <a:pt x="76" y="8289"/>
                    <a:pt x="238" y="8358"/>
                  </a:cubicBezTo>
                  <a:cubicBezTo>
                    <a:pt x="401" y="8428"/>
                    <a:pt x="589" y="8353"/>
                    <a:pt x="659" y="8190"/>
                  </a:cubicBezTo>
                  <a:lnTo>
                    <a:pt x="1399" y="6464"/>
                  </a:lnTo>
                  <a:lnTo>
                    <a:pt x="3171" y="6464"/>
                  </a:lnTo>
                  <a:lnTo>
                    <a:pt x="3911" y="8190"/>
                  </a:lnTo>
                  <a:cubicBezTo>
                    <a:pt x="3980" y="8353"/>
                    <a:pt x="4169" y="8428"/>
                    <a:pt x="4331" y="8358"/>
                  </a:cubicBezTo>
                  <a:cubicBezTo>
                    <a:pt x="4493" y="8288"/>
                    <a:pt x="4569" y="8100"/>
                    <a:pt x="4499" y="7937"/>
                  </a:cubicBezTo>
                  <a:lnTo>
                    <a:pt x="4499" y="7938"/>
                  </a:lnTo>
                  <a:close/>
                  <a:moveTo>
                    <a:pt x="1672" y="5824"/>
                  </a:moveTo>
                  <a:lnTo>
                    <a:pt x="2284" y="4396"/>
                  </a:lnTo>
                  <a:lnTo>
                    <a:pt x="2896" y="5824"/>
                  </a:lnTo>
                  <a:lnTo>
                    <a:pt x="1672" y="5824"/>
                  </a:lnTo>
                  <a:close/>
                  <a:moveTo>
                    <a:pt x="12820" y="7941"/>
                  </a:moveTo>
                  <a:lnTo>
                    <a:pt x="11487" y="4741"/>
                  </a:lnTo>
                  <a:lnTo>
                    <a:pt x="11486" y="4739"/>
                  </a:lnTo>
                  <a:lnTo>
                    <a:pt x="9620" y="261"/>
                  </a:lnTo>
                  <a:cubicBezTo>
                    <a:pt x="9509" y="0"/>
                    <a:pt x="9139" y="0"/>
                    <a:pt x="9029" y="261"/>
                  </a:cubicBezTo>
                  <a:lnTo>
                    <a:pt x="7163" y="4739"/>
                  </a:lnTo>
                  <a:lnTo>
                    <a:pt x="7162" y="4741"/>
                  </a:lnTo>
                  <a:lnTo>
                    <a:pt x="5829" y="7941"/>
                  </a:lnTo>
                  <a:cubicBezTo>
                    <a:pt x="5761" y="8104"/>
                    <a:pt x="5838" y="8292"/>
                    <a:pt x="6001" y="8360"/>
                  </a:cubicBezTo>
                  <a:cubicBezTo>
                    <a:pt x="6164" y="8428"/>
                    <a:pt x="6351" y="8351"/>
                    <a:pt x="6419" y="8188"/>
                  </a:cubicBezTo>
                  <a:lnTo>
                    <a:pt x="7671" y="5185"/>
                  </a:lnTo>
                  <a:lnTo>
                    <a:pt x="10977" y="5185"/>
                  </a:lnTo>
                  <a:lnTo>
                    <a:pt x="12229" y="8188"/>
                  </a:lnTo>
                  <a:cubicBezTo>
                    <a:pt x="12297" y="8351"/>
                    <a:pt x="12484" y="8428"/>
                    <a:pt x="12647" y="8360"/>
                  </a:cubicBezTo>
                  <a:cubicBezTo>
                    <a:pt x="12810" y="8292"/>
                    <a:pt x="12887" y="8104"/>
                    <a:pt x="12819" y="7941"/>
                  </a:cubicBezTo>
                  <a:lnTo>
                    <a:pt x="12820" y="7941"/>
                  </a:lnTo>
                  <a:close/>
                  <a:moveTo>
                    <a:pt x="7937" y="4544"/>
                  </a:moveTo>
                  <a:lnTo>
                    <a:pt x="9324" y="1216"/>
                  </a:lnTo>
                  <a:lnTo>
                    <a:pt x="10711" y="4544"/>
                  </a:lnTo>
                  <a:lnTo>
                    <a:pt x="7938" y="4544"/>
                  </a:lnTo>
                  <a:lnTo>
                    <a:pt x="7937" y="45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805" name="Group 804">
            <a:extLst>
              <a:ext uri="{FF2B5EF4-FFF2-40B4-BE49-F238E27FC236}">
                <a16:creationId xmlns:a16="http://schemas.microsoft.com/office/drawing/2014/main" id="{0A4CCE0B-06F0-46A7-A64E-F5693939BD70}"/>
              </a:ext>
            </a:extLst>
          </p:cNvPr>
          <p:cNvGrpSpPr/>
          <p:nvPr/>
        </p:nvGrpSpPr>
        <p:grpSpPr>
          <a:xfrm>
            <a:off x="4098084" y="2173905"/>
            <a:ext cx="1024614" cy="1024610"/>
            <a:chOff x="4098084" y="2173905"/>
            <a:chExt cx="1024614" cy="1024610"/>
          </a:xfrm>
        </p:grpSpPr>
        <p:sp>
          <p:nvSpPr>
            <p:cNvPr id="42" name="îṥļïḑè">
              <a:extLst>
                <a:ext uri="{FF2B5EF4-FFF2-40B4-BE49-F238E27FC236}">
                  <a16:creationId xmlns:a16="http://schemas.microsoft.com/office/drawing/2014/main" id="{299B99E0-FB95-4623-88B1-6057CBBE2BDC}"/>
                </a:ext>
              </a:extLst>
            </p:cNvPr>
            <p:cNvSpPr/>
            <p:nvPr/>
          </p:nvSpPr>
          <p:spPr>
            <a:xfrm>
              <a:off x="4098084" y="2173905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68" name="daisy_67547">
              <a:extLst>
                <a:ext uri="{FF2B5EF4-FFF2-40B4-BE49-F238E27FC236}">
                  <a16:creationId xmlns:a16="http://schemas.microsoft.com/office/drawing/2014/main" id="{A6882F4D-60E2-40CF-A5F0-8705284571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09627" y="2381368"/>
              <a:ext cx="401529" cy="609685"/>
            </a:xfrm>
            <a:custGeom>
              <a:avLst/>
              <a:gdLst>
                <a:gd name="connsiteX0" fmla="*/ 327641 w 398630"/>
                <a:gd name="connsiteY0" fmla="*/ 397283 h 605283"/>
                <a:gd name="connsiteX1" fmla="*/ 398630 w 398630"/>
                <a:gd name="connsiteY1" fmla="*/ 410763 h 605283"/>
                <a:gd name="connsiteX2" fmla="*/ 352104 w 398630"/>
                <a:gd name="connsiteY2" fmla="*/ 420499 h 605283"/>
                <a:gd name="connsiteX3" fmla="*/ 338747 w 398630"/>
                <a:gd name="connsiteY3" fmla="*/ 407019 h 605283"/>
                <a:gd name="connsiteX4" fmla="*/ 327641 w 398630"/>
                <a:gd name="connsiteY4" fmla="*/ 397283 h 605283"/>
                <a:gd name="connsiteX5" fmla="*/ 271400 w 398630"/>
                <a:gd name="connsiteY5" fmla="*/ 386346 h 605283"/>
                <a:gd name="connsiteX6" fmla="*/ 311774 w 398630"/>
                <a:gd name="connsiteY6" fmla="*/ 393698 h 605283"/>
                <a:gd name="connsiteX7" fmla="*/ 331436 w 398630"/>
                <a:gd name="connsiteY7" fmla="*/ 414405 h 605283"/>
                <a:gd name="connsiteX8" fmla="*/ 338790 w 398630"/>
                <a:gd name="connsiteY8" fmla="*/ 422958 h 605283"/>
                <a:gd name="connsiteX9" fmla="*/ 297065 w 398630"/>
                <a:gd name="connsiteY9" fmla="*/ 426709 h 605283"/>
                <a:gd name="connsiteX10" fmla="*/ 284908 w 398630"/>
                <a:gd name="connsiteY10" fmla="*/ 410804 h 605283"/>
                <a:gd name="connsiteX11" fmla="*/ 271400 w 398630"/>
                <a:gd name="connsiteY11" fmla="*/ 386346 h 605283"/>
                <a:gd name="connsiteX12" fmla="*/ 223628 w 398630"/>
                <a:gd name="connsiteY12" fmla="*/ 379007 h 605283"/>
                <a:gd name="connsiteX13" fmla="*/ 262817 w 398630"/>
                <a:gd name="connsiteY13" fmla="*/ 385007 h 605283"/>
                <a:gd name="connsiteX14" fmla="*/ 283538 w 398630"/>
                <a:gd name="connsiteY14" fmla="*/ 426709 h 605283"/>
                <a:gd name="connsiteX15" fmla="*/ 245550 w 398630"/>
                <a:gd name="connsiteY15" fmla="*/ 420559 h 605283"/>
                <a:gd name="connsiteX16" fmla="*/ 223628 w 398630"/>
                <a:gd name="connsiteY16" fmla="*/ 379007 h 605283"/>
                <a:gd name="connsiteX17" fmla="*/ 200426 w 398630"/>
                <a:gd name="connsiteY17" fmla="*/ 376466 h 605283"/>
                <a:gd name="connsiteX18" fmla="*/ 214986 w 398630"/>
                <a:gd name="connsiteY18" fmla="*/ 377664 h 605283"/>
                <a:gd name="connsiteX19" fmla="*/ 213785 w 398630"/>
                <a:gd name="connsiteY19" fmla="*/ 381409 h 605283"/>
                <a:gd name="connsiteX20" fmla="*/ 229696 w 398630"/>
                <a:gd name="connsiteY20" fmla="*/ 415559 h 605283"/>
                <a:gd name="connsiteX21" fmla="*/ 194272 w 398630"/>
                <a:gd name="connsiteY21" fmla="*/ 389946 h 605283"/>
                <a:gd name="connsiteX22" fmla="*/ 196674 w 398630"/>
                <a:gd name="connsiteY22" fmla="*/ 381409 h 605283"/>
                <a:gd name="connsiteX23" fmla="*/ 200426 w 398630"/>
                <a:gd name="connsiteY23" fmla="*/ 376466 h 605283"/>
                <a:gd name="connsiteX24" fmla="*/ 371778 w 398630"/>
                <a:gd name="connsiteY24" fmla="*/ 367928 h 605283"/>
                <a:gd name="connsiteX25" fmla="*/ 390092 w 398630"/>
                <a:gd name="connsiteY25" fmla="*/ 389944 h 605283"/>
                <a:gd name="connsiteX26" fmla="*/ 358267 w 398630"/>
                <a:gd name="connsiteY26" fmla="*/ 380209 h 605283"/>
                <a:gd name="connsiteX27" fmla="*/ 371778 w 398630"/>
                <a:gd name="connsiteY27" fmla="*/ 367928 h 605283"/>
                <a:gd name="connsiteX28" fmla="*/ 344759 w 398630"/>
                <a:gd name="connsiteY28" fmla="*/ 344712 h 605283"/>
                <a:gd name="connsiteX29" fmla="*/ 363206 w 398630"/>
                <a:gd name="connsiteY29" fmla="*/ 359392 h 605283"/>
                <a:gd name="connsiteX30" fmla="*/ 344759 w 398630"/>
                <a:gd name="connsiteY30" fmla="*/ 377666 h 605283"/>
                <a:gd name="connsiteX31" fmla="*/ 310564 w 398630"/>
                <a:gd name="connsiteY31" fmla="*/ 370326 h 605283"/>
                <a:gd name="connsiteX32" fmla="*/ 344759 w 398630"/>
                <a:gd name="connsiteY32" fmla="*/ 344712 h 605283"/>
                <a:gd name="connsiteX33" fmla="*/ 308125 w 398630"/>
                <a:gd name="connsiteY33" fmla="*/ 331234 h 605283"/>
                <a:gd name="connsiteX34" fmla="*/ 332581 w 398630"/>
                <a:gd name="connsiteY34" fmla="*/ 338573 h 605283"/>
                <a:gd name="connsiteX35" fmla="*/ 293421 w 398630"/>
                <a:gd name="connsiteY35" fmla="*/ 369127 h 605283"/>
                <a:gd name="connsiteX36" fmla="*/ 262814 w 398630"/>
                <a:gd name="connsiteY36" fmla="*/ 366731 h 605283"/>
                <a:gd name="connsiteX37" fmla="*/ 292221 w 398630"/>
                <a:gd name="connsiteY37" fmla="*/ 341119 h 605283"/>
                <a:gd name="connsiteX38" fmla="*/ 286069 w 398630"/>
                <a:gd name="connsiteY38" fmla="*/ 333780 h 605283"/>
                <a:gd name="connsiteX39" fmla="*/ 248110 w 398630"/>
                <a:gd name="connsiteY39" fmla="*/ 366731 h 605283"/>
                <a:gd name="connsiteX40" fmla="*/ 208950 w 398630"/>
                <a:gd name="connsiteY40" fmla="*/ 365532 h 605283"/>
                <a:gd name="connsiteX41" fmla="*/ 308125 w 398630"/>
                <a:gd name="connsiteY41" fmla="*/ 331234 h 605283"/>
                <a:gd name="connsiteX42" fmla="*/ 124832 w 398630"/>
                <a:gd name="connsiteY42" fmla="*/ 269541 h 605283"/>
                <a:gd name="connsiteX43" fmla="*/ 130460 w 398630"/>
                <a:gd name="connsiteY43" fmla="*/ 270121 h 605283"/>
                <a:gd name="connsiteX44" fmla="*/ 124456 w 398630"/>
                <a:gd name="connsiteY44" fmla="*/ 602697 h 605283"/>
                <a:gd name="connsiteX45" fmla="*/ 110947 w 398630"/>
                <a:gd name="connsiteY45" fmla="*/ 591612 h 605283"/>
                <a:gd name="connsiteX46" fmla="*/ 159880 w 398630"/>
                <a:gd name="connsiteY46" fmla="*/ 427870 h 605283"/>
                <a:gd name="connsiteX47" fmla="*/ 121905 w 398630"/>
                <a:gd name="connsiteY47" fmla="*/ 276264 h 605283"/>
                <a:gd name="connsiteX48" fmla="*/ 124832 w 398630"/>
                <a:gd name="connsiteY48" fmla="*/ 269541 h 605283"/>
                <a:gd name="connsiteX49" fmla="*/ 131809 w 398630"/>
                <a:gd name="connsiteY49" fmla="*/ 166323 h 605283"/>
                <a:gd name="connsiteX50" fmla="*/ 150128 w 398630"/>
                <a:gd name="connsiteY50" fmla="*/ 185794 h 605283"/>
                <a:gd name="connsiteX51" fmla="*/ 142770 w 398630"/>
                <a:gd name="connsiteY51" fmla="*/ 257989 h 605283"/>
                <a:gd name="connsiteX52" fmla="*/ 110937 w 398630"/>
                <a:gd name="connsiteY52" fmla="*/ 213953 h 605283"/>
                <a:gd name="connsiteX53" fmla="*/ 113340 w 398630"/>
                <a:gd name="connsiteY53" fmla="*/ 171116 h 605283"/>
                <a:gd name="connsiteX54" fmla="*/ 131809 w 398630"/>
                <a:gd name="connsiteY54" fmla="*/ 166323 h 605283"/>
                <a:gd name="connsiteX55" fmla="*/ 86503 w 398630"/>
                <a:gd name="connsiteY55" fmla="*/ 156373 h 605283"/>
                <a:gd name="connsiteX56" fmla="*/ 96257 w 398630"/>
                <a:gd name="connsiteY56" fmla="*/ 165067 h 605283"/>
                <a:gd name="connsiteX57" fmla="*/ 91305 w 398630"/>
                <a:gd name="connsiteY57" fmla="*/ 204192 h 605283"/>
                <a:gd name="connsiteX58" fmla="*/ 76600 w 398630"/>
                <a:gd name="connsiteY58" fmla="*/ 226228 h 605283"/>
                <a:gd name="connsiteX59" fmla="*/ 50940 w 398630"/>
                <a:gd name="connsiteY59" fmla="*/ 237171 h 605283"/>
                <a:gd name="connsiteX60" fmla="*/ 32634 w 398630"/>
                <a:gd name="connsiteY60" fmla="*/ 233573 h 605283"/>
                <a:gd name="connsiteX61" fmla="*/ 86503 w 398630"/>
                <a:gd name="connsiteY61" fmla="*/ 156373 h 605283"/>
                <a:gd name="connsiteX62" fmla="*/ 175767 w 398630"/>
                <a:gd name="connsiteY62" fmla="*/ 131958 h 605283"/>
                <a:gd name="connsiteX63" fmla="*/ 222298 w 398630"/>
                <a:gd name="connsiteY63" fmla="*/ 140506 h 605283"/>
                <a:gd name="connsiteX64" fmla="*/ 241961 w 398630"/>
                <a:gd name="connsiteY64" fmla="*/ 158953 h 605283"/>
                <a:gd name="connsiteX65" fmla="*/ 246914 w 398630"/>
                <a:gd name="connsiteY65" fmla="*/ 179799 h 605283"/>
                <a:gd name="connsiteX66" fmla="*/ 190477 w 398630"/>
                <a:gd name="connsiteY66" fmla="*/ 179799 h 605283"/>
                <a:gd name="connsiteX67" fmla="*/ 147699 w 398630"/>
                <a:gd name="connsiteY67" fmla="*/ 154004 h 605283"/>
                <a:gd name="connsiteX68" fmla="*/ 159857 w 398630"/>
                <a:gd name="connsiteY68" fmla="*/ 135707 h 605283"/>
                <a:gd name="connsiteX69" fmla="*/ 175767 w 398630"/>
                <a:gd name="connsiteY69" fmla="*/ 131958 h 605283"/>
                <a:gd name="connsiteX70" fmla="*/ 120708 w 398630"/>
                <a:gd name="connsiteY70" fmla="*/ 100203 h 605283"/>
                <a:gd name="connsiteX71" fmla="*/ 123107 w 398630"/>
                <a:gd name="connsiteY71" fmla="*/ 101403 h 605283"/>
                <a:gd name="connsiteX72" fmla="*/ 140352 w 398630"/>
                <a:gd name="connsiteY72" fmla="*/ 105152 h 605283"/>
                <a:gd name="connsiteX73" fmla="*/ 150098 w 398630"/>
                <a:gd name="connsiteY73" fmla="*/ 124649 h 605283"/>
                <a:gd name="connsiteX74" fmla="*/ 148899 w 398630"/>
                <a:gd name="connsiteY74" fmla="*/ 130798 h 605283"/>
                <a:gd name="connsiteX75" fmla="*/ 135403 w 398630"/>
                <a:gd name="connsiteY75" fmla="*/ 147895 h 605283"/>
                <a:gd name="connsiteX76" fmla="*/ 126856 w 398630"/>
                <a:gd name="connsiteY76" fmla="*/ 152844 h 605283"/>
                <a:gd name="connsiteX77" fmla="*/ 109761 w 398630"/>
                <a:gd name="connsiteY77" fmla="*/ 155244 h 605283"/>
                <a:gd name="connsiteX78" fmla="*/ 104813 w 398630"/>
                <a:gd name="connsiteY78" fmla="*/ 154044 h 605283"/>
                <a:gd name="connsiteX79" fmla="*/ 93866 w 398630"/>
                <a:gd name="connsiteY79" fmla="*/ 122249 h 605283"/>
                <a:gd name="connsiteX80" fmla="*/ 120708 w 398630"/>
                <a:gd name="connsiteY80" fmla="*/ 100203 h 605283"/>
                <a:gd name="connsiteX81" fmla="*/ 28419 w 398630"/>
                <a:gd name="connsiteY81" fmla="*/ 77585 h 605283"/>
                <a:gd name="connsiteX82" fmla="*/ 48536 w 398630"/>
                <a:gd name="connsiteY82" fmla="*/ 79382 h 605283"/>
                <a:gd name="connsiteX83" fmla="*/ 87719 w 398630"/>
                <a:gd name="connsiteY83" fmla="*/ 101400 h 605283"/>
                <a:gd name="connsiteX84" fmla="*/ 76610 w 398630"/>
                <a:gd name="connsiteY84" fmla="*/ 122221 h 605283"/>
                <a:gd name="connsiteX85" fmla="*/ 77961 w 398630"/>
                <a:gd name="connsiteY85" fmla="*/ 143041 h 605283"/>
                <a:gd name="connsiteX86" fmla="*/ 66851 w 398630"/>
                <a:gd name="connsiteY86" fmla="*/ 147834 h 605283"/>
                <a:gd name="connsiteX87" fmla="*/ 20312 w 398630"/>
                <a:gd name="connsiteY87" fmla="*/ 134503 h 605283"/>
                <a:gd name="connsiteX88" fmla="*/ 1996 w 398630"/>
                <a:gd name="connsiteY88" fmla="*/ 83127 h 605283"/>
                <a:gd name="connsiteX89" fmla="*/ 1996 w 398630"/>
                <a:gd name="connsiteY89" fmla="*/ 79382 h 605283"/>
                <a:gd name="connsiteX90" fmla="*/ 28419 w 398630"/>
                <a:gd name="connsiteY90" fmla="*/ 77585 h 605283"/>
                <a:gd name="connsiteX91" fmla="*/ 217517 w 398630"/>
                <a:gd name="connsiteY91" fmla="*/ 45231 h 605283"/>
                <a:gd name="connsiteX92" fmla="*/ 219919 w 398630"/>
                <a:gd name="connsiteY92" fmla="*/ 46429 h 605283"/>
                <a:gd name="connsiteX93" fmla="*/ 216316 w 398630"/>
                <a:gd name="connsiteY93" fmla="*/ 84323 h 605283"/>
                <a:gd name="connsiteX94" fmla="*/ 195446 w 398630"/>
                <a:gd name="connsiteY94" fmla="*/ 102596 h 605283"/>
                <a:gd name="connsiteX95" fmla="*/ 161064 w 398630"/>
                <a:gd name="connsiteY95" fmla="*/ 119820 h 605283"/>
                <a:gd name="connsiteX96" fmla="*/ 146500 w 398630"/>
                <a:gd name="connsiteY96" fmla="*/ 96605 h 605283"/>
                <a:gd name="connsiteX97" fmla="*/ 217517 w 398630"/>
                <a:gd name="connsiteY97" fmla="*/ 45231 h 605283"/>
                <a:gd name="connsiteX98" fmla="*/ 125689 w 398630"/>
                <a:gd name="connsiteY98" fmla="*/ 0 h 605283"/>
                <a:gd name="connsiteX99" fmla="*/ 134245 w 398630"/>
                <a:gd name="connsiteY99" fmla="*/ 90465 h 605283"/>
                <a:gd name="connsiteX100" fmla="*/ 133044 w 398630"/>
                <a:gd name="connsiteY100" fmla="*/ 90465 h 605283"/>
                <a:gd name="connsiteX101" fmla="*/ 131843 w 398630"/>
                <a:gd name="connsiteY101" fmla="*/ 89267 h 605283"/>
                <a:gd name="connsiteX102" fmla="*/ 108578 w 398630"/>
                <a:gd name="connsiteY102" fmla="*/ 90465 h 605283"/>
                <a:gd name="connsiteX103" fmla="*/ 125689 w 398630"/>
                <a:gd name="connsiteY103" fmla="*/ 0 h 60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98630" h="605283">
                  <a:moveTo>
                    <a:pt x="327641" y="397283"/>
                  </a:moveTo>
                  <a:cubicBezTo>
                    <a:pt x="352104" y="402226"/>
                    <a:pt x="375367" y="405820"/>
                    <a:pt x="398630" y="410763"/>
                  </a:cubicBezTo>
                  <a:cubicBezTo>
                    <a:pt x="384072" y="414358"/>
                    <a:pt x="368013" y="418103"/>
                    <a:pt x="352104" y="420499"/>
                  </a:cubicBezTo>
                  <a:cubicBezTo>
                    <a:pt x="348502" y="415556"/>
                    <a:pt x="343550" y="411962"/>
                    <a:pt x="338747" y="407019"/>
                  </a:cubicBezTo>
                  <a:cubicBezTo>
                    <a:pt x="334995" y="403424"/>
                    <a:pt x="331393" y="400878"/>
                    <a:pt x="327641" y="397283"/>
                  </a:cubicBezTo>
                  <a:close/>
                  <a:moveTo>
                    <a:pt x="271400" y="386346"/>
                  </a:moveTo>
                  <a:cubicBezTo>
                    <a:pt x="284908" y="388747"/>
                    <a:pt x="298266" y="391148"/>
                    <a:pt x="311774" y="393698"/>
                  </a:cubicBezTo>
                  <a:cubicBezTo>
                    <a:pt x="317928" y="400901"/>
                    <a:pt x="324081" y="408253"/>
                    <a:pt x="331436" y="414405"/>
                  </a:cubicBezTo>
                  <a:cubicBezTo>
                    <a:pt x="333837" y="416956"/>
                    <a:pt x="336239" y="420557"/>
                    <a:pt x="338790" y="422958"/>
                  </a:cubicBezTo>
                  <a:cubicBezTo>
                    <a:pt x="324081" y="425509"/>
                    <a:pt x="310573" y="426709"/>
                    <a:pt x="297065" y="426709"/>
                  </a:cubicBezTo>
                  <a:cubicBezTo>
                    <a:pt x="292262" y="421757"/>
                    <a:pt x="288510" y="416956"/>
                    <a:pt x="284908" y="410804"/>
                  </a:cubicBezTo>
                  <a:cubicBezTo>
                    <a:pt x="279955" y="403452"/>
                    <a:pt x="275002" y="394899"/>
                    <a:pt x="271400" y="386346"/>
                  </a:cubicBezTo>
                  <a:close/>
                  <a:moveTo>
                    <a:pt x="223628" y="379007"/>
                  </a:moveTo>
                  <a:cubicBezTo>
                    <a:pt x="236991" y="380207"/>
                    <a:pt x="249304" y="382607"/>
                    <a:pt x="262817" y="385007"/>
                  </a:cubicBezTo>
                  <a:cubicBezTo>
                    <a:pt x="267622" y="399708"/>
                    <a:pt x="273778" y="414408"/>
                    <a:pt x="283538" y="426709"/>
                  </a:cubicBezTo>
                  <a:cubicBezTo>
                    <a:pt x="270175" y="425509"/>
                    <a:pt x="257862" y="424309"/>
                    <a:pt x="245550" y="420559"/>
                  </a:cubicBezTo>
                  <a:cubicBezTo>
                    <a:pt x="238343" y="405858"/>
                    <a:pt x="229634" y="393708"/>
                    <a:pt x="223628" y="379007"/>
                  </a:cubicBezTo>
                  <a:close/>
                  <a:moveTo>
                    <a:pt x="200426" y="376466"/>
                  </a:moveTo>
                  <a:cubicBezTo>
                    <a:pt x="205229" y="376466"/>
                    <a:pt x="210183" y="377664"/>
                    <a:pt x="214986" y="377664"/>
                  </a:cubicBezTo>
                  <a:cubicBezTo>
                    <a:pt x="214986" y="379012"/>
                    <a:pt x="214986" y="379012"/>
                    <a:pt x="213785" y="381409"/>
                  </a:cubicBezTo>
                  <a:cubicBezTo>
                    <a:pt x="218739" y="392343"/>
                    <a:pt x="223692" y="404625"/>
                    <a:pt x="229696" y="415559"/>
                  </a:cubicBezTo>
                  <a:cubicBezTo>
                    <a:pt x="216337" y="410766"/>
                    <a:pt x="204029" y="402228"/>
                    <a:pt x="194272" y="389946"/>
                  </a:cubicBezTo>
                  <a:cubicBezTo>
                    <a:pt x="195473" y="386352"/>
                    <a:pt x="195473" y="383805"/>
                    <a:pt x="196674" y="381409"/>
                  </a:cubicBezTo>
                  <a:cubicBezTo>
                    <a:pt x="197874" y="379012"/>
                    <a:pt x="199075" y="377664"/>
                    <a:pt x="200426" y="376466"/>
                  </a:cubicBezTo>
                  <a:close/>
                  <a:moveTo>
                    <a:pt x="371778" y="367928"/>
                  </a:moveTo>
                  <a:cubicBezTo>
                    <a:pt x="377932" y="375267"/>
                    <a:pt x="384087" y="382605"/>
                    <a:pt x="390092" y="389944"/>
                  </a:cubicBezTo>
                  <a:cubicBezTo>
                    <a:pt x="380334" y="386350"/>
                    <a:pt x="369376" y="383803"/>
                    <a:pt x="358267" y="380209"/>
                  </a:cubicBezTo>
                  <a:cubicBezTo>
                    <a:pt x="363221" y="376465"/>
                    <a:pt x="368025" y="372870"/>
                    <a:pt x="371778" y="367928"/>
                  </a:cubicBezTo>
                  <a:close/>
                  <a:moveTo>
                    <a:pt x="344759" y="344712"/>
                  </a:moveTo>
                  <a:cubicBezTo>
                    <a:pt x="350908" y="349655"/>
                    <a:pt x="357057" y="354448"/>
                    <a:pt x="363206" y="359392"/>
                  </a:cubicBezTo>
                  <a:lnTo>
                    <a:pt x="344759" y="377666"/>
                  </a:lnTo>
                  <a:cubicBezTo>
                    <a:pt x="332611" y="375269"/>
                    <a:pt x="320313" y="372873"/>
                    <a:pt x="310564" y="370326"/>
                  </a:cubicBezTo>
                  <a:cubicBezTo>
                    <a:pt x="321512" y="363136"/>
                    <a:pt x="333810" y="354448"/>
                    <a:pt x="344759" y="344712"/>
                  </a:cubicBezTo>
                  <a:close/>
                  <a:moveTo>
                    <a:pt x="308125" y="331234"/>
                  </a:moveTo>
                  <a:cubicBezTo>
                    <a:pt x="317877" y="332582"/>
                    <a:pt x="325229" y="334978"/>
                    <a:pt x="332581" y="338573"/>
                  </a:cubicBezTo>
                  <a:cubicBezTo>
                    <a:pt x="319078" y="348458"/>
                    <a:pt x="305574" y="358193"/>
                    <a:pt x="293421" y="369127"/>
                  </a:cubicBezTo>
                  <a:cubicBezTo>
                    <a:pt x="283519" y="367929"/>
                    <a:pt x="272566" y="366731"/>
                    <a:pt x="262814" y="366731"/>
                  </a:cubicBezTo>
                  <a:cubicBezTo>
                    <a:pt x="272566" y="359392"/>
                    <a:pt x="282318" y="350854"/>
                    <a:pt x="292221" y="341119"/>
                  </a:cubicBezTo>
                  <a:cubicBezTo>
                    <a:pt x="295822" y="337375"/>
                    <a:pt x="290871" y="331234"/>
                    <a:pt x="286069" y="333780"/>
                  </a:cubicBezTo>
                  <a:cubicBezTo>
                    <a:pt x="272566" y="343516"/>
                    <a:pt x="260263" y="354449"/>
                    <a:pt x="248110" y="366731"/>
                  </a:cubicBezTo>
                  <a:cubicBezTo>
                    <a:pt x="234606" y="366731"/>
                    <a:pt x="221103" y="366731"/>
                    <a:pt x="208950" y="365532"/>
                  </a:cubicBezTo>
                  <a:cubicBezTo>
                    <a:pt x="234606" y="338573"/>
                    <a:pt x="268965" y="323895"/>
                    <a:pt x="308125" y="331234"/>
                  </a:cubicBezTo>
                  <a:close/>
                  <a:moveTo>
                    <a:pt x="124832" y="269541"/>
                  </a:moveTo>
                  <a:cubicBezTo>
                    <a:pt x="126820" y="268324"/>
                    <a:pt x="129259" y="268324"/>
                    <a:pt x="130460" y="270121"/>
                  </a:cubicBezTo>
                  <a:cubicBezTo>
                    <a:pt x="206410" y="353265"/>
                    <a:pt x="201607" y="520752"/>
                    <a:pt x="124456" y="602697"/>
                  </a:cubicBezTo>
                  <a:cubicBezTo>
                    <a:pt x="117101" y="610038"/>
                    <a:pt x="107195" y="600300"/>
                    <a:pt x="110947" y="591612"/>
                  </a:cubicBezTo>
                  <a:cubicBezTo>
                    <a:pt x="136614" y="536632"/>
                    <a:pt x="159880" y="490191"/>
                    <a:pt x="159880" y="427870"/>
                  </a:cubicBezTo>
                  <a:cubicBezTo>
                    <a:pt x="159880" y="372890"/>
                    <a:pt x="140367" y="326450"/>
                    <a:pt x="121905" y="276264"/>
                  </a:cubicBezTo>
                  <a:cubicBezTo>
                    <a:pt x="121304" y="273193"/>
                    <a:pt x="122843" y="270758"/>
                    <a:pt x="124832" y="269541"/>
                  </a:cubicBezTo>
                  <a:close/>
                  <a:moveTo>
                    <a:pt x="131809" y="166323"/>
                  </a:moveTo>
                  <a:cubicBezTo>
                    <a:pt x="136614" y="173662"/>
                    <a:pt x="142770" y="181002"/>
                    <a:pt x="150128" y="185794"/>
                  </a:cubicBezTo>
                  <a:cubicBezTo>
                    <a:pt x="162440" y="210359"/>
                    <a:pt x="167245" y="235971"/>
                    <a:pt x="142770" y="257989"/>
                  </a:cubicBezTo>
                  <a:cubicBezTo>
                    <a:pt x="121899" y="255442"/>
                    <a:pt x="113340" y="231028"/>
                    <a:pt x="110937" y="213953"/>
                  </a:cubicBezTo>
                  <a:cubicBezTo>
                    <a:pt x="108535" y="199275"/>
                    <a:pt x="112139" y="185794"/>
                    <a:pt x="113340" y="171116"/>
                  </a:cubicBezTo>
                  <a:cubicBezTo>
                    <a:pt x="119496" y="171116"/>
                    <a:pt x="125653" y="168719"/>
                    <a:pt x="131809" y="166323"/>
                  </a:cubicBezTo>
                  <a:close/>
                  <a:moveTo>
                    <a:pt x="86503" y="156373"/>
                  </a:moveTo>
                  <a:cubicBezTo>
                    <a:pt x="88904" y="160121"/>
                    <a:pt x="92506" y="163718"/>
                    <a:pt x="96257" y="165067"/>
                  </a:cubicBezTo>
                  <a:cubicBezTo>
                    <a:pt x="91305" y="176010"/>
                    <a:pt x="90105" y="189502"/>
                    <a:pt x="91305" y="204192"/>
                  </a:cubicBezTo>
                  <a:cubicBezTo>
                    <a:pt x="87704" y="212737"/>
                    <a:pt x="82752" y="220082"/>
                    <a:pt x="76600" y="226228"/>
                  </a:cubicBezTo>
                  <a:cubicBezTo>
                    <a:pt x="70598" y="232224"/>
                    <a:pt x="59493" y="237171"/>
                    <a:pt x="50940" y="237171"/>
                  </a:cubicBezTo>
                  <a:cubicBezTo>
                    <a:pt x="44788" y="238370"/>
                    <a:pt x="38636" y="234772"/>
                    <a:pt x="32634" y="233573"/>
                  </a:cubicBezTo>
                  <a:cubicBezTo>
                    <a:pt x="20329" y="201644"/>
                    <a:pt x="66846" y="178409"/>
                    <a:pt x="86503" y="156373"/>
                  </a:cubicBezTo>
                  <a:close/>
                  <a:moveTo>
                    <a:pt x="175767" y="131958"/>
                  </a:moveTo>
                  <a:cubicBezTo>
                    <a:pt x="191678" y="129558"/>
                    <a:pt x="207738" y="131958"/>
                    <a:pt x="222298" y="140506"/>
                  </a:cubicBezTo>
                  <a:cubicBezTo>
                    <a:pt x="229653" y="145455"/>
                    <a:pt x="237008" y="151604"/>
                    <a:pt x="241961" y="158953"/>
                  </a:cubicBezTo>
                  <a:cubicBezTo>
                    <a:pt x="245563" y="166302"/>
                    <a:pt x="245563" y="172451"/>
                    <a:pt x="246914" y="179799"/>
                  </a:cubicBezTo>
                  <a:cubicBezTo>
                    <a:pt x="228452" y="186998"/>
                    <a:pt x="208939" y="186998"/>
                    <a:pt x="190477" y="179799"/>
                  </a:cubicBezTo>
                  <a:cubicBezTo>
                    <a:pt x="173366" y="173650"/>
                    <a:pt x="161058" y="163752"/>
                    <a:pt x="147699" y="154004"/>
                  </a:cubicBezTo>
                  <a:cubicBezTo>
                    <a:pt x="153703" y="149205"/>
                    <a:pt x="157455" y="143056"/>
                    <a:pt x="159857" y="135707"/>
                  </a:cubicBezTo>
                  <a:cubicBezTo>
                    <a:pt x="166011" y="135707"/>
                    <a:pt x="170964" y="133157"/>
                    <a:pt x="175767" y="131958"/>
                  </a:cubicBezTo>
                  <a:close/>
                  <a:moveTo>
                    <a:pt x="120708" y="100203"/>
                  </a:moveTo>
                  <a:cubicBezTo>
                    <a:pt x="121907" y="100203"/>
                    <a:pt x="121907" y="101403"/>
                    <a:pt x="123107" y="101403"/>
                  </a:cubicBezTo>
                  <a:cubicBezTo>
                    <a:pt x="129255" y="102603"/>
                    <a:pt x="135403" y="101403"/>
                    <a:pt x="140352" y="105152"/>
                  </a:cubicBezTo>
                  <a:cubicBezTo>
                    <a:pt x="147699" y="108752"/>
                    <a:pt x="151298" y="117300"/>
                    <a:pt x="150098" y="124649"/>
                  </a:cubicBezTo>
                  <a:cubicBezTo>
                    <a:pt x="148899" y="127199"/>
                    <a:pt x="148899" y="128398"/>
                    <a:pt x="148899" y="130798"/>
                  </a:cubicBezTo>
                  <a:cubicBezTo>
                    <a:pt x="146500" y="136947"/>
                    <a:pt x="141551" y="143096"/>
                    <a:pt x="135403" y="147895"/>
                  </a:cubicBezTo>
                  <a:cubicBezTo>
                    <a:pt x="131804" y="146695"/>
                    <a:pt x="128055" y="149245"/>
                    <a:pt x="126856" y="152844"/>
                  </a:cubicBezTo>
                  <a:cubicBezTo>
                    <a:pt x="120708" y="154044"/>
                    <a:pt x="115909" y="155244"/>
                    <a:pt x="109761" y="155244"/>
                  </a:cubicBezTo>
                  <a:cubicBezTo>
                    <a:pt x="108562" y="154044"/>
                    <a:pt x="106013" y="154044"/>
                    <a:pt x="104813" y="154044"/>
                  </a:cubicBezTo>
                  <a:cubicBezTo>
                    <a:pt x="93866" y="147895"/>
                    <a:pt x="88918" y="133198"/>
                    <a:pt x="93866" y="122249"/>
                  </a:cubicBezTo>
                  <a:cubicBezTo>
                    <a:pt x="98665" y="111301"/>
                    <a:pt x="109761" y="103952"/>
                    <a:pt x="120708" y="100203"/>
                  </a:cubicBezTo>
                  <a:close/>
                  <a:moveTo>
                    <a:pt x="28419" y="77585"/>
                  </a:moveTo>
                  <a:cubicBezTo>
                    <a:pt x="38365" y="77884"/>
                    <a:pt x="47260" y="78783"/>
                    <a:pt x="48536" y="79382"/>
                  </a:cubicBezTo>
                  <a:cubicBezTo>
                    <a:pt x="64449" y="84325"/>
                    <a:pt x="75409" y="92863"/>
                    <a:pt x="87719" y="101400"/>
                  </a:cubicBezTo>
                  <a:cubicBezTo>
                    <a:pt x="82765" y="106343"/>
                    <a:pt x="77961" y="113683"/>
                    <a:pt x="76610" y="122221"/>
                  </a:cubicBezTo>
                  <a:cubicBezTo>
                    <a:pt x="75409" y="129560"/>
                    <a:pt x="75409" y="136900"/>
                    <a:pt x="77961" y="143041"/>
                  </a:cubicBezTo>
                  <a:cubicBezTo>
                    <a:pt x="75409" y="144239"/>
                    <a:pt x="71805" y="146636"/>
                    <a:pt x="66851" y="147834"/>
                  </a:cubicBezTo>
                  <a:cubicBezTo>
                    <a:pt x="50938" y="147834"/>
                    <a:pt x="33823" y="144239"/>
                    <a:pt x="20312" y="134503"/>
                  </a:cubicBezTo>
                  <a:cubicBezTo>
                    <a:pt x="645" y="121022"/>
                    <a:pt x="-2958" y="105145"/>
                    <a:pt x="1996" y="83127"/>
                  </a:cubicBezTo>
                  <a:cubicBezTo>
                    <a:pt x="3197" y="81928"/>
                    <a:pt x="1996" y="80730"/>
                    <a:pt x="1996" y="79382"/>
                  </a:cubicBezTo>
                  <a:cubicBezTo>
                    <a:pt x="7476" y="77585"/>
                    <a:pt x="18473" y="77285"/>
                    <a:pt x="28419" y="77585"/>
                  </a:cubicBezTo>
                  <a:close/>
                  <a:moveTo>
                    <a:pt x="217517" y="45231"/>
                  </a:moveTo>
                  <a:cubicBezTo>
                    <a:pt x="218718" y="45231"/>
                    <a:pt x="218718" y="46429"/>
                    <a:pt x="219919" y="46429"/>
                  </a:cubicBezTo>
                  <a:cubicBezTo>
                    <a:pt x="237035" y="53768"/>
                    <a:pt x="224874" y="74587"/>
                    <a:pt x="216316" y="84323"/>
                  </a:cubicBezTo>
                  <a:cubicBezTo>
                    <a:pt x="210160" y="91662"/>
                    <a:pt x="202803" y="97803"/>
                    <a:pt x="195446" y="102596"/>
                  </a:cubicBezTo>
                  <a:cubicBezTo>
                    <a:pt x="184336" y="109935"/>
                    <a:pt x="173375" y="114877"/>
                    <a:pt x="161064" y="119820"/>
                  </a:cubicBezTo>
                  <a:cubicBezTo>
                    <a:pt x="159863" y="111283"/>
                    <a:pt x="153707" y="101397"/>
                    <a:pt x="146500" y="96605"/>
                  </a:cubicBezTo>
                  <a:cubicBezTo>
                    <a:pt x="161064" y="70843"/>
                    <a:pt x="186888" y="44033"/>
                    <a:pt x="217517" y="45231"/>
                  </a:cubicBezTo>
                  <a:close/>
                  <a:moveTo>
                    <a:pt x="125689" y="0"/>
                  </a:moveTo>
                  <a:cubicBezTo>
                    <a:pt x="155109" y="22017"/>
                    <a:pt x="140399" y="59911"/>
                    <a:pt x="134245" y="90465"/>
                  </a:cubicBezTo>
                  <a:lnTo>
                    <a:pt x="133044" y="90465"/>
                  </a:lnTo>
                  <a:cubicBezTo>
                    <a:pt x="133044" y="90465"/>
                    <a:pt x="133044" y="89267"/>
                    <a:pt x="131843" y="89267"/>
                  </a:cubicBezTo>
                  <a:cubicBezTo>
                    <a:pt x="124488" y="88069"/>
                    <a:pt x="117134" y="88069"/>
                    <a:pt x="108578" y="90465"/>
                  </a:cubicBezTo>
                  <a:cubicBezTo>
                    <a:pt x="102424" y="66051"/>
                    <a:pt x="92517" y="3595"/>
                    <a:pt x="12568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790" name="Group 789">
            <a:extLst>
              <a:ext uri="{FF2B5EF4-FFF2-40B4-BE49-F238E27FC236}">
                <a16:creationId xmlns:a16="http://schemas.microsoft.com/office/drawing/2014/main" id="{1D0C25EC-8945-404D-BC03-5EB76D2FA571}"/>
              </a:ext>
            </a:extLst>
          </p:cNvPr>
          <p:cNvGrpSpPr/>
          <p:nvPr/>
        </p:nvGrpSpPr>
        <p:grpSpPr>
          <a:xfrm>
            <a:off x="5315898" y="1900247"/>
            <a:ext cx="4004589" cy="1009573"/>
            <a:chOff x="5286021" y="1952067"/>
            <a:chExt cx="4004589" cy="1009573"/>
          </a:xfrm>
        </p:grpSpPr>
        <p:sp>
          <p:nvSpPr>
            <p:cNvPr id="769" name="iṧlïďe">
              <a:extLst>
                <a:ext uri="{FF2B5EF4-FFF2-40B4-BE49-F238E27FC236}">
                  <a16:creationId xmlns:a16="http://schemas.microsoft.com/office/drawing/2014/main" id="{2FC4BEFE-CE20-47B4-B338-01B73E0E62FA}"/>
                </a:ext>
              </a:extLst>
            </p:cNvPr>
            <p:cNvSpPr txBox="1"/>
            <p:nvPr/>
          </p:nvSpPr>
          <p:spPr bwMode="auto">
            <a:xfrm>
              <a:off x="5286021" y="1952067"/>
              <a:ext cx="4004589" cy="38565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2.  Stemming</a:t>
              </a:r>
            </a:p>
          </p:txBody>
        </p:sp>
        <p:sp>
          <p:nvSpPr>
            <p:cNvPr id="770" name="Rectangle 769">
              <a:extLst>
                <a:ext uri="{FF2B5EF4-FFF2-40B4-BE49-F238E27FC236}">
                  <a16:creationId xmlns:a16="http://schemas.microsoft.com/office/drawing/2014/main" id="{DA85B89A-8ED8-49EE-A666-D260F2B40520}"/>
                </a:ext>
              </a:extLst>
            </p:cNvPr>
            <p:cNvSpPr/>
            <p:nvPr/>
          </p:nvSpPr>
          <p:spPr>
            <a:xfrm>
              <a:off x="5286021" y="2315309"/>
              <a:ext cx="4004589" cy="646331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Stop words, e.g. : I’ve 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→ 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I have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Weird words, e.g.: </a:t>
              </a:r>
              <a:r>
                <a:rPr lang="en-US" altLang="zh-TW" dirty="0" err="1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yeeeessss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 </a:t>
              </a:r>
              <a:r>
                <a:rPr lang="zh-TW" altLang="en-US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→ </a:t>
              </a: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yes</a:t>
              </a:r>
            </a:p>
          </p:txBody>
        </p:sp>
      </p:grpSp>
      <p:grpSp>
        <p:nvGrpSpPr>
          <p:cNvPr id="804" name="Group 803">
            <a:extLst>
              <a:ext uri="{FF2B5EF4-FFF2-40B4-BE49-F238E27FC236}">
                <a16:creationId xmlns:a16="http://schemas.microsoft.com/office/drawing/2014/main" id="{97E33835-1953-4C7F-A6A3-FEE3DF5196B1}"/>
              </a:ext>
            </a:extLst>
          </p:cNvPr>
          <p:cNvGrpSpPr/>
          <p:nvPr/>
        </p:nvGrpSpPr>
        <p:grpSpPr>
          <a:xfrm>
            <a:off x="4098084" y="3898841"/>
            <a:ext cx="1024614" cy="1024610"/>
            <a:chOff x="4098084" y="3898841"/>
            <a:chExt cx="1024614" cy="1024610"/>
          </a:xfrm>
        </p:grpSpPr>
        <p:sp>
          <p:nvSpPr>
            <p:cNvPr id="721" name="îṥļïḑè">
              <a:extLst>
                <a:ext uri="{FF2B5EF4-FFF2-40B4-BE49-F238E27FC236}">
                  <a16:creationId xmlns:a16="http://schemas.microsoft.com/office/drawing/2014/main" id="{0BD2C000-7FCE-4C20-84A9-684C23B3E8B4}"/>
                </a:ext>
              </a:extLst>
            </p:cNvPr>
            <p:cNvSpPr/>
            <p:nvPr/>
          </p:nvSpPr>
          <p:spPr>
            <a:xfrm>
              <a:off x="4098084" y="3898841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75" name="dollar-symbol-on-poker-piece_105761">
              <a:extLst>
                <a:ext uri="{FF2B5EF4-FFF2-40B4-BE49-F238E27FC236}">
                  <a16:creationId xmlns:a16="http://schemas.microsoft.com/office/drawing/2014/main" id="{D9EB1011-A02A-4CEC-935B-95EA8FDD423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05549" y="4106764"/>
              <a:ext cx="609684" cy="608764"/>
            </a:xfrm>
            <a:custGeom>
              <a:avLst/>
              <a:gdLst>
                <a:gd name="T0" fmla="*/ 600116 w 606244"/>
                <a:gd name="T1" fmla="*/ 600116 w 606244"/>
                <a:gd name="T2" fmla="*/ 600116 w 606244"/>
                <a:gd name="T3" fmla="*/ 600116 w 606244"/>
                <a:gd name="T4" fmla="*/ 455839 w 606244"/>
                <a:gd name="T5" fmla="*/ 455839 w 606244"/>
                <a:gd name="T6" fmla="*/ 600116 w 606244"/>
                <a:gd name="T7" fmla="*/ 600116 w 606244"/>
                <a:gd name="T8" fmla="*/ 600116 w 606244"/>
                <a:gd name="T9" fmla="*/ 600116 w 606244"/>
                <a:gd name="T10" fmla="*/ 600116 w 606244"/>
                <a:gd name="T11" fmla="*/ 600116 w 606244"/>
                <a:gd name="T12" fmla="*/ 600116 w 606244"/>
                <a:gd name="T13" fmla="*/ 600116 w 606244"/>
                <a:gd name="T14" fmla="*/ 600116 w 606244"/>
                <a:gd name="T15" fmla="*/ 600116 w 606244"/>
                <a:gd name="T16" fmla="*/ 600116 w 606244"/>
                <a:gd name="T17" fmla="*/ 600116 w 606244"/>
                <a:gd name="T18" fmla="*/ 600116 w 606244"/>
                <a:gd name="T19" fmla="*/ 600116 w 606244"/>
                <a:gd name="T20" fmla="*/ 600116 w 606244"/>
                <a:gd name="T21" fmla="*/ 600116 w 606244"/>
                <a:gd name="T22" fmla="*/ 600116 w 606244"/>
                <a:gd name="T23" fmla="*/ 600116 w 606244"/>
                <a:gd name="T24" fmla="*/ 600116 w 606244"/>
                <a:gd name="T25" fmla="*/ 600116 w 606244"/>
                <a:gd name="T26" fmla="*/ 600116 w 606244"/>
                <a:gd name="T27" fmla="*/ 600116 w 606244"/>
                <a:gd name="T28" fmla="*/ 600116 w 606244"/>
                <a:gd name="T29" fmla="*/ 600116 w 606244"/>
                <a:gd name="T30" fmla="*/ 600116 w 606244"/>
                <a:gd name="T31" fmla="*/ 600116 w 606244"/>
                <a:gd name="T32" fmla="*/ 600116 w 606244"/>
                <a:gd name="T33" fmla="*/ 600116 w 606244"/>
                <a:gd name="T34" fmla="*/ 600116 w 606244"/>
                <a:gd name="T35" fmla="*/ 600116 w 606244"/>
                <a:gd name="T36" fmla="*/ 600116 w 606244"/>
                <a:gd name="T37" fmla="*/ 600116 w 606244"/>
                <a:gd name="T38" fmla="*/ 600116 w 606244"/>
                <a:gd name="T39" fmla="*/ 600116 w 606244"/>
                <a:gd name="T40" fmla="*/ 600116 w 606244"/>
                <a:gd name="T41" fmla="*/ 600116 w 606244"/>
                <a:gd name="T42" fmla="*/ 600116 w 606244"/>
                <a:gd name="T43" fmla="*/ 600116 w 606244"/>
                <a:gd name="T44" fmla="*/ 455839 w 606244"/>
                <a:gd name="T45" fmla="*/ 455839 w 606244"/>
                <a:gd name="T46" fmla="*/ 600116 w 606244"/>
                <a:gd name="T47" fmla="*/ 600116 w 606244"/>
                <a:gd name="T48" fmla="*/ 600116 w 606244"/>
                <a:gd name="T49" fmla="*/ 600116 w 606244"/>
                <a:gd name="T50" fmla="*/ 600116 w 606244"/>
                <a:gd name="T51" fmla="*/ 600116 w 606244"/>
                <a:gd name="T52" fmla="*/ 600116 w 606244"/>
                <a:gd name="T53" fmla="*/ 600116 w 606244"/>
                <a:gd name="T54" fmla="*/ 455839 w 606244"/>
                <a:gd name="T55" fmla="*/ 455839 w 606244"/>
                <a:gd name="T56" fmla="*/ 600116 w 606244"/>
                <a:gd name="T57" fmla="*/ 600116 w 606244"/>
                <a:gd name="T58" fmla="*/ 600116 w 606244"/>
                <a:gd name="T59" fmla="*/ 600116 w 606244"/>
                <a:gd name="T60" fmla="*/ 600116 w 606244"/>
                <a:gd name="T61" fmla="*/ 600116 w 606244"/>
                <a:gd name="T62" fmla="*/ 600116 w 606244"/>
                <a:gd name="T63" fmla="*/ 600116 w 606244"/>
                <a:gd name="T64" fmla="*/ 455839 w 606244"/>
                <a:gd name="T65" fmla="*/ 455839 w 606244"/>
                <a:gd name="T66" fmla="*/ 600116 w 606244"/>
                <a:gd name="T67" fmla="*/ 600116 w 606244"/>
                <a:gd name="T68" fmla="*/ 600116 w 606244"/>
                <a:gd name="T69" fmla="*/ 600116 w 606244"/>
                <a:gd name="T70" fmla="*/ 600116 w 606244"/>
                <a:gd name="T71" fmla="*/ 600116 w 606244"/>
                <a:gd name="T72" fmla="*/ 600116 w 606244"/>
                <a:gd name="T73" fmla="*/ 600116 w 606244"/>
                <a:gd name="T74" fmla="*/ 455839 w 606244"/>
                <a:gd name="T75" fmla="*/ 455839 w 606244"/>
                <a:gd name="T76" fmla="*/ 600116 w 606244"/>
                <a:gd name="T77" fmla="*/ 600116 w 606244"/>
                <a:gd name="T78" fmla="*/ 600116 w 606244"/>
                <a:gd name="T79" fmla="*/ 600116 w 606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53" h="3953">
                  <a:moveTo>
                    <a:pt x="1976" y="0"/>
                  </a:moveTo>
                  <a:cubicBezTo>
                    <a:pt x="885" y="0"/>
                    <a:pt x="0" y="885"/>
                    <a:pt x="0" y="1976"/>
                  </a:cubicBezTo>
                  <a:cubicBezTo>
                    <a:pt x="0" y="3068"/>
                    <a:pt x="885" y="3953"/>
                    <a:pt x="1976" y="3953"/>
                  </a:cubicBezTo>
                  <a:cubicBezTo>
                    <a:pt x="3068" y="3953"/>
                    <a:pt x="3953" y="3068"/>
                    <a:pt x="3953" y="1976"/>
                  </a:cubicBezTo>
                  <a:cubicBezTo>
                    <a:pt x="3953" y="885"/>
                    <a:pt x="3068" y="0"/>
                    <a:pt x="1976" y="0"/>
                  </a:cubicBezTo>
                  <a:close/>
                  <a:moveTo>
                    <a:pt x="2961" y="513"/>
                  </a:moveTo>
                  <a:lnTo>
                    <a:pt x="2835" y="699"/>
                  </a:lnTo>
                  <a:cubicBezTo>
                    <a:pt x="2667" y="587"/>
                    <a:pt x="2476" y="506"/>
                    <a:pt x="2271" y="466"/>
                  </a:cubicBezTo>
                  <a:lnTo>
                    <a:pt x="2315" y="246"/>
                  </a:lnTo>
                  <a:cubicBezTo>
                    <a:pt x="2547" y="290"/>
                    <a:pt x="2766" y="381"/>
                    <a:pt x="2961" y="513"/>
                  </a:cubicBezTo>
                  <a:close/>
                  <a:moveTo>
                    <a:pt x="2079" y="2854"/>
                  </a:moveTo>
                  <a:lnTo>
                    <a:pt x="2079" y="3083"/>
                  </a:lnTo>
                  <a:lnTo>
                    <a:pt x="1892" y="3083"/>
                  </a:lnTo>
                  <a:lnTo>
                    <a:pt x="1892" y="2855"/>
                  </a:lnTo>
                  <a:cubicBezTo>
                    <a:pt x="1759" y="2840"/>
                    <a:pt x="1634" y="2789"/>
                    <a:pt x="1540" y="2702"/>
                  </a:cubicBezTo>
                  <a:cubicBezTo>
                    <a:pt x="1445" y="2614"/>
                    <a:pt x="1402" y="2485"/>
                    <a:pt x="1405" y="2316"/>
                  </a:cubicBezTo>
                  <a:lnTo>
                    <a:pt x="1410" y="2310"/>
                  </a:lnTo>
                  <a:lnTo>
                    <a:pt x="1740" y="2310"/>
                  </a:lnTo>
                  <a:cubicBezTo>
                    <a:pt x="1740" y="2416"/>
                    <a:pt x="1764" y="2487"/>
                    <a:pt x="1811" y="2532"/>
                  </a:cubicBezTo>
                  <a:cubicBezTo>
                    <a:pt x="1858" y="2577"/>
                    <a:pt x="1919" y="2599"/>
                    <a:pt x="1992" y="2599"/>
                  </a:cubicBezTo>
                  <a:cubicBezTo>
                    <a:pt x="2062" y="2599"/>
                    <a:pt x="2116" y="2580"/>
                    <a:pt x="2153" y="2543"/>
                  </a:cubicBezTo>
                  <a:cubicBezTo>
                    <a:pt x="2191" y="2506"/>
                    <a:pt x="2210" y="2455"/>
                    <a:pt x="2210" y="2392"/>
                  </a:cubicBezTo>
                  <a:cubicBezTo>
                    <a:pt x="2210" y="2330"/>
                    <a:pt x="2192" y="2279"/>
                    <a:pt x="2156" y="2239"/>
                  </a:cubicBezTo>
                  <a:cubicBezTo>
                    <a:pt x="2120" y="2200"/>
                    <a:pt x="2058" y="2163"/>
                    <a:pt x="1971" y="2130"/>
                  </a:cubicBezTo>
                  <a:cubicBezTo>
                    <a:pt x="1800" y="2067"/>
                    <a:pt x="1673" y="1997"/>
                    <a:pt x="1590" y="1921"/>
                  </a:cubicBezTo>
                  <a:cubicBezTo>
                    <a:pt x="1507" y="1844"/>
                    <a:pt x="1466" y="1736"/>
                    <a:pt x="1466" y="1596"/>
                  </a:cubicBezTo>
                  <a:cubicBezTo>
                    <a:pt x="1466" y="1467"/>
                    <a:pt x="1504" y="1360"/>
                    <a:pt x="1587" y="1278"/>
                  </a:cubicBezTo>
                  <a:cubicBezTo>
                    <a:pt x="1670" y="1195"/>
                    <a:pt x="1785" y="1146"/>
                    <a:pt x="1919" y="1131"/>
                  </a:cubicBezTo>
                  <a:lnTo>
                    <a:pt x="1919" y="883"/>
                  </a:lnTo>
                  <a:lnTo>
                    <a:pt x="2105" y="883"/>
                  </a:lnTo>
                  <a:lnTo>
                    <a:pt x="2105" y="1134"/>
                  </a:lnTo>
                  <a:cubicBezTo>
                    <a:pt x="2239" y="1154"/>
                    <a:pt x="2349" y="1210"/>
                    <a:pt x="2427" y="1304"/>
                  </a:cubicBezTo>
                  <a:cubicBezTo>
                    <a:pt x="2504" y="1397"/>
                    <a:pt x="2543" y="1517"/>
                    <a:pt x="2542" y="1665"/>
                  </a:cubicBezTo>
                  <a:lnTo>
                    <a:pt x="2539" y="1670"/>
                  </a:lnTo>
                  <a:lnTo>
                    <a:pt x="2210" y="1670"/>
                  </a:lnTo>
                  <a:cubicBezTo>
                    <a:pt x="2210" y="1576"/>
                    <a:pt x="2191" y="1510"/>
                    <a:pt x="2153" y="1461"/>
                  </a:cubicBezTo>
                  <a:cubicBezTo>
                    <a:pt x="2116" y="1411"/>
                    <a:pt x="2065" y="1387"/>
                    <a:pt x="2000" y="1387"/>
                  </a:cubicBezTo>
                  <a:cubicBezTo>
                    <a:pt x="1934" y="1387"/>
                    <a:pt x="1885" y="1407"/>
                    <a:pt x="1852" y="1445"/>
                  </a:cubicBezTo>
                  <a:cubicBezTo>
                    <a:pt x="1820" y="1483"/>
                    <a:pt x="1804" y="1534"/>
                    <a:pt x="1804" y="1597"/>
                  </a:cubicBezTo>
                  <a:cubicBezTo>
                    <a:pt x="1804" y="1657"/>
                    <a:pt x="1821" y="1706"/>
                    <a:pt x="1855" y="1744"/>
                  </a:cubicBezTo>
                  <a:cubicBezTo>
                    <a:pt x="1889" y="1781"/>
                    <a:pt x="1952" y="1818"/>
                    <a:pt x="2044" y="1854"/>
                  </a:cubicBezTo>
                  <a:cubicBezTo>
                    <a:pt x="2215" y="1921"/>
                    <a:pt x="2341" y="1993"/>
                    <a:pt x="2423" y="2069"/>
                  </a:cubicBezTo>
                  <a:cubicBezTo>
                    <a:pt x="2505" y="2146"/>
                    <a:pt x="2546" y="2253"/>
                    <a:pt x="2546" y="2390"/>
                  </a:cubicBezTo>
                  <a:cubicBezTo>
                    <a:pt x="2546" y="2524"/>
                    <a:pt x="2501" y="2631"/>
                    <a:pt x="2419" y="2711"/>
                  </a:cubicBezTo>
                  <a:cubicBezTo>
                    <a:pt x="2336" y="2792"/>
                    <a:pt x="2225" y="2839"/>
                    <a:pt x="2079" y="2854"/>
                  </a:cubicBezTo>
                  <a:close/>
                  <a:moveTo>
                    <a:pt x="1638" y="246"/>
                  </a:moveTo>
                  <a:lnTo>
                    <a:pt x="1681" y="466"/>
                  </a:lnTo>
                  <a:cubicBezTo>
                    <a:pt x="1475" y="506"/>
                    <a:pt x="1284" y="587"/>
                    <a:pt x="1117" y="700"/>
                  </a:cubicBezTo>
                  <a:lnTo>
                    <a:pt x="992" y="513"/>
                  </a:lnTo>
                  <a:cubicBezTo>
                    <a:pt x="1187" y="381"/>
                    <a:pt x="1406" y="290"/>
                    <a:pt x="1638" y="246"/>
                  </a:cubicBezTo>
                  <a:close/>
                  <a:moveTo>
                    <a:pt x="513" y="992"/>
                  </a:moveTo>
                  <a:lnTo>
                    <a:pt x="699" y="1118"/>
                  </a:lnTo>
                  <a:cubicBezTo>
                    <a:pt x="587" y="1285"/>
                    <a:pt x="506" y="1477"/>
                    <a:pt x="466" y="1682"/>
                  </a:cubicBezTo>
                  <a:lnTo>
                    <a:pt x="246" y="1638"/>
                  </a:lnTo>
                  <a:cubicBezTo>
                    <a:pt x="290" y="1406"/>
                    <a:pt x="381" y="1187"/>
                    <a:pt x="513" y="992"/>
                  </a:cubicBezTo>
                  <a:close/>
                  <a:moveTo>
                    <a:pt x="513" y="2961"/>
                  </a:moveTo>
                  <a:cubicBezTo>
                    <a:pt x="381" y="2766"/>
                    <a:pt x="290" y="2547"/>
                    <a:pt x="246" y="2315"/>
                  </a:cubicBezTo>
                  <a:lnTo>
                    <a:pt x="466" y="2272"/>
                  </a:lnTo>
                  <a:cubicBezTo>
                    <a:pt x="506" y="2478"/>
                    <a:pt x="587" y="2669"/>
                    <a:pt x="700" y="2836"/>
                  </a:cubicBezTo>
                  <a:lnTo>
                    <a:pt x="513" y="2961"/>
                  </a:lnTo>
                  <a:close/>
                  <a:moveTo>
                    <a:pt x="992" y="3440"/>
                  </a:moveTo>
                  <a:lnTo>
                    <a:pt x="1118" y="3254"/>
                  </a:lnTo>
                  <a:cubicBezTo>
                    <a:pt x="1285" y="3366"/>
                    <a:pt x="1477" y="3447"/>
                    <a:pt x="1682" y="3487"/>
                  </a:cubicBezTo>
                  <a:lnTo>
                    <a:pt x="1638" y="3707"/>
                  </a:lnTo>
                  <a:cubicBezTo>
                    <a:pt x="1406" y="3662"/>
                    <a:pt x="1187" y="3572"/>
                    <a:pt x="992" y="3440"/>
                  </a:cubicBezTo>
                  <a:close/>
                  <a:moveTo>
                    <a:pt x="2315" y="3707"/>
                  </a:moveTo>
                  <a:lnTo>
                    <a:pt x="2272" y="3487"/>
                  </a:lnTo>
                  <a:cubicBezTo>
                    <a:pt x="2478" y="3447"/>
                    <a:pt x="2669" y="3366"/>
                    <a:pt x="2836" y="3253"/>
                  </a:cubicBezTo>
                  <a:lnTo>
                    <a:pt x="2961" y="3440"/>
                  </a:lnTo>
                  <a:cubicBezTo>
                    <a:pt x="2766" y="3572"/>
                    <a:pt x="2547" y="3663"/>
                    <a:pt x="2315" y="3707"/>
                  </a:cubicBezTo>
                  <a:close/>
                  <a:moveTo>
                    <a:pt x="3440" y="2961"/>
                  </a:moveTo>
                  <a:lnTo>
                    <a:pt x="3254" y="2835"/>
                  </a:lnTo>
                  <a:cubicBezTo>
                    <a:pt x="3366" y="2667"/>
                    <a:pt x="3447" y="2476"/>
                    <a:pt x="3487" y="2271"/>
                  </a:cubicBezTo>
                  <a:lnTo>
                    <a:pt x="3707" y="2315"/>
                  </a:lnTo>
                  <a:cubicBezTo>
                    <a:pt x="3662" y="2547"/>
                    <a:pt x="3572" y="2766"/>
                    <a:pt x="3440" y="2961"/>
                  </a:cubicBezTo>
                  <a:close/>
                  <a:moveTo>
                    <a:pt x="3487" y="1681"/>
                  </a:moveTo>
                  <a:cubicBezTo>
                    <a:pt x="3447" y="1475"/>
                    <a:pt x="3366" y="1284"/>
                    <a:pt x="3253" y="1117"/>
                  </a:cubicBezTo>
                  <a:lnTo>
                    <a:pt x="3440" y="992"/>
                  </a:lnTo>
                  <a:cubicBezTo>
                    <a:pt x="3572" y="1187"/>
                    <a:pt x="3662" y="1406"/>
                    <a:pt x="3707" y="1638"/>
                  </a:cubicBezTo>
                  <a:lnTo>
                    <a:pt x="3487" y="16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803" name="Group 802">
            <a:extLst>
              <a:ext uri="{FF2B5EF4-FFF2-40B4-BE49-F238E27FC236}">
                <a16:creationId xmlns:a16="http://schemas.microsoft.com/office/drawing/2014/main" id="{CA406A03-D4B9-4D74-8BD2-1F7E4F852487}"/>
              </a:ext>
            </a:extLst>
          </p:cNvPr>
          <p:cNvGrpSpPr/>
          <p:nvPr/>
        </p:nvGrpSpPr>
        <p:grpSpPr>
          <a:xfrm>
            <a:off x="2907165" y="5052011"/>
            <a:ext cx="1024614" cy="1024610"/>
            <a:chOff x="2907165" y="5052011"/>
            <a:chExt cx="1024614" cy="1024610"/>
          </a:xfrm>
        </p:grpSpPr>
        <p:sp>
          <p:nvSpPr>
            <p:cNvPr id="36" name="iSḷiďê">
              <a:extLst>
                <a:ext uri="{FF2B5EF4-FFF2-40B4-BE49-F238E27FC236}">
                  <a16:creationId xmlns:a16="http://schemas.microsoft.com/office/drawing/2014/main" id="{9B73D5D5-198B-4787-ACF4-C5D7C55AB3A8}"/>
                </a:ext>
              </a:extLst>
            </p:cNvPr>
            <p:cNvSpPr/>
            <p:nvPr/>
          </p:nvSpPr>
          <p:spPr>
            <a:xfrm>
              <a:off x="2907165" y="5052011"/>
              <a:ext cx="1024614" cy="102461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777" name="broom_120157">
              <a:extLst>
                <a:ext uri="{FF2B5EF4-FFF2-40B4-BE49-F238E27FC236}">
                  <a16:creationId xmlns:a16="http://schemas.microsoft.com/office/drawing/2014/main" id="{0BB86856-5955-4F6A-B6DC-8DF5E70D8A7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14630" y="5260606"/>
              <a:ext cx="609685" cy="607421"/>
            </a:xfrm>
            <a:custGeom>
              <a:avLst/>
              <a:gdLst>
                <a:gd name="T0" fmla="*/ 5934 w 6127"/>
                <a:gd name="T1" fmla="*/ 485 h 6113"/>
                <a:gd name="T2" fmla="*/ 3594 w 6127"/>
                <a:gd name="T3" fmla="*/ 2240 h 6113"/>
                <a:gd name="T4" fmla="*/ 5642 w 6127"/>
                <a:gd name="T5" fmla="*/ 41 h 6113"/>
                <a:gd name="T6" fmla="*/ 3443 w 6127"/>
                <a:gd name="T7" fmla="*/ 2089 h 6113"/>
                <a:gd name="T8" fmla="*/ 3061 w 6127"/>
                <a:gd name="T9" fmla="*/ 1840 h 6113"/>
                <a:gd name="T10" fmla="*/ 2760 w 6127"/>
                <a:gd name="T11" fmla="*/ 2009 h 6113"/>
                <a:gd name="T12" fmla="*/ 81 w 6127"/>
                <a:gd name="T13" fmla="*/ 3494 h 6113"/>
                <a:gd name="T14" fmla="*/ 971 w 6127"/>
                <a:gd name="T15" fmla="*/ 5155 h 6113"/>
                <a:gd name="T16" fmla="*/ 2533 w 6127"/>
                <a:gd name="T17" fmla="*/ 6113 h 6113"/>
                <a:gd name="T18" fmla="*/ 3785 w 6127"/>
                <a:gd name="T19" fmla="*/ 3443 h 6113"/>
                <a:gd name="T20" fmla="*/ 4117 w 6127"/>
                <a:gd name="T21" fmla="*/ 3367 h 6113"/>
                <a:gd name="T22" fmla="*/ 4193 w 6127"/>
                <a:gd name="T23" fmla="*/ 2839 h 6113"/>
                <a:gd name="T24" fmla="*/ 6085 w 6127"/>
                <a:gd name="T25" fmla="*/ 635 h 6113"/>
                <a:gd name="T26" fmla="*/ 2813 w 6127"/>
                <a:gd name="T27" fmla="*/ 2515 h 6113"/>
                <a:gd name="T28" fmla="*/ 2034 w 6127"/>
                <a:gd name="T29" fmla="*/ 3199 h 6113"/>
                <a:gd name="T30" fmla="*/ 2095 w 6127"/>
                <a:gd name="T31" fmla="*/ 3393 h 6113"/>
                <a:gd name="T32" fmla="*/ 3049 w 6127"/>
                <a:gd name="T33" fmla="*/ 2751 h 6113"/>
                <a:gd name="T34" fmla="*/ 1048 w 6127"/>
                <a:gd name="T35" fmla="*/ 4928 h 6113"/>
                <a:gd name="T36" fmla="*/ 1778 w 6127"/>
                <a:gd name="T37" fmla="*/ 3638 h 6113"/>
                <a:gd name="T38" fmla="*/ 1656 w 6127"/>
                <a:gd name="T39" fmla="*/ 3463 h 6113"/>
                <a:gd name="T40" fmla="*/ 255 w 6127"/>
                <a:gd name="T41" fmla="*/ 3655 h 6113"/>
                <a:gd name="T42" fmla="*/ 2471 w 6127"/>
                <a:gd name="T43" fmla="*/ 5871 h 6113"/>
                <a:gd name="T44" fmla="*/ 2083 w 6127"/>
                <a:gd name="T45" fmla="*/ 5303 h 6113"/>
                <a:gd name="T46" fmla="*/ 1908 w 6127"/>
                <a:gd name="T47" fmla="*/ 5181 h 6113"/>
                <a:gd name="T48" fmla="*/ 1199 w 6127"/>
                <a:gd name="T49" fmla="*/ 5078 h 6113"/>
                <a:gd name="T50" fmla="*/ 3375 w 6127"/>
                <a:gd name="T51" fmla="*/ 3077 h 6113"/>
                <a:gd name="T52" fmla="*/ 2213 w 6127"/>
                <a:gd name="T53" fmla="*/ 4930 h 6113"/>
                <a:gd name="T54" fmla="*/ 2362 w 6127"/>
                <a:gd name="T55" fmla="*/ 4904 h 6113"/>
                <a:gd name="T56" fmla="*/ 3611 w 6127"/>
                <a:gd name="T57" fmla="*/ 3313 h 6113"/>
                <a:gd name="T58" fmla="*/ 4042 w 6127"/>
                <a:gd name="T59" fmla="*/ 3141 h 6113"/>
                <a:gd name="T60" fmla="*/ 3891 w 6127"/>
                <a:gd name="T61" fmla="*/ 3247 h 6113"/>
                <a:gd name="T62" fmla="*/ 3363 w 6127"/>
                <a:gd name="T63" fmla="*/ 2764 h 6113"/>
                <a:gd name="T64" fmla="*/ 3363 w 6127"/>
                <a:gd name="T65" fmla="*/ 2763 h 6113"/>
                <a:gd name="T66" fmla="*/ 2910 w 6127"/>
                <a:gd name="T67" fmla="*/ 2160 h 6113"/>
                <a:gd name="T68" fmla="*/ 3061 w 6127"/>
                <a:gd name="T69" fmla="*/ 2054 h 6113"/>
                <a:gd name="T70" fmla="*/ 4042 w 6127"/>
                <a:gd name="T71" fmla="*/ 2990 h 6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127" h="6113">
                  <a:moveTo>
                    <a:pt x="6085" y="485"/>
                  </a:moveTo>
                  <a:cubicBezTo>
                    <a:pt x="6044" y="443"/>
                    <a:pt x="5976" y="443"/>
                    <a:pt x="5934" y="485"/>
                  </a:cubicBezTo>
                  <a:lnTo>
                    <a:pt x="3886" y="2533"/>
                  </a:lnTo>
                  <a:lnTo>
                    <a:pt x="3594" y="2240"/>
                  </a:lnTo>
                  <a:lnTo>
                    <a:pt x="5642" y="192"/>
                  </a:lnTo>
                  <a:cubicBezTo>
                    <a:pt x="5683" y="150"/>
                    <a:pt x="5683" y="83"/>
                    <a:pt x="5642" y="41"/>
                  </a:cubicBezTo>
                  <a:cubicBezTo>
                    <a:pt x="5600" y="0"/>
                    <a:pt x="5533" y="0"/>
                    <a:pt x="5491" y="41"/>
                  </a:cubicBezTo>
                  <a:lnTo>
                    <a:pt x="3443" y="2089"/>
                  </a:lnTo>
                  <a:lnTo>
                    <a:pt x="3288" y="1934"/>
                  </a:lnTo>
                  <a:cubicBezTo>
                    <a:pt x="3227" y="1874"/>
                    <a:pt x="3147" y="1840"/>
                    <a:pt x="3061" y="1840"/>
                  </a:cubicBezTo>
                  <a:cubicBezTo>
                    <a:pt x="2976" y="1840"/>
                    <a:pt x="2895" y="1874"/>
                    <a:pt x="2835" y="1934"/>
                  </a:cubicBezTo>
                  <a:lnTo>
                    <a:pt x="2760" y="2009"/>
                  </a:lnTo>
                  <a:cubicBezTo>
                    <a:pt x="2670" y="2099"/>
                    <a:pt x="2645" y="2229"/>
                    <a:pt x="2684" y="2341"/>
                  </a:cubicBezTo>
                  <a:cubicBezTo>
                    <a:pt x="1676" y="2828"/>
                    <a:pt x="778" y="3225"/>
                    <a:pt x="81" y="3494"/>
                  </a:cubicBezTo>
                  <a:cubicBezTo>
                    <a:pt x="28" y="3514"/>
                    <a:pt x="0" y="3573"/>
                    <a:pt x="19" y="3628"/>
                  </a:cubicBezTo>
                  <a:cubicBezTo>
                    <a:pt x="215" y="4200"/>
                    <a:pt x="544" y="4728"/>
                    <a:pt x="971" y="5155"/>
                  </a:cubicBezTo>
                  <a:cubicBezTo>
                    <a:pt x="1399" y="5582"/>
                    <a:pt x="1927" y="5912"/>
                    <a:pt x="2499" y="6108"/>
                  </a:cubicBezTo>
                  <a:cubicBezTo>
                    <a:pt x="2510" y="6112"/>
                    <a:pt x="2522" y="6113"/>
                    <a:pt x="2533" y="6113"/>
                  </a:cubicBezTo>
                  <a:cubicBezTo>
                    <a:pt x="2576" y="6113"/>
                    <a:pt x="2617" y="6087"/>
                    <a:pt x="2633" y="6045"/>
                  </a:cubicBezTo>
                  <a:cubicBezTo>
                    <a:pt x="2901" y="5348"/>
                    <a:pt x="3299" y="4450"/>
                    <a:pt x="3785" y="3443"/>
                  </a:cubicBezTo>
                  <a:cubicBezTo>
                    <a:pt x="3819" y="3454"/>
                    <a:pt x="3854" y="3460"/>
                    <a:pt x="3891" y="3460"/>
                  </a:cubicBezTo>
                  <a:cubicBezTo>
                    <a:pt x="3977" y="3460"/>
                    <a:pt x="4057" y="3427"/>
                    <a:pt x="4117" y="3367"/>
                  </a:cubicBezTo>
                  <a:lnTo>
                    <a:pt x="4193" y="3291"/>
                  </a:lnTo>
                  <a:cubicBezTo>
                    <a:pt x="4317" y="3167"/>
                    <a:pt x="4317" y="2964"/>
                    <a:pt x="4193" y="2839"/>
                  </a:cubicBezTo>
                  <a:lnTo>
                    <a:pt x="4037" y="2683"/>
                  </a:lnTo>
                  <a:lnTo>
                    <a:pt x="6085" y="635"/>
                  </a:lnTo>
                  <a:cubicBezTo>
                    <a:pt x="6127" y="594"/>
                    <a:pt x="6127" y="526"/>
                    <a:pt x="6085" y="485"/>
                  </a:cubicBezTo>
                  <a:close/>
                  <a:moveTo>
                    <a:pt x="2813" y="2515"/>
                  </a:moveTo>
                  <a:lnTo>
                    <a:pt x="2896" y="2598"/>
                  </a:lnTo>
                  <a:lnTo>
                    <a:pt x="2034" y="3199"/>
                  </a:lnTo>
                  <a:cubicBezTo>
                    <a:pt x="1986" y="3233"/>
                    <a:pt x="1974" y="3299"/>
                    <a:pt x="2007" y="3348"/>
                  </a:cubicBezTo>
                  <a:cubicBezTo>
                    <a:pt x="2028" y="3377"/>
                    <a:pt x="2061" y="3393"/>
                    <a:pt x="2095" y="3393"/>
                  </a:cubicBezTo>
                  <a:cubicBezTo>
                    <a:pt x="2116" y="3393"/>
                    <a:pt x="2137" y="3387"/>
                    <a:pt x="2156" y="3374"/>
                  </a:cubicBezTo>
                  <a:lnTo>
                    <a:pt x="3049" y="2751"/>
                  </a:lnTo>
                  <a:lnTo>
                    <a:pt x="3137" y="2839"/>
                  </a:lnTo>
                  <a:lnTo>
                    <a:pt x="1048" y="4928"/>
                  </a:lnTo>
                  <a:cubicBezTo>
                    <a:pt x="901" y="4772"/>
                    <a:pt x="768" y="4603"/>
                    <a:pt x="649" y="4425"/>
                  </a:cubicBezTo>
                  <a:lnTo>
                    <a:pt x="1778" y="3638"/>
                  </a:lnTo>
                  <a:cubicBezTo>
                    <a:pt x="1826" y="3604"/>
                    <a:pt x="1838" y="3537"/>
                    <a:pt x="1805" y="3489"/>
                  </a:cubicBezTo>
                  <a:cubicBezTo>
                    <a:pt x="1771" y="3441"/>
                    <a:pt x="1704" y="3429"/>
                    <a:pt x="1656" y="3463"/>
                  </a:cubicBezTo>
                  <a:lnTo>
                    <a:pt x="536" y="4244"/>
                  </a:lnTo>
                  <a:cubicBezTo>
                    <a:pt x="426" y="4056"/>
                    <a:pt x="331" y="3859"/>
                    <a:pt x="255" y="3655"/>
                  </a:cubicBezTo>
                  <a:cubicBezTo>
                    <a:pt x="951" y="3382"/>
                    <a:pt x="1832" y="2990"/>
                    <a:pt x="2813" y="2515"/>
                  </a:cubicBezTo>
                  <a:close/>
                  <a:moveTo>
                    <a:pt x="2471" y="5871"/>
                  </a:moveTo>
                  <a:cubicBezTo>
                    <a:pt x="2268" y="5795"/>
                    <a:pt x="2071" y="5701"/>
                    <a:pt x="1883" y="5591"/>
                  </a:cubicBezTo>
                  <a:lnTo>
                    <a:pt x="2083" y="5303"/>
                  </a:lnTo>
                  <a:cubicBezTo>
                    <a:pt x="2116" y="5255"/>
                    <a:pt x="2105" y="5189"/>
                    <a:pt x="2056" y="5155"/>
                  </a:cubicBezTo>
                  <a:cubicBezTo>
                    <a:pt x="2008" y="5121"/>
                    <a:pt x="1942" y="5133"/>
                    <a:pt x="1908" y="5181"/>
                  </a:cubicBezTo>
                  <a:lnTo>
                    <a:pt x="1701" y="5477"/>
                  </a:lnTo>
                  <a:cubicBezTo>
                    <a:pt x="1523" y="5359"/>
                    <a:pt x="1354" y="5225"/>
                    <a:pt x="1199" y="5078"/>
                  </a:cubicBezTo>
                  <a:lnTo>
                    <a:pt x="3288" y="2990"/>
                  </a:lnTo>
                  <a:lnTo>
                    <a:pt x="3375" y="3077"/>
                  </a:lnTo>
                  <a:lnTo>
                    <a:pt x="2187" y="4782"/>
                  </a:lnTo>
                  <a:cubicBezTo>
                    <a:pt x="2153" y="4830"/>
                    <a:pt x="2165" y="4896"/>
                    <a:pt x="2213" y="4930"/>
                  </a:cubicBezTo>
                  <a:cubicBezTo>
                    <a:pt x="2232" y="4943"/>
                    <a:pt x="2253" y="4949"/>
                    <a:pt x="2274" y="4949"/>
                  </a:cubicBezTo>
                  <a:cubicBezTo>
                    <a:pt x="2308" y="4949"/>
                    <a:pt x="2341" y="4933"/>
                    <a:pt x="2362" y="4904"/>
                  </a:cubicBezTo>
                  <a:lnTo>
                    <a:pt x="3528" y="3231"/>
                  </a:lnTo>
                  <a:lnTo>
                    <a:pt x="3611" y="3313"/>
                  </a:lnTo>
                  <a:cubicBezTo>
                    <a:pt x="3136" y="4295"/>
                    <a:pt x="2744" y="5175"/>
                    <a:pt x="2471" y="5871"/>
                  </a:cubicBezTo>
                  <a:close/>
                  <a:moveTo>
                    <a:pt x="4042" y="3141"/>
                  </a:moveTo>
                  <a:lnTo>
                    <a:pt x="3966" y="3216"/>
                  </a:lnTo>
                  <a:cubicBezTo>
                    <a:pt x="3946" y="3236"/>
                    <a:pt x="3920" y="3247"/>
                    <a:pt x="3891" y="3247"/>
                  </a:cubicBezTo>
                  <a:cubicBezTo>
                    <a:pt x="3862" y="3247"/>
                    <a:pt x="3835" y="3236"/>
                    <a:pt x="3816" y="3216"/>
                  </a:cubicBezTo>
                  <a:lnTo>
                    <a:pt x="3363" y="2764"/>
                  </a:lnTo>
                  <a:cubicBezTo>
                    <a:pt x="3363" y="2764"/>
                    <a:pt x="3363" y="2763"/>
                    <a:pt x="3363" y="2763"/>
                  </a:cubicBezTo>
                  <a:cubicBezTo>
                    <a:pt x="3363" y="2763"/>
                    <a:pt x="3363" y="2763"/>
                    <a:pt x="3363" y="2763"/>
                  </a:cubicBezTo>
                  <a:lnTo>
                    <a:pt x="2910" y="2311"/>
                  </a:lnTo>
                  <a:cubicBezTo>
                    <a:pt x="2869" y="2269"/>
                    <a:pt x="2869" y="2202"/>
                    <a:pt x="2910" y="2160"/>
                  </a:cubicBezTo>
                  <a:lnTo>
                    <a:pt x="2986" y="2085"/>
                  </a:lnTo>
                  <a:cubicBezTo>
                    <a:pt x="3006" y="2065"/>
                    <a:pt x="3033" y="2054"/>
                    <a:pt x="3061" y="2054"/>
                  </a:cubicBezTo>
                  <a:cubicBezTo>
                    <a:pt x="3090" y="2054"/>
                    <a:pt x="3117" y="2065"/>
                    <a:pt x="3137" y="2085"/>
                  </a:cubicBezTo>
                  <a:lnTo>
                    <a:pt x="4042" y="2990"/>
                  </a:lnTo>
                  <a:cubicBezTo>
                    <a:pt x="4083" y="3031"/>
                    <a:pt x="4083" y="3099"/>
                    <a:pt x="4042" y="314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grpSp>
        <p:nvGrpSpPr>
          <p:cNvPr id="791" name="Group 790">
            <a:extLst>
              <a:ext uri="{FF2B5EF4-FFF2-40B4-BE49-F238E27FC236}">
                <a16:creationId xmlns:a16="http://schemas.microsoft.com/office/drawing/2014/main" id="{2746DDD6-55DD-4235-ADE6-64AD9C6962F9}"/>
              </a:ext>
            </a:extLst>
          </p:cNvPr>
          <p:cNvGrpSpPr/>
          <p:nvPr/>
        </p:nvGrpSpPr>
        <p:grpSpPr>
          <a:xfrm>
            <a:off x="5315898" y="3046529"/>
            <a:ext cx="2715364" cy="732574"/>
            <a:chOff x="5286022" y="3436436"/>
            <a:chExt cx="2715364" cy="732574"/>
          </a:xfrm>
        </p:grpSpPr>
        <p:sp>
          <p:nvSpPr>
            <p:cNvPr id="778" name="iṧlïďe">
              <a:extLst>
                <a:ext uri="{FF2B5EF4-FFF2-40B4-BE49-F238E27FC236}">
                  <a16:creationId xmlns:a16="http://schemas.microsoft.com/office/drawing/2014/main" id="{F1352C4B-7DF3-4B72-B31A-A4A65F887025}"/>
                </a:ext>
              </a:extLst>
            </p:cNvPr>
            <p:cNvSpPr txBox="1"/>
            <p:nvPr/>
          </p:nvSpPr>
          <p:spPr bwMode="auto">
            <a:xfrm>
              <a:off x="5286022" y="3436436"/>
              <a:ext cx="2715364" cy="36933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3.  Tokenize</a:t>
              </a:r>
            </a:p>
          </p:txBody>
        </p:sp>
        <p:sp>
          <p:nvSpPr>
            <p:cNvPr id="779" name="Rectangle 778">
              <a:extLst>
                <a:ext uri="{FF2B5EF4-FFF2-40B4-BE49-F238E27FC236}">
                  <a16:creationId xmlns:a16="http://schemas.microsoft.com/office/drawing/2014/main" id="{A95B18B0-A16F-44EA-8C74-1742B363E58A}"/>
                </a:ext>
              </a:extLst>
            </p:cNvPr>
            <p:cNvSpPr/>
            <p:nvPr/>
          </p:nvSpPr>
          <p:spPr>
            <a:xfrm>
              <a:off x="5286022" y="3799678"/>
              <a:ext cx="2715364" cy="369332"/>
            </a:xfrm>
            <a:prstGeom prst="rect">
              <a:avLst/>
            </a:prstGeom>
            <a:solidFill>
              <a:schemeClr val="accent6"/>
            </a:solidFill>
          </p:spPr>
          <p:txBody>
            <a:bodyPr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Use </a:t>
              </a:r>
              <a:r>
                <a:rPr lang="en-US" altLang="zh-TW" dirty="0" err="1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TweetTokenizer</a:t>
              </a:r>
              <a:endParaRPr lang="en-US" altLang="zh-TW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endParaRPr>
            </a:p>
          </p:txBody>
        </p:sp>
      </p:grpSp>
      <p:sp>
        <p:nvSpPr>
          <p:cNvPr id="787" name="Rectangle 786">
            <a:extLst>
              <a:ext uri="{FF2B5EF4-FFF2-40B4-BE49-F238E27FC236}">
                <a16:creationId xmlns:a16="http://schemas.microsoft.com/office/drawing/2014/main" id="{88E1C4E1-417B-4AFC-A354-581B126075BC}"/>
              </a:ext>
            </a:extLst>
          </p:cNvPr>
          <p:cNvSpPr/>
          <p:nvPr/>
        </p:nvSpPr>
        <p:spPr>
          <a:xfrm>
            <a:off x="8299289" y="3815732"/>
            <a:ext cx="297096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[“we”, ”are”, “team”, “delta”, </a:t>
            </a:r>
            <a:r>
              <a:rPr lang="en-US" altLang="zh-TW" dirty="0">
                <a:solidFill>
                  <a:schemeClr val="accent5">
                    <a:lumMod val="20000"/>
                    <a:lumOff val="80000"/>
                  </a:schemeClr>
                </a:solidFill>
                <a:latin typeface="Tw Cen MT" panose="020B0602020104020603" pitchFamily="34" charset="0"/>
              </a:rPr>
              <a:t>“!”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, “we”, “love”, “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nlp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”, “so”, </a:t>
            </a:r>
          </a:p>
          <a:p>
            <a:pPr algn="ctr"/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“much”, “❤”, “</a:t>
            </a:r>
            <a:r>
              <a:rPr lang="zh-TW" altLang="en-US" dirty="0">
                <a:solidFill>
                  <a:schemeClr val="accent5"/>
                </a:solidFill>
                <a:latin typeface="Tw Cen MT" panose="020B0602020104020603" pitchFamily="34" charset="0"/>
              </a:rPr>
              <a:t>😂”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, </a:t>
            </a:r>
            <a:r>
              <a:rPr lang="en-US" altLang="zh-TW" dirty="0">
                <a:solidFill>
                  <a:schemeClr val="accent5">
                    <a:lumMod val="20000"/>
                    <a:lumOff val="80000"/>
                  </a:schemeClr>
                </a:solidFill>
                <a:latin typeface="Tw Cen MT" panose="020B0602020104020603" pitchFamily="34" charset="0"/>
              </a:rPr>
              <a:t>“#</a:t>
            </a:r>
            <a:r>
              <a:rPr lang="en-US" altLang="zh-TW" dirty="0" err="1">
                <a:solidFill>
                  <a:schemeClr val="accent5">
                    <a:lumMod val="20000"/>
                    <a:lumOff val="80000"/>
                  </a:schemeClr>
                </a:solidFill>
                <a:latin typeface="Tw Cen MT" panose="020B0602020104020603" pitchFamily="34" charset="0"/>
              </a:rPr>
              <a:t>nlpthebest</a:t>
            </a:r>
            <a:r>
              <a:rPr lang="en-US" altLang="zh-TW" dirty="0">
                <a:solidFill>
                  <a:schemeClr val="accent5">
                    <a:lumMod val="20000"/>
                    <a:lumOff val="80000"/>
                  </a:schemeClr>
                </a:solidFill>
                <a:latin typeface="Tw Cen MT" panose="020B0602020104020603" pitchFamily="34" charset="0"/>
              </a:rPr>
              <a:t>”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]</a:t>
            </a:r>
          </a:p>
        </p:txBody>
      </p:sp>
      <p:grpSp>
        <p:nvGrpSpPr>
          <p:cNvPr id="792" name="Group 791">
            <a:extLst>
              <a:ext uri="{FF2B5EF4-FFF2-40B4-BE49-F238E27FC236}">
                <a16:creationId xmlns:a16="http://schemas.microsoft.com/office/drawing/2014/main" id="{56CEF60A-FBAD-4AC1-AAEB-82FDD7EBAD21}"/>
              </a:ext>
            </a:extLst>
          </p:cNvPr>
          <p:cNvGrpSpPr/>
          <p:nvPr/>
        </p:nvGrpSpPr>
        <p:grpSpPr>
          <a:xfrm>
            <a:off x="5315898" y="3915811"/>
            <a:ext cx="2715364" cy="2117568"/>
            <a:chOff x="5286022" y="4290474"/>
            <a:chExt cx="2715364" cy="2117568"/>
          </a:xfrm>
        </p:grpSpPr>
        <p:sp>
          <p:nvSpPr>
            <p:cNvPr id="788" name="iṧlïďe">
              <a:extLst>
                <a:ext uri="{FF2B5EF4-FFF2-40B4-BE49-F238E27FC236}">
                  <a16:creationId xmlns:a16="http://schemas.microsoft.com/office/drawing/2014/main" id="{B76CC17B-494D-49A3-B30E-DD1CFD03AC02}"/>
                </a:ext>
              </a:extLst>
            </p:cNvPr>
            <p:cNvSpPr txBox="1"/>
            <p:nvPr/>
          </p:nvSpPr>
          <p:spPr bwMode="auto">
            <a:xfrm>
              <a:off x="5286022" y="4290474"/>
              <a:ext cx="2715364" cy="3632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dirty="0"/>
                <a:t>Step 4. Cleaning</a:t>
              </a:r>
            </a:p>
          </p:txBody>
        </p:sp>
        <p:sp>
          <p:nvSpPr>
            <p:cNvPr id="789" name="Rectangle 788">
              <a:extLst>
                <a:ext uri="{FF2B5EF4-FFF2-40B4-BE49-F238E27FC236}">
                  <a16:creationId xmlns:a16="http://schemas.microsoft.com/office/drawing/2014/main" id="{EA995F82-B39B-43A0-B667-FB3935320729}"/>
                </a:ext>
              </a:extLst>
            </p:cNvPr>
            <p:cNvSpPr/>
            <p:nvPr/>
          </p:nvSpPr>
          <p:spPr>
            <a:xfrm>
              <a:off x="5286022" y="4653716"/>
              <a:ext cx="2715364" cy="1754326"/>
            </a:xfrm>
            <a:prstGeom prst="rect">
              <a:avLst/>
            </a:prstGeom>
            <a:solidFill>
              <a:schemeClr val="accent6"/>
            </a:solidFill>
          </p:spPr>
          <p:txBody>
            <a:bodyPr>
              <a:spAutoFit/>
            </a:bodyPr>
            <a:lstStyle/>
            <a:p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Remove: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Punctuation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Number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#hashtag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@tag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altLang="zh-TW" dirty="0">
                  <a:solidFill>
                    <a:schemeClr val="bg2">
                      <a:lumMod val="25000"/>
                    </a:schemeClr>
                  </a:solidFill>
                  <a:latin typeface="Tw Cen MT" panose="020B0602020104020603" pitchFamily="34" charset="0"/>
                </a:rPr>
                <a:t>URL</a:t>
              </a:r>
            </a:p>
          </p:txBody>
        </p:sp>
      </p:grpSp>
      <p:grpSp>
        <p:nvGrpSpPr>
          <p:cNvPr id="793" name="îSľíḍé">
            <a:extLst>
              <a:ext uri="{FF2B5EF4-FFF2-40B4-BE49-F238E27FC236}">
                <a16:creationId xmlns:a16="http://schemas.microsoft.com/office/drawing/2014/main" id="{8BBE2A94-E5C8-49BD-8E16-433DD93064C0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794" name="ïṧlîḓe">
              <a:extLst>
                <a:ext uri="{FF2B5EF4-FFF2-40B4-BE49-F238E27FC236}">
                  <a16:creationId xmlns:a16="http://schemas.microsoft.com/office/drawing/2014/main" id="{912768B2-683F-4FCE-9E49-8863B46565A1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795" name="iṡliḓè">
              <a:extLst>
                <a:ext uri="{FF2B5EF4-FFF2-40B4-BE49-F238E27FC236}">
                  <a16:creationId xmlns:a16="http://schemas.microsoft.com/office/drawing/2014/main" id="{99C8D79C-C8A6-40B5-8906-BE9BFAA7EAB0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796" name="íšḻíḋè">
                <a:extLst>
                  <a:ext uri="{FF2B5EF4-FFF2-40B4-BE49-F238E27FC236}">
                    <a16:creationId xmlns:a16="http://schemas.microsoft.com/office/drawing/2014/main" id="{826319EE-14CC-4072-B52E-2116A3E71BFA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797" name="îS1iḓé">
                <a:extLst>
                  <a:ext uri="{FF2B5EF4-FFF2-40B4-BE49-F238E27FC236}">
                    <a16:creationId xmlns:a16="http://schemas.microsoft.com/office/drawing/2014/main" id="{E7B29E2B-D721-4A2D-A00E-1F9CE428BF86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817" name="Rectangle 816">
            <a:extLst>
              <a:ext uri="{FF2B5EF4-FFF2-40B4-BE49-F238E27FC236}">
                <a16:creationId xmlns:a16="http://schemas.microsoft.com/office/drawing/2014/main" id="{446B869F-E4BE-430F-AFA1-6C44DA91F067}"/>
              </a:ext>
            </a:extLst>
          </p:cNvPr>
          <p:cNvSpPr/>
          <p:nvPr/>
        </p:nvSpPr>
        <p:spPr>
          <a:xfrm>
            <a:off x="682627" y="352866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ahnschrift SemiCondensed" panose="020B0502040204020203" pitchFamily="34" charset="0"/>
              </a:rPr>
              <a:t>Pre-Processing</a:t>
            </a:r>
          </a:p>
        </p:txBody>
      </p:sp>
      <p:sp>
        <p:nvSpPr>
          <p:cNvPr id="819" name="Rectangle 818">
            <a:extLst>
              <a:ext uri="{FF2B5EF4-FFF2-40B4-BE49-F238E27FC236}">
                <a16:creationId xmlns:a16="http://schemas.microsoft.com/office/drawing/2014/main" id="{8704C69A-A599-463C-A98F-37C2670146EC}"/>
              </a:ext>
            </a:extLst>
          </p:cNvPr>
          <p:cNvSpPr/>
          <p:nvPr/>
        </p:nvSpPr>
        <p:spPr>
          <a:xfrm>
            <a:off x="682627" y="-619109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Bahnschrift SemiCondensed" panose="020B0502040204020203" pitchFamily="34" charset="0"/>
              </a:rPr>
              <a:t>Emojis</a:t>
            </a:r>
          </a:p>
        </p:txBody>
      </p:sp>
      <p:grpSp>
        <p:nvGrpSpPr>
          <p:cNvPr id="338" name="651ee01a-8928-4156-829c-191321169f3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B5489DD-15DF-48E8-ABD7-A80E2C4CBB0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2468284" y="1402770"/>
            <a:ext cx="5001532" cy="4751840"/>
            <a:chOff x="3848893" y="1438800"/>
            <a:chExt cx="4494214" cy="4269849"/>
          </a:xfrm>
        </p:grpSpPr>
        <p:grpSp>
          <p:nvGrpSpPr>
            <p:cNvPr id="339" name="íṥļïḍé">
              <a:extLst>
                <a:ext uri="{FF2B5EF4-FFF2-40B4-BE49-F238E27FC236}">
                  <a16:creationId xmlns:a16="http://schemas.microsoft.com/office/drawing/2014/main" id="{4E422BC6-7AC9-4CEF-86CB-4F44CD4034A3}"/>
                </a:ext>
              </a:extLst>
            </p:cNvPr>
            <p:cNvGrpSpPr/>
            <p:nvPr/>
          </p:nvGrpSpPr>
          <p:grpSpPr>
            <a:xfrm>
              <a:off x="4284773" y="3302905"/>
              <a:ext cx="3612570" cy="2405744"/>
              <a:chOff x="4284773" y="3302905"/>
              <a:chExt cx="3612570" cy="2405744"/>
            </a:xfrm>
          </p:grpSpPr>
          <p:sp>
            <p:nvSpPr>
              <p:cNvPr id="390" name="ïṡľíḑé">
                <a:extLst>
                  <a:ext uri="{FF2B5EF4-FFF2-40B4-BE49-F238E27FC236}">
                    <a16:creationId xmlns:a16="http://schemas.microsoft.com/office/drawing/2014/main" id="{C464B05A-4467-40C4-BDD7-99B79E2E79D7}"/>
                  </a:ext>
                </a:extLst>
              </p:cNvPr>
              <p:cNvSpPr/>
              <p:nvPr/>
            </p:nvSpPr>
            <p:spPr bwMode="auto">
              <a:xfrm>
                <a:off x="4596117" y="3302905"/>
                <a:ext cx="3000755" cy="1893757"/>
              </a:xfrm>
              <a:custGeom>
                <a:avLst/>
                <a:gdLst>
                  <a:gd name="T0" fmla="*/ 1865 w 1952"/>
                  <a:gd name="T1" fmla="*/ 1234 h 1234"/>
                  <a:gd name="T2" fmla="*/ 87 w 1952"/>
                  <a:gd name="T3" fmla="*/ 1234 h 1234"/>
                  <a:gd name="T4" fmla="*/ 0 w 1952"/>
                  <a:gd name="T5" fmla="*/ 1147 h 1234"/>
                  <a:gd name="T6" fmla="*/ 0 w 1952"/>
                  <a:gd name="T7" fmla="*/ 87 h 1234"/>
                  <a:gd name="T8" fmla="*/ 87 w 1952"/>
                  <a:gd name="T9" fmla="*/ 0 h 1234"/>
                  <a:gd name="T10" fmla="*/ 1865 w 1952"/>
                  <a:gd name="T11" fmla="*/ 0 h 1234"/>
                  <a:gd name="T12" fmla="*/ 1952 w 1952"/>
                  <a:gd name="T13" fmla="*/ 87 h 1234"/>
                  <a:gd name="T14" fmla="*/ 1952 w 1952"/>
                  <a:gd name="T15" fmla="*/ 1147 h 1234"/>
                  <a:gd name="T16" fmla="*/ 1865 w 1952"/>
                  <a:gd name="T17" fmla="*/ 1234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52" h="1234">
                    <a:moveTo>
                      <a:pt x="1865" y="1234"/>
                    </a:moveTo>
                    <a:cubicBezTo>
                      <a:pt x="87" y="1234"/>
                      <a:pt x="87" y="1234"/>
                      <a:pt x="87" y="1234"/>
                    </a:cubicBezTo>
                    <a:cubicBezTo>
                      <a:pt x="39" y="1234"/>
                      <a:pt x="0" y="1195"/>
                      <a:pt x="0" y="114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0" y="39"/>
                      <a:pt x="39" y="0"/>
                      <a:pt x="87" y="0"/>
                    </a:cubicBezTo>
                    <a:cubicBezTo>
                      <a:pt x="1865" y="0"/>
                      <a:pt x="1865" y="0"/>
                      <a:pt x="1865" y="0"/>
                    </a:cubicBezTo>
                    <a:cubicBezTo>
                      <a:pt x="1913" y="0"/>
                      <a:pt x="1952" y="39"/>
                      <a:pt x="1952" y="87"/>
                    </a:cubicBezTo>
                    <a:cubicBezTo>
                      <a:pt x="1952" y="1147"/>
                      <a:pt x="1952" y="1147"/>
                      <a:pt x="1952" y="1147"/>
                    </a:cubicBezTo>
                    <a:cubicBezTo>
                      <a:pt x="1952" y="1195"/>
                      <a:pt x="1913" y="1234"/>
                      <a:pt x="1865" y="1234"/>
                    </a:cubicBez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1" name="iŝ1ïḋe">
                <a:extLst>
                  <a:ext uri="{FF2B5EF4-FFF2-40B4-BE49-F238E27FC236}">
                    <a16:creationId xmlns:a16="http://schemas.microsoft.com/office/drawing/2014/main" id="{3769214C-1F1E-4E92-8078-59FBE6A47FFB}"/>
                  </a:ext>
                </a:extLst>
              </p:cNvPr>
              <p:cNvSpPr/>
              <p:nvPr/>
            </p:nvSpPr>
            <p:spPr bwMode="auto">
              <a:xfrm>
                <a:off x="4620826" y="3328604"/>
                <a:ext cx="2950347" cy="1842361"/>
              </a:xfrm>
              <a:custGeom>
                <a:avLst/>
                <a:gdLst>
                  <a:gd name="T0" fmla="*/ 0 w 1919"/>
                  <a:gd name="T1" fmla="*/ 1133 h 1200"/>
                  <a:gd name="T2" fmla="*/ 0 w 1919"/>
                  <a:gd name="T3" fmla="*/ 67 h 1200"/>
                  <a:gd name="T4" fmla="*/ 67 w 1919"/>
                  <a:gd name="T5" fmla="*/ 0 h 1200"/>
                  <a:gd name="T6" fmla="*/ 1852 w 1919"/>
                  <a:gd name="T7" fmla="*/ 0 h 1200"/>
                  <a:gd name="T8" fmla="*/ 1919 w 1919"/>
                  <a:gd name="T9" fmla="*/ 67 h 1200"/>
                  <a:gd name="T10" fmla="*/ 1919 w 1919"/>
                  <a:gd name="T11" fmla="*/ 1133 h 1200"/>
                  <a:gd name="T12" fmla="*/ 1852 w 1919"/>
                  <a:gd name="T13" fmla="*/ 1200 h 1200"/>
                  <a:gd name="T14" fmla="*/ 67 w 1919"/>
                  <a:gd name="T15" fmla="*/ 1200 h 1200"/>
                  <a:gd name="T16" fmla="*/ 0 w 1919"/>
                  <a:gd name="T17" fmla="*/ 1133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9" h="1200">
                    <a:moveTo>
                      <a:pt x="0" y="1133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30"/>
                      <a:pt x="30" y="0"/>
                      <a:pt x="67" y="0"/>
                    </a:cubicBezTo>
                    <a:cubicBezTo>
                      <a:pt x="1852" y="0"/>
                      <a:pt x="1852" y="0"/>
                      <a:pt x="1852" y="0"/>
                    </a:cubicBezTo>
                    <a:cubicBezTo>
                      <a:pt x="1889" y="0"/>
                      <a:pt x="1919" y="30"/>
                      <a:pt x="1919" y="67"/>
                    </a:cubicBezTo>
                    <a:cubicBezTo>
                      <a:pt x="1919" y="1133"/>
                      <a:pt x="1919" y="1133"/>
                      <a:pt x="1919" y="1133"/>
                    </a:cubicBezTo>
                    <a:cubicBezTo>
                      <a:pt x="1919" y="1170"/>
                      <a:pt x="1889" y="1200"/>
                      <a:pt x="1852" y="1200"/>
                    </a:cubicBezTo>
                    <a:cubicBezTo>
                      <a:pt x="67" y="1200"/>
                      <a:pt x="67" y="1200"/>
                      <a:pt x="67" y="1200"/>
                    </a:cubicBezTo>
                    <a:cubicBezTo>
                      <a:pt x="30" y="1200"/>
                      <a:pt x="0" y="1170"/>
                      <a:pt x="0" y="1133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2" name="íSļïḋe">
                <a:extLst>
                  <a:ext uri="{FF2B5EF4-FFF2-40B4-BE49-F238E27FC236}">
                    <a16:creationId xmlns:a16="http://schemas.microsoft.com/office/drawing/2014/main" id="{AFB30157-D95B-4861-87E9-70F924CADBEC}"/>
                  </a:ext>
                </a:extLst>
              </p:cNvPr>
              <p:cNvSpPr/>
              <p:nvPr/>
            </p:nvSpPr>
            <p:spPr bwMode="auto">
              <a:xfrm>
                <a:off x="4723619" y="3431396"/>
                <a:ext cx="2744762" cy="1637764"/>
              </a:xfrm>
              <a:prstGeom prst="rect">
                <a:avLst/>
              </a:prstGeom>
              <a:solidFill>
                <a:srgbClr val="9DB0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3" name="ïS1íḍê">
                <a:extLst>
                  <a:ext uri="{FF2B5EF4-FFF2-40B4-BE49-F238E27FC236}">
                    <a16:creationId xmlns:a16="http://schemas.microsoft.com/office/drawing/2014/main" id="{87C17A48-FFE2-4D05-B08A-7BA100E82370}"/>
                  </a:ext>
                </a:extLst>
              </p:cNvPr>
              <p:cNvSpPr/>
              <p:nvPr/>
            </p:nvSpPr>
            <p:spPr bwMode="auto">
              <a:xfrm>
                <a:off x="4980601" y="3583608"/>
                <a:ext cx="2232775" cy="1332351"/>
              </a:xfrm>
              <a:prstGeom prst="rect">
                <a:avLst/>
              </a:prstGeom>
              <a:solidFill>
                <a:srgbClr val="E7EB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4" name="î$lïḍé">
                <a:extLst>
                  <a:ext uri="{FF2B5EF4-FFF2-40B4-BE49-F238E27FC236}">
                    <a16:creationId xmlns:a16="http://schemas.microsoft.com/office/drawing/2014/main" id="{34E6BEE3-2F97-4ADB-B8AD-23991783C28A}"/>
                  </a:ext>
                </a:extLst>
              </p:cNvPr>
              <p:cNvSpPr/>
              <p:nvPr/>
            </p:nvSpPr>
            <p:spPr bwMode="auto">
              <a:xfrm>
                <a:off x="4980601" y="3658726"/>
                <a:ext cx="2232775" cy="130468"/>
              </a:xfrm>
              <a:prstGeom prst="rect">
                <a:avLst/>
              </a:pr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5" name="íślïḋé">
                <a:extLst>
                  <a:ext uri="{FF2B5EF4-FFF2-40B4-BE49-F238E27FC236}">
                    <a16:creationId xmlns:a16="http://schemas.microsoft.com/office/drawing/2014/main" id="{DABF6BB4-9121-466F-AA3F-055955030324}"/>
                  </a:ext>
                </a:extLst>
              </p:cNvPr>
              <p:cNvSpPr/>
              <p:nvPr/>
            </p:nvSpPr>
            <p:spPr bwMode="auto">
              <a:xfrm>
                <a:off x="5161476" y="3789194"/>
                <a:ext cx="1868059" cy="460590"/>
              </a:xfrm>
              <a:prstGeom prst="rect">
                <a:avLst/>
              </a:pr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6" name="îṩ1iḍé">
                <a:extLst>
                  <a:ext uri="{FF2B5EF4-FFF2-40B4-BE49-F238E27FC236}">
                    <a16:creationId xmlns:a16="http://schemas.microsoft.com/office/drawing/2014/main" id="{210D0B99-3ADF-4D37-AB3A-C56DAA1F2124}"/>
                  </a:ext>
                </a:extLst>
              </p:cNvPr>
              <p:cNvSpPr/>
              <p:nvPr/>
            </p:nvSpPr>
            <p:spPr bwMode="auto">
              <a:xfrm>
                <a:off x="6019400" y="3914719"/>
                <a:ext cx="145293" cy="291575"/>
              </a:xfrm>
              <a:custGeom>
                <a:avLst/>
                <a:gdLst>
                  <a:gd name="T0" fmla="*/ 71 w 94"/>
                  <a:gd name="T1" fmla="*/ 29 h 190"/>
                  <a:gd name="T2" fmla="*/ 94 w 94"/>
                  <a:gd name="T3" fmla="*/ 29 h 190"/>
                  <a:gd name="T4" fmla="*/ 94 w 94"/>
                  <a:gd name="T5" fmla="*/ 0 h 190"/>
                  <a:gd name="T6" fmla="*/ 71 w 94"/>
                  <a:gd name="T7" fmla="*/ 0 h 190"/>
                  <a:gd name="T8" fmla="*/ 25 w 94"/>
                  <a:gd name="T9" fmla="*/ 40 h 190"/>
                  <a:gd name="T10" fmla="*/ 25 w 94"/>
                  <a:gd name="T11" fmla="*/ 65 h 190"/>
                  <a:gd name="T12" fmla="*/ 0 w 94"/>
                  <a:gd name="T13" fmla="*/ 65 h 190"/>
                  <a:gd name="T14" fmla="*/ 0 w 94"/>
                  <a:gd name="T15" fmla="*/ 95 h 190"/>
                  <a:gd name="T16" fmla="*/ 25 w 94"/>
                  <a:gd name="T17" fmla="*/ 95 h 190"/>
                  <a:gd name="T18" fmla="*/ 25 w 94"/>
                  <a:gd name="T19" fmla="*/ 190 h 190"/>
                  <a:gd name="T20" fmla="*/ 61 w 94"/>
                  <a:gd name="T21" fmla="*/ 190 h 190"/>
                  <a:gd name="T22" fmla="*/ 61 w 94"/>
                  <a:gd name="T23" fmla="*/ 95 h 190"/>
                  <a:gd name="T24" fmla="*/ 91 w 94"/>
                  <a:gd name="T25" fmla="*/ 95 h 190"/>
                  <a:gd name="T26" fmla="*/ 94 w 94"/>
                  <a:gd name="T27" fmla="*/ 65 h 190"/>
                  <a:gd name="T28" fmla="*/ 61 w 94"/>
                  <a:gd name="T29" fmla="*/ 65 h 190"/>
                  <a:gd name="T30" fmla="*/ 61 w 94"/>
                  <a:gd name="T31" fmla="*/ 40 h 190"/>
                  <a:gd name="T32" fmla="*/ 71 w 94"/>
                  <a:gd name="T33" fmla="*/ 2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4" h="190">
                    <a:moveTo>
                      <a:pt x="71" y="29"/>
                    </a:moveTo>
                    <a:cubicBezTo>
                      <a:pt x="80" y="29"/>
                      <a:pt x="94" y="29"/>
                      <a:pt x="94" y="29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84" y="0"/>
                      <a:pt x="71" y="0"/>
                    </a:cubicBezTo>
                    <a:cubicBezTo>
                      <a:pt x="58" y="0"/>
                      <a:pt x="25" y="2"/>
                      <a:pt x="25" y="40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5" y="190"/>
                      <a:pt x="25" y="190"/>
                      <a:pt x="25" y="190"/>
                    </a:cubicBezTo>
                    <a:cubicBezTo>
                      <a:pt x="61" y="190"/>
                      <a:pt x="61" y="190"/>
                      <a:pt x="61" y="190"/>
                    </a:cubicBezTo>
                    <a:cubicBezTo>
                      <a:pt x="61" y="95"/>
                      <a:pt x="61" y="95"/>
                      <a:pt x="61" y="95"/>
                    </a:cubicBezTo>
                    <a:cubicBezTo>
                      <a:pt x="91" y="95"/>
                      <a:pt x="91" y="95"/>
                      <a:pt x="91" y="95"/>
                    </a:cubicBezTo>
                    <a:cubicBezTo>
                      <a:pt x="94" y="65"/>
                      <a:pt x="94" y="65"/>
                      <a:pt x="94" y="65"/>
                    </a:cubicBezTo>
                    <a:cubicBezTo>
                      <a:pt x="61" y="65"/>
                      <a:pt x="61" y="65"/>
                      <a:pt x="61" y="65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1" y="40"/>
                      <a:pt x="63" y="29"/>
                      <a:pt x="71" y="2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7" name="iŝľiḑé">
                <a:extLst>
                  <a:ext uri="{FF2B5EF4-FFF2-40B4-BE49-F238E27FC236}">
                    <a16:creationId xmlns:a16="http://schemas.microsoft.com/office/drawing/2014/main" id="{4E3297ED-851F-4EE9-97A1-9332D1A6B1DF}"/>
                  </a:ext>
                </a:extLst>
              </p:cNvPr>
              <p:cNvSpPr/>
              <p:nvPr/>
            </p:nvSpPr>
            <p:spPr bwMode="auto">
              <a:xfrm>
                <a:off x="5161476" y="3789194"/>
                <a:ext cx="1868059" cy="75118"/>
              </a:xfrm>
              <a:prstGeom prst="rect">
                <a:avLst/>
              </a:prstGeom>
              <a:solidFill>
                <a:srgbClr val="E7EB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8" name="işḷíḑé">
                <a:extLst>
                  <a:ext uri="{FF2B5EF4-FFF2-40B4-BE49-F238E27FC236}">
                    <a16:creationId xmlns:a16="http://schemas.microsoft.com/office/drawing/2014/main" id="{FE2987AD-FA87-4322-BA50-AA4409889E03}"/>
                  </a:ext>
                </a:extLst>
              </p:cNvPr>
              <p:cNvSpPr/>
              <p:nvPr/>
            </p:nvSpPr>
            <p:spPr bwMode="auto">
              <a:xfrm>
                <a:off x="5161476" y="4249784"/>
                <a:ext cx="1868059" cy="177910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9" name="îŝ1îḓè">
                <a:extLst>
                  <a:ext uri="{FF2B5EF4-FFF2-40B4-BE49-F238E27FC236}">
                    <a16:creationId xmlns:a16="http://schemas.microsoft.com/office/drawing/2014/main" id="{ED1F1A48-BE65-4013-B661-2A144F11AA44}"/>
                  </a:ext>
                </a:extLst>
              </p:cNvPr>
              <p:cNvSpPr/>
              <p:nvPr/>
            </p:nvSpPr>
            <p:spPr bwMode="auto">
              <a:xfrm>
                <a:off x="5886955" y="4472172"/>
                <a:ext cx="1142580" cy="401287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0" name="íṡlîḍê">
                <a:extLst>
                  <a:ext uri="{FF2B5EF4-FFF2-40B4-BE49-F238E27FC236}">
                    <a16:creationId xmlns:a16="http://schemas.microsoft.com/office/drawing/2014/main" id="{9FF007BE-CAB4-4DEE-99CF-A99E9DF4E9D6}"/>
                  </a:ext>
                </a:extLst>
              </p:cNvPr>
              <p:cNvSpPr/>
              <p:nvPr/>
            </p:nvSpPr>
            <p:spPr bwMode="auto">
              <a:xfrm>
                <a:off x="5161476" y="4472172"/>
                <a:ext cx="669141" cy="177910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1" name="ïṥḷïdê">
                <a:extLst>
                  <a:ext uri="{FF2B5EF4-FFF2-40B4-BE49-F238E27FC236}">
                    <a16:creationId xmlns:a16="http://schemas.microsoft.com/office/drawing/2014/main" id="{3446B361-16B0-49BF-96E2-BF1F0350536F}"/>
                  </a:ext>
                </a:extLst>
              </p:cNvPr>
              <p:cNvSpPr/>
              <p:nvPr/>
            </p:nvSpPr>
            <p:spPr bwMode="auto">
              <a:xfrm>
                <a:off x="5161476" y="4694560"/>
                <a:ext cx="669141" cy="178899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2" name="išļídé">
                <a:extLst>
                  <a:ext uri="{FF2B5EF4-FFF2-40B4-BE49-F238E27FC236}">
                    <a16:creationId xmlns:a16="http://schemas.microsoft.com/office/drawing/2014/main" id="{53A0737D-F3B5-4987-9C67-8FBA6B468DC2}"/>
                  </a:ext>
                </a:extLst>
              </p:cNvPr>
              <p:cNvSpPr/>
              <p:nvPr/>
            </p:nvSpPr>
            <p:spPr bwMode="auto">
              <a:xfrm>
                <a:off x="5230664" y="4071874"/>
                <a:ext cx="356809" cy="355821"/>
              </a:xfrm>
              <a:prstGeom prst="rect">
                <a:avLst/>
              </a:prstGeom>
              <a:solidFill>
                <a:srgbClr val="6D8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3" name="íṡḷîḑè">
                <a:extLst>
                  <a:ext uri="{FF2B5EF4-FFF2-40B4-BE49-F238E27FC236}">
                    <a16:creationId xmlns:a16="http://schemas.microsoft.com/office/drawing/2014/main" id="{82D6260C-39F9-4826-B6E0-214393D98FC5}"/>
                  </a:ext>
                </a:extLst>
              </p:cNvPr>
              <p:cNvSpPr/>
              <p:nvPr/>
            </p:nvSpPr>
            <p:spPr bwMode="auto">
              <a:xfrm>
                <a:off x="4284773" y="5195674"/>
                <a:ext cx="1806779" cy="512975"/>
              </a:xfrm>
              <a:custGeom>
                <a:avLst/>
                <a:gdLst>
                  <a:gd name="T0" fmla="*/ 1175 w 1175"/>
                  <a:gd name="T1" fmla="*/ 1 h 334"/>
                  <a:gd name="T2" fmla="*/ 1175 w 1175"/>
                  <a:gd name="T3" fmla="*/ 334 h 334"/>
                  <a:gd name="T4" fmla="*/ 37 w 1175"/>
                  <a:gd name="T5" fmla="*/ 334 h 334"/>
                  <a:gd name="T6" fmla="*/ 14 w 1175"/>
                  <a:gd name="T7" fmla="*/ 251 h 334"/>
                  <a:gd name="T8" fmla="*/ 267 w 1175"/>
                  <a:gd name="T9" fmla="*/ 0 h 334"/>
                  <a:gd name="T10" fmla="*/ 1175 w 1175"/>
                  <a:gd name="T11" fmla="*/ 1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5" h="334">
                    <a:moveTo>
                      <a:pt x="1175" y="1"/>
                    </a:moveTo>
                    <a:cubicBezTo>
                      <a:pt x="1175" y="334"/>
                      <a:pt x="1175" y="334"/>
                      <a:pt x="1175" y="334"/>
                    </a:cubicBezTo>
                    <a:cubicBezTo>
                      <a:pt x="37" y="334"/>
                      <a:pt x="37" y="334"/>
                      <a:pt x="37" y="334"/>
                    </a:cubicBezTo>
                    <a:cubicBezTo>
                      <a:pt x="37" y="334"/>
                      <a:pt x="0" y="302"/>
                      <a:pt x="14" y="251"/>
                    </a:cubicBezTo>
                    <a:cubicBezTo>
                      <a:pt x="267" y="0"/>
                      <a:pt x="267" y="0"/>
                      <a:pt x="267" y="0"/>
                    </a:cubicBezTo>
                    <a:lnTo>
                      <a:pt x="1175" y="1"/>
                    </a:ln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4" name="ïşļîḍé">
                <a:extLst>
                  <a:ext uri="{FF2B5EF4-FFF2-40B4-BE49-F238E27FC236}">
                    <a16:creationId xmlns:a16="http://schemas.microsoft.com/office/drawing/2014/main" id="{5DF3DED3-87A0-4E65-B851-00AF7B2A768E}"/>
                  </a:ext>
                </a:extLst>
              </p:cNvPr>
              <p:cNvSpPr/>
              <p:nvPr/>
            </p:nvSpPr>
            <p:spPr bwMode="auto">
              <a:xfrm>
                <a:off x="4284773" y="5568297"/>
                <a:ext cx="1806779" cy="140352"/>
              </a:xfrm>
              <a:custGeom>
                <a:avLst/>
                <a:gdLst>
                  <a:gd name="T0" fmla="*/ 22 w 1175"/>
                  <a:gd name="T1" fmla="*/ 0 h 91"/>
                  <a:gd name="T2" fmla="*/ 14 w 1175"/>
                  <a:gd name="T3" fmla="*/ 8 h 91"/>
                  <a:gd name="T4" fmla="*/ 37 w 1175"/>
                  <a:gd name="T5" fmla="*/ 91 h 91"/>
                  <a:gd name="T6" fmla="*/ 1175 w 1175"/>
                  <a:gd name="T7" fmla="*/ 91 h 91"/>
                  <a:gd name="T8" fmla="*/ 1175 w 1175"/>
                  <a:gd name="T9" fmla="*/ 20 h 91"/>
                  <a:gd name="T10" fmla="*/ 37 w 1175"/>
                  <a:gd name="T11" fmla="*/ 20 h 91"/>
                  <a:gd name="T12" fmla="*/ 22 w 1175"/>
                  <a:gd name="T1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5" h="91">
                    <a:moveTo>
                      <a:pt x="22" y="0"/>
                    </a:moveTo>
                    <a:cubicBezTo>
                      <a:pt x="14" y="8"/>
                      <a:pt x="14" y="8"/>
                      <a:pt x="14" y="8"/>
                    </a:cubicBezTo>
                    <a:cubicBezTo>
                      <a:pt x="0" y="59"/>
                      <a:pt x="37" y="91"/>
                      <a:pt x="37" y="91"/>
                    </a:cubicBezTo>
                    <a:cubicBezTo>
                      <a:pt x="1175" y="91"/>
                      <a:pt x="1175" y="91"/>
                      <a:pt x="1175" y="91"/>
                    </a:cubicBezTo>
                    <a:cubicBezTo>
                      <a:pt x="1175" y="20"/>
                      <a:pt x="1175" y="20"/>
                      <a:pt x="1175" y="2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20"/>
                      <a:pt x="29" y="13"/>
                      <a:pt x="22" y="0"/>
                    </a:cubicBezTo>
                    <a:close/>
                  </a:path>
                </a:pathLst>
              </a:custGeom>
              <a:solidFill>
                <a:srgbClr val="ADAF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5" name="îsļîḓe">
                <a:extLst>
                  <a:ext uri="{FF2B5EF4-FFF2-40B4-BE49-F238E27FC236}">
                    <a16:creationId xmlns:a16="http://schemas.microsoft.com/office/drawing/2014/main" id="{0B36B89D-6160-41F5-85CE-EB20598E3CCD}"/>
                  </a:ext>
                </a:extLst>
              </p:cNvPr>
              <p:cNvSpPr/>
              <p:nvPr/>
            </p:nvSpPr>
            <p:spPr bwMode="auto">
              <a:xfrm>
                <a:off x="6090564" y="5195674"/>
                <a:ext cx="1806779" cy="512975"/>
              </a:xfrm>
              <a:custGeom>
                <a:avLst/>
                <a:gdLst>
                  <a:gd name="T0" fmla="*/ 0 w 1175"/>
                  <a:gd name="T1" fmla="*/ 1 h 334"/>
                  <a:gd name="T2" fmla="*/ 0 w 1175"/>
                  <a:gd name="T3" fmla="*/ 334 h 334"/>
                  <a:gd name="T4" fmla="*/ 1139 w 1175"/>
                  <a:gd name="T5" fmla="*/ 334 h 334"/>
                  <a:gd name="T6" fmla="*/ 1162 w 1175"/>
                  <a:gd name="T7" fmla="*/ 251 h 334"/>
                  <a:gd name="T8" fmla="*/ 909 w 1175"/>
                  <a:gd name="T9" fmla="*/ 0 h 334"/>
                  <a:gd name="T10" fmla="*/ 0 w 1175"/>
                  <a:gd name="T11" fmla="*/ 1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5" h="334">
                    <a:moveTo>
                      <a:pt x="0" y="1"/>
                    </a:moveTo>
                    <a:cubicBezTo>
                      <a:pt x="0" y="334"/>
                      <a:pt x="0" y="334"/>
                      <a:pt x="0" y="334"/>
                    </a:cubicBezTo>
                    <a:cubicBezTo>
                      <a:pt x="1139" y="334"/>
                      <a:pt x="1139" y="334"/>
                      <a:pt x="1139" y="334"/>
                    </a:cubicBezTo>
                    <a:cubicBezTo>
                      <a:pt x="1139" y="334"/>
                      <a:pt x="1175" y="302"/>
                      <a:pt x="1162" y="251"/>
                    </a:cubicBezTo>
                    <a:cubicBezTo>
                      <a:pt x="909" y="0"/>
                      <a:pt x="909" y="0"/>
                      <a:pt x="909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6" name="íŝlíḋe">
                <a:extLst>
                  <a:ext uri="{FF2B5EF4-FFF2-40B4-BE49-F238E27FC236}">
                    <a16:creationId xmlns:a16="http://schemas.microsoft.com/office/drawing/2014/main" id="{FBCF94A1-8CCA-44DD-9CD1-DDB6E82E2ACC}"/>
                  </a:ext>
                </a:extLst>
              </p:cNvPr>
              <p:cNvSpPr/>
              <p:nvPr/>
            </p:nvSpPr>
            <p:spPr bwMode="auto">
              <a:xfrm>
                <a:off x="6090564" y="5568297"/>
                <a:ext cx="1806779" cy="140352"/>
              </a:xfrm>
              <a:custGeom>
                <a:avLst/>
                <a:gdLst>
                  <a:gd name="T0" fmla="*/ 1154 w 1175"/>
                  <a:gd name="T1" fmla="*/ 0 h 91"/>
                  <a:gd name="T2" fmla="*/ 1162 w 1175"/>
                  <a:gd name="T3" fmla="*/ 8 h 91"/>
                  <a:gd name="T4" fmla="*/ 1139 w 1175"/>
                  <a:gd name="T5" fmla="*/ 91 h 91"/>
                  <a:gd name="T6" fmla="*/ 0 w 1175"/>
                  <a:gd name="T7" fmla="*/ 91 h 91"/>
                  <a:gd name="T8" fmla="*/ 0 w 1175"/>
                  <a:gd name="T9" fmla="*/ 20 h 91"/>
                  <a:gd name="T10" fmla="*/ 1139 w 1175"/>
                  <a:gd name="T11" fmla="*/ 20 h 91"/>
                  <a:gd name="T12" fmla="*/ 1154 w 1175"/>
                  <a:gd name="T1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5" h="91">
                    <a:moveTo>
                      <a:pt x="1154" y="0"/>
                    </a:moveTo>
                    <a:cubicBezTo>
                      <a:pt x="1162" y="8"/>
                      <a:pt x="1162" y="8"/>
                      <a:pt x="1162" y="8"/>
                    </a:cubicBezTo>
                    <a:cubicBezTo>
                      <a:pt x="1175" y="59"/>
                      <a:pt x="1139" y="91"/>
                      <a:pt x="1139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139" y="20"/>
                      <a:pt x="1139" y="20"/>
                      <a:pt x="1139" y="20"/>
                    </a:cubicBezTo>
                    <a:cubicBezTo>
                      <a:pt x="1139" y="20"/>
                      <a:pt x="1147" y="13"/>
                      <a:pt x="1154" y="0"/>
                    </a:cubicBezTo>
                    <a:close/>
                  </a:path>
                </a:pathLst>
              </a:custGeom>
              <a:solidFill>
                <a:srgbClr val="ADAF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7" name="ï$ḻïḋê">
                <a:extLst>
                  <a:ext uri="{FF2B5EF4-FFF2-40B4-BE49-F238E27FC236}">
                    <a16:creationId xmlns:a16="http://schemas.microsoft.com/office/drawing/2014/main" id="{AEC27371-46AD-4549-AB90-AB9C01B2BC01}"/>
                  </a:ext>
                </a:extLst>
              </p:cNvPr>
              <p:cNvSpPr/>
              <p:nvPr/>
            </p:nvSpPr>
            <p:spPr bwMode="auto">
              <a:xfrm>
                <a:off x="4657397" y="5241140"/>
                <a:ext cx="2861392" cy="210527"/>
              </a:xfrm>
              <a:custGeom>
                <a:avLst/>
                <a:gdLst>
                  <a:gd name="T0" fmla="*/ 2895 w 2895"/>
                  <a:gd name="T1" fmla="*/ 213 h 213"/>
                  <a:gd name="T2" fmla="*/ 0 w 2895"/>
                  <a:gd name="T3" fmla="*/ 213 h 213"/>
                  <a:gd name="T4" fmla="*/ 194 w 2895"/>
                  <a:gd name="T5" fmla="*/ 0 h 213"/>
                  <a:gd name="T6" fmla="*/ 2704 w 2895"/>
                  <a:gd name="T7" fmla="*/ 0 h 213"/>
                  <a:gd name="T8" fmla="*/ 2895 w 2895"/>
                  <a:gd name="T9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5" h="213">
                    <a:moveTo>
                      <a:pt x="2895" y="213"/>
                    </a:moveTo>
                    <a:lnTo>
                      <a:pt x="0" y="213"/>
                    </a:lnTo>
                    <a:lnTo>
                      <a:pt x="194" y="0"/>
                    </a:lnTo>
                    <a:lnTo>
                      <a:pt x="2704" y="0"/>
                    </a:lnTo>
                    <a:lnTo>
                      <a:pt x="2895" y="213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8" name="ïśļíḍè">
                <a:extLst>
                  <a:ext uri="{FF2B5EF4-FFF2-40B4-BE49-F238E27FC236}">
                    <a16:creationId xmlns:a16="http://schemas.microsoft.com/office/drawing/2014/main" id="{3484326B-372D-4B71-9D8D-3F37A1E8121F}"/>
                  </a:ext>
                </a:extLst>
              </p:cNvPr>
              <p:cNvSpPr/>
              <p:nvPr/>
            </p:nvSpPr>
            <p:spPr bwMode="auto">
              <a:xfrm>
                <a:off x="5784163" y="5568297"/>
                <a:ext cx="607860" cy="71164"/>
              </a:xfrm>
              <a:custGeom>
                <a:avLst/>
                <a:gdLst>
                  <a:gd name="T0" fmla="*/ 377 w 395"/>
                  <a:gd name="T1" fmla="*/ 46 h 46"/>
                  <a:gd name="T2" fmla="*/ 18 w 395"/>
                  <a:gd name="T3" fmla="*/ 46 h 46"/>
                  <a:gd name="T4" fmla="*/ 0 w 395"/>
                  <a:gd name="T5" fmla="*/ 28 h 46"/>
                  <a:gd name="T6" fmla="*/ 0 w 395"/>
                  <a:gd name="T7" fmla="*/ 18 h 46"/>
                  <a:gd name="T8" fmla="*/ 18 w 395"/>
                  <a:gd name="T9" fmla="*/ 0 h 46"/>
                  <a:gd name="T10" fmla="*/ 377 w 395"/>
                  <a:gd name="T11" fmla="*/ 0 h 46"/>
                  <a:gd name="T12" fmla="*/ 395 w 395"/>
                  <a:gd name="T13" fmla="*/ 18 h 46"/>
                  <a:gd name="T14" fmla="*/ 395 w 395"/>
                  <a:gd name="T15" fmla="*/ 28 h 46"/>
                  <a:gd name="T16" fmla="*/ 377 w 395"/>
                  <a:gd name="T1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5" h="46">
                    <a:moveTo>
                      <a:pt x="377" y="46"/>
                    </a:moveTo>
                    <a:cubicBezTo>
                      <a:pt x="18" y="46"/>
                      <a:pt x="18" y="46"/>
                      <a:pt x="18" y="46"/>
                    </a:cubicBezTo>
                    <a:cubicBezTo>
                      <a:pt x="8" y="46"/>
                      <a:pt x="0" y="38"/>
                      <a:pt x="0" y="2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377" y="0"/>
                      <a:pt x="377" y="0"/>
                      <a:pt x="377" y="0"/>
                    </a:cubicBezTo>
                    <a:cubicBezTo>
                      <a:pt x="387" y="0"/>
                      <a:pt x="395" y="8"/>
                      <a:pt x="395" y="18"/>
                    </a:cubicBezTo>
                    <a:cubicBezTo>
                      <a:pt x="395" y="28"/>
                      <a:pt x="395" y="28"/>
                      <a:pt x="395" y="28"/>
                    </a:cubicBezTo>
                    <a:cubicBezTo>
                      <a:pt x="395" y="38"/>
                      <a:pt x="387" y="46"/>
                      <a:pt x="377" y="46"/>
                    </a:cubicBez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40" name="ïṥliďé">
              <a:extLst>
                <a:ext uri="{FF2B5EF4-FFF2-40B4-BE49-F238E27FC236}">
                  <a16:creationId xmlns:a16="http://schemas.microsoft.com/office/drawing/2014/main" id="{6FD790BA-2437-46BE-BDC1-95F14F92842F}"/>
                </a:ext>
              </a:extLst>
            </p:cNvPr>
            <p:cNvGrpSpPr/>
            <p:nvPr/>
          </p:nvGrpSpPr>
          <p:grpSpPr>
            <a:xfrm>
              <a:off x="3848893" y="2424226"/>
              <a:ext cx="778852" cy="778852"/>
              <a:chOff x="3848893" y="2424226"/>
              <a:chExt cx="778852" cy="778852"/>
            </a:xfrm>
          </p:grpSpPr>
          <p:sp>
            <p:nvSpPr>
              <p:cNvPr id="385" name="îṣḷïḑè">
                <a:extLst>
                  <a:ext uri="{FF2B5EF4-FFF2-40B4-BE49-F238E27FC236}">
                    <a16:creationId xmlns:a16="http://schemas.microsoft.com/office/drawing/2014/main" id="{10136040-08DA-4367-B8A8-C4EFDC1427B5}"/>
                  </a:ext>
                </a:extLst>
              </p:cNvPr>
              <p:cNvSpPr/>
              <p:nvPr/>
            </p:nvSpPr>
            <p:spPr bwMode="auto">
              <a:xfrm>
                <a:off x="3848893" y="2424226"/>
                <a:ext cx="778852" cy="778852"/>
              </a:xfrm>
              <a:custGeom>
                <a:avLst/>
                <a:gdLst>
                  <a:gd name="T0" fmla="*/ 38 w 507"/>
                  <a:gd name="T1" fmla="*/ 184 h 507"/>
                  <a:gd name="T2" fmla="*/ 322 w 507"/>
                  <a:gd name="T3" fmla="*/ 38 h 507"/>
                  <a:gd name="T4" fmla="*/ 469 w 507"/>
                  <a:gd name="T5" fmla="*/ 322 h 507"/>
                  <a:gd name="T6" fmla="*/ 185 w 507"/>
                  <a:gd name="T7" fmla="*/ 469 h 507"/>
                  <a:gd name="T8" fmla="*/ 38 w 507"/>
                  <a:gd name="T9" fmla="*/ 184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7" h="507">
                    <a:moveTo>
                      <a:pt x="38" y="184"/>
                    </a:moveTo>
                    <a:cubicBezTo>
                      <a:pt x="76" y="65"/>
                      <a:pt x="203" y="0"/>
                      <a:pt x="322" y="38"/>
                    </a:cubicBezTo>
                    <a:cubicBezTo>
                      <a:pt x="441" y="76"/>
                      <a:pt x="507" y="203"/>
                      <a:pt x="469" y="322"/>
                    </a:cubicBezTo>
                    <a:cubicBezTo>
                      <a:pt x="431" y="441"/>
                      <a:pt x="304" y="507"/>
                      <a:pt x="185" y="469"/>
                    </a:cubicBezTo>
                    <a:cubicBezTo>
                      <a:pt x="66" y="431"/>
                      <a:pt x="0" y="303"/>
                      <a:pt x="38" y="184"/>
                    </a:cubicBez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6" name="íś1iḋê">
                <a:extLst>
                  <a:ext uri="{FF2B5EF4-FFF2-40B4-BE49-F238E27FC236}">
                    <a16:creationId xmlns:a16="http://schemas.microsoft.com/office/drawing/2014/main" id="{28DD7752-A5C4-41F4-BF3B-158A965FDE1F}"/>
                  </a:ext>
                </a:extLst>
              </p:cNvPr>
              <p:cNvSpPr/>
              <p:nvPr/>
            </p:nvSpPr>
            <p:spPr bwMode="auto">
              <a:xfrm>
                <a:off x="4454777" y="2881851"/>
                <a:ext cx="162096" cy="164073"/>
              </a:xfrm>
              <a:custGeom>
                <a:avLst/>
                <a:gdLst>
                  <a:gd name="T0" fmla="*/ 0 w 164"/>
                  <a:gd name="T1" fmla="*/ 42 h 166"/>
                  <a:gd name="T2" fmla="*/ 122 w 164"/>
                  <a:gd name="T3" fmla="*/ 0 h 166"/>
                  <a:gd name="T4" fmla="*/ 164 w 164"/>
                  <a:gd name="T5" fmla="*/ 124 h 166"/>
                  <a:gd name="T6" fmla="*/ 40 w 164"/>
                  <a:gd name="T7" fmla="*/ 166 h 166"/>
                  <a:gd name="T8" fmla="*/ 0 w 164"/>
                  <a:gd name="T9" fmla="*/ 4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4" h="166">
                    <a:moveTo>
                      <a:pt x="0" y="42"/>
                    </a:moveTo>
                    <a:lnTo>
                      <a:pt x="122" y="0"/>
                    </a:lnTo>
                    <a:lnTo>
                      <a:pt x="164" y="124"/>
                    </a:lnTo>
                    <a:lnTo>
                      <a:pt x="40" y="166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7" name="íṡ1îďè">
                <a:extLst>
                  <a:ext uri="{FF2B5EF4-FFF2-40B4-BE49-F238E27FC236}">
                    <a16:creationId xmlns:a16="http://schemas.microsoft.com/office/drawing/2014/main" id="{1F718515-D0E3-4202-8A99-6B83B6A9FCCC}"/>
                  </a:ext>
                </a:extLst>
              </p:cNvPr>
              <p:cNvSpPr/>
              <p:nvPr/>
            </p:nvSpPr>
            <p:spPr bwMode="auto">
              <a:xfrm>
                <a:off x="3893371" y="2466727"/>
                <a:ext cx="691874" cy="690885"/>
              </a:xfrm>
              <a:custGeom>
                <a:avLst/>
                <a:gdLst>
                  <a:gd name="T0" fmla="*/ 33 w 450"/>
                  <a:gd name="T1" fmla="*/ 164 h 450"/>
                  <a:gd name="T2" fmla="*/ 286 w 450"/>
                  <a:gd name="T3" fmla="*/ 34 h 450"/>
                  <a:gd name="T4" fmla="*/ 416 w 450"/>
                  <a:gd name="T5" fmla="*/ 286 h 450"/>
                  <a:gd name="T6" fmla="*/ 164 w 450"/>
                  <a:gd name="T7" fmla="*/ 417 h 450"/>
                  <a:gd name="T8" fmla="*/ 33 w 450"/>
                  <a:gd name="T9" fmla="*/ 164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0" h="450">
                    <a:moveTo>
                      <a:pt x="33" y="164"/>
                    </a:moveTo>
                    <a:cubicBezTo>
                      <a:pt x="67" y="58"/>
                      <a:pt x="180" y="0"/>
                      <a:pt x="286" y="34"/>
                    </a:cubicBezTo>
                    <a:cubicBezTo>
                      <a:pt x="391" y="68"/>
                      <a:pt x="450" y="181"/>
                      <a:pt x="416" y="286"/>
                    </a:cubicBezTo>
                    <a:cubicBezTo>
                      <a:pt x="382" y="392"/>
                      <a:pt x="269" y="450"/>
                      <a:pt x="164" y="417"/>
                    </a:cubicBezTo>
                    <a:cubicBezTo>
                      <a:pt x="58" y="383"/>
                      <a:pt x="0" y="270"/>
                      <a:pt x="33" y="1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8" name="íṧlîḓè">
                <a:extLst>
                  <a:ext uri="{FF2B5EF4-FFF2-40B4-BE49-F238E27FC236}">
                    <a16:creationId xmlns:a16="http://schemas.microsoft.com/office/drawing/2014/main" id="{2C0745E7-F456-44A1-B94D-CE32BED2D544}"/>
                  </a:ext>
                </a:extLst>
              </p:cNvPr>
              <p:cNvSpPr/>
              <p:nvPr/>
            </p:nvSpPr>
            <p:spPr bwMode="auto">
              <a:xfrm>
                <a:off x="4060409" y="2777081"/>
                <a:ext cx="83025" cy="199655"/>
              </a:xfrm>
              <a:custGeom>
                <a:avLst/>
                <a:gdLst>
                  <a:gd name="T0" fmla="*/ 47 w 54"/>
                  <a:gd name="T1" fmla="*/ 0 h 130"/>
                  <a:gd name="T2" fmla="*/ 6 w 54"/>
                  <a:gd name="T3" fmla="*/ 0 h 130"/>
                  <a:gd name="T4" fmla="*/ 0 w 54"/>
                  <a:gd name="T5" fmla="*/ 6 h 130"/>
                  <a:gd name="T6" fmla="*/ 0 w 54"/>
                  <a:gd name="T7" fmla="*/ 124 h 130"/>
                  <a:gd name="T8" fmla="*/ 6 w 54"/>
                  <a:gd name="T9" fmla="*/ 130 h 130"/>
                  <a:gd name="T10" fmla="*/ 47 w 54"/>
                  <a:gd name="T11" fmla="*/ 130 h 130"/>
                  <a:gd name="T12" fmla="*/ 54 w 54"/>
                  <a:gd name="T13" fmla="*/ 124 h 130"/>
                  <a:gd name="T14" fmla="*/ 54 w 54"/>
                  <a:gd name="T15" fmla="*/ 6 h 130"/>
                  <a:gd name="T16" fmla="*/ 47 w 54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130">
                    <a:moveTo>
                      <a:pt x="47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27"/>
                      <a:pt x="3" y="130"/>
                      <a:pt x="6" y="130"/>
                    </a:cubicBezTo>
                    <a:cubicBezTo>
                      <a:pt x="47" y="130"/>
                      <a:pt x="47" y="130"/>
                      <a:pt x="47" y="130"/>
                    </a:cubicBezTo>
                    <a:cubicBezTo>
                      <a:pt x="51" y="130"/>
                      <a:pt x="54" y="127"/>
                      <a:pt x="54" y="124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3"/>
                      <a:pt x="51" y="0"/>
                      <a:pt x="47" y="0"/>
                    </a:cubicBezTo>
                    <a:close/>
                  </a:path>
                </a:pathLst>
              </a:cu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9" name="îsḷïḓe">
                <a:extLst>
                  <a:ext uri="{FF2B5EF4-FFF2-40B4-BE49-F238E27FC236}">
                    <a16:creationId xmlns:a16="http://schemas.microsoft.com/office/drawing/2014/main" id="{60AE88FA-7180-4B08-BC79-66075248BCA0}"/>
                  </a:ext>
                </a:extLst>
              </p:cNvPr>
              <p:cNvSpPr/>
              <p:nvPr/>
            </p:nvSpPr>
            <p:spPr bwMode="auto">
              <a:xfrm>
                <a:off x="4163201" y="2608067"/>
                <a:ext cx="250063" cy="350879"/>
              </a:xfrm>
              <a:custGeom>
                <a:avLst/>
                <a:gdLst>
                  <a:gd name="T0" fmla="*/ 157 w 162"/>
                  <a:gd name="T1" fmla="*/ 151 h 228"/>
                  <a:gd name="T2" fmla="*/ 147 w 162"/>
                  <a:gd name="T3" fmla="*/ 135 h 228"/>
                  <a:gd name="T4" fmla="*/ 162 w 162"/>
                  <a:gd name="T5" fmla="*/ 117 h 228"/>
                  <a:gd name="T6" fmla="*/ 144 w 162"/>
                  <a:gd name="T7" fmla="*/ 99 h 228"/>
                  <a:gd name="T8" fmla="*/ 79 w 162"/>
                  <a:gd name="T9" fmla="*/ 99 h 228"/>
                  <a:gd name="T10" fmla="*/ 95 w 162"/>
                  <a:gd name="T11" fmla="*/ 53 h 228"/>
                  <a:gd name="T12" fmla="*/ 75 w 162"/>
                  <a:gd name="T13" fmla="*/ 2 h 228"/>
                  <a:gd name="T14" fmla="*/ 56 w 162"/>
                  <a:gd name="T15" fmla="*/ 40 h 228"/>
                  <a:gd name="T16" fmla="*/ 1 w 162"/>
                  <a:gd name="T17" fmla="*/ 115 h 228"/>
                  <a:gd name="T18" fmla="*/ 1 w 162"/>
                  <a:gd name="T19" fmla="*/ 208 h 228"/>
                  <a:gd name="T20" fmla="*/ 19 w 162"/>
                  <a:gd name="T21" fmla="*/ 228 h 228"/>
                  <a:gd name="T22" fmla="*/ 21 w 162"/>
                  <a:gd name="T23" fmla="*/ 228 h 228"/>
                  <a:gd name="T24" fmla="*/ 137 w 162"/>
                  <a:gd name="T25" fmla="*/ 228 h 228"/>
                  <a:gd name="T26" fmla="*/ 152 w 162"/>
                  <a:gd name="T27" fmla="*/ 213 h 228"/>
                  <a:gd name="T28" fmla="*/ 137 w 162"/>
                  <a:gd name="T29" fmla="*/ 199 h 228"/>
                  <a:gd name="T30" fmla="*/ 140 w 162"/>
                  <a:gd name="T31" fmla="*/ 199 h 228"/>
                  <a:gd name="T32" fmla="*/ 155 w 162"/>
                  <a:gd name="T33" fmla="*/ 184 h 228"/>
                  <a:gd name="T34" fmla="*/ 140 w 162"/>
                  <a:gd name="T35" fmla="*/ 169 h 228"/>
                  <a:gd name="T36" fmla="*/ 139 w 162"/>
                  <a:gd name="T37" fmla="*/ 169 h 228"/>
                  <a:gd name="T38" fmla="*/ 157 w 162"/>
                  <a:gd name="T39" fmla="*/ 15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2" h="228">
                    <a:moveTo>
                      <a:pt x="157" y="151"/>
                    </a:moveTo>
                    <a:cubicBezTo>
                      <a:pt x="157" y="144"/>
                      <a:pt x="153" y="138"/>
                      <a:pt x="147" y="135"/>
                    </a:cubicBezTo>
                    <a:cubicBezTo>
                      <a:pt x="156" y="134"/>
                      <a:pt x="162" y="126"/>
                      <a:pt x="162" y="117"/>
                    </a:cubicBezTo>
                    <a:cubicBezTo>
                      <a:pt x="162" y="107"/>
                      <a:pt x="154" y="99"/>
                      <a:pt x="144" y="99"/>
                    </a:cubicBezTo>
                    <a:cubicBezTo>
                      <a:pt x="79" y="99"/>
                      <a:pt x="79" y="99"/>
                      <a:pt x="79" y="99"/>
                    </a:cubicBezTo>
                    <a:cubicBezTo>
                      <a:pt x="79" y="99"/>
                      <a:pt x="90" y="80"/>
                      <a:pt x="95" y="53"/>
                    </a:cubicBezTo>
                    <a:cubicBezTo>
                      <a:pt x="99" y="26"/>
                      <a:pt x="92" y="4"/>
                      <a:pt x="75" y="2"/>
                    </a:cubicBezTo>
                    <a:cubicBezTo>
                      <a:pt x="75" y="2"/>
                      <a:pt x="51" y="0"/>
                      <a:pt x="56" y="40"/>
                    </a:cubicBezTo>
                    <a:cubicBezTo>
                      <a:pt x="56" y="40"/>
                      <a:pt x="27" y="81"/>
                      <a:pt x="1" y="115"/>
                    </a:cubicBezTo>
                    <a:cubicBezTo>
                      <a:pt x="1" y="208"/>
                      <a:pt x="1" y="208"/>
                      <a:pt x="1" y="208"/>
                    </a:cubicBezTo>
                    <a:cubicBezTo>
                      <a:pt x="1" y="208"/>
                      <a:pt x="0" y="227"/>
                      <a:pt x="19" y="228"/>
                    </a:cubicBezTo>
                    <a:cubicBezTo>
                      <a:pt x="20" y="228"/>
                      <a:pt x="20" y="228"/>
                      <a:pt x="21" y="228"/>
                    </a:cubicBezTo>
                    <a:cubicBezTo>
                      <a:pt x="137" y="228"/>
                      <a:pt x="137" y="228"/>
                      <a:pt x="137" y="228"/>
                    </a:cubicBezTo>
                    <a:cubicBezTo>
                      <a:pt x="145" y="228"/>
                      <a:pt x="152" y="222"/>
                      <a:pt x="152" y="213"/>
                    </a:cubicBezTo>
                    <a:cubicBezTo>
                      <a:pt x="152" y="205"/>
                      <a:pt x="145" y="199"/>
                      <a:pt x="137" y="199"/>
                    </a:cubicBezTo>
                    <a:cubicBezTo>
                      <a:pt x="140" y="199"/>
                      <a:pt x="140" y="199"/>
                      <a:pt x="140" y="199"/>
                    </a:cubicBezTo>
                    <a:cubicBezTo>
                      <a:pt x="148" y="199"/>
                      <a:pt x="155" y="192"/>
                      <a:pt x="155" y="184"/>
                    </a:cubicBezTo>
                    <a:cubicBezTo>
                      <a:pt x="155" y="176"/>
                      <a:pt x="148" y="169"/>
                      <a:pt x="140" y="169"/>
                    </a:cubicBezTo>
                    <a:cubicBezTo>
                      <a:pt x="139" y="169"/>
                      <a:pt x="139" y="169"/>
                      <a:pt x="139" y="169"/>
                    </a:cubicBezTo>
                    <a:cubicBezTo>
                      <a:pt x="149" y="169"/>
                      <a:pt x="157" y="161"/>
                      <a:pt x="157" y="151"/>
                    </a:cubicBezTo>
                    <a:close/>
                  </a:path>
                </a:pathLst>
              </a:cu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41" name="íŝliḓe">
              <a:extLst>
                <a:ext uri="{FF2B5EF4-FFF2-40B4-BE49-F238E27FC236}">
                  <a16:creationId xmlns:a16="http://schemas.microsoft.com/office/drawing/2014/main" id="{19D52C51-E01A-4066-997B-CE0E3BC441B4}"/>
                </a:ext>
              </a:extLst>
            </p:cNvPr>
            <p:cNvGrpSpPr/>
            <p:nvPr/>
          </p:nvGrpSpPr>
          <p:grpSpPr>
            <a:xfrm>
              <a:off x="4375705" y="1438800"/>
              <a:ext cx="707688" cy="694839"/>
              <a:chOff x="4375705" y="1438800"/>
              <a:chExt cx="707688" cy="694839"/>
            </a:xfrm>
          </p:grpSpPr>
          <p:sp>
            <p:nvSpPr>
              <p:cNvPr id="381" name="ïśḷide">
                <a:extLst>
                  <a:ext uri="{FF2B5EF4-FFF2-40B4-BE49-F238E27FC236}">
                    <a16:creationId xmlns:a16="http://schemas.microsoft.com/office/drawing/2014/main" id="{B44817E3-5A54-44F1-BA1C-B14D83464796}"/>
                  </a:ext>
                </a:extLst>
              </p:cNvPr>
              <p:cNvSpPr/>
              <p:nvPr/>
            </p:nvSpPr>
            <p:spPr bwMode="auto">
              <a:xfrm>
                <a:off x="4375705" y="1438800"/>
                <a:ext cx="694839" cy="694839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2" name="íṣ1îdê">
                <a:extLst>
                  <a:ext uri="{FF2B5EF4-FFF2-40B4-BE49-F238E27FC236}">
                    <a16:creationId xmlns:a16="http://schemas.microsoft.com/office/drawing/2014/main" id="{F7023FB4-EC24-4388-A453-EA22A394B1C9}"/>
                  </a:ext>
                </a:extLst>
              </p:cNvPr>
              <p:cNvSpPr/>
              <p:nvPr/>
            </p:nvSpPr>
            <p:spPr bwMode="auto">
              <a:xfrm>
                <a:off x="4929204" y="1885553"/>
                <a:ext cx="154189" cy="155177"/>
              </a:xfrm>
              <a:custGeom>
                <a:avLst/>
                <a:gdLst>
                  <a:gd name="T0" fmla="*/ 0 w 156"/>
                  <a:gd name="T1" fmla="*/ 29 h 157"/>
                  <a:gd name="T2" fmla="*/ 128 w 156"/>
                  <a:gd name="T3" fmla="*/ 0 h 157"/>
                  <a:gd name="T4" fmla="*/ 156 w 156"/>
                  <a:gd name="T5" fmla="*/ 129 h 157"/>
                  <a:gd name="T6" fmla="*/ 28 w 156"/>
                  <a:gd name="T7" fmla="*/ 157 h 157"/>
                  <a:gd name="T8" fmla="*/ 0 w 156"/>
                  <a:gd name="T9" fmla="*/ 29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57">
                    <a:moveTo>
                      <a:pt x="0" y="29"/>
                    </a:moveTo>
                    <a:lnTo>
                      <a:pt x="128" y="0"/>
                    </a:lnTo>
                    <a:lnTo>
                      <a:pt x="156" y="129"/>
                    </a:lnTo>
                    <a:lnTo>
                      <a:pt x="28" y="157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3" name="ïṧḻïḑê">
                <a:extLst>
                  <a:ext uri="{FF2B5EF4-FFF2-40B4-BE49-F238E27FC236}">
                    <a16:creationId xmlns:a16="http://schemas.microsoft.com/office/drawing/2014/main" id="{14268402-385F-4E39-AD48-FF4A1738BA99}"/>
                  </a:ext>
                </a:extLst>
              </p:cNvPr>
              <p:cNvSpPr/>
              <p:nvPr/>
            </p:nvSpPr>
            <p:spPr bwMode="auto">
              <a:xfrm>
                <a:off x="4414253" y="1478336"/>
                <a:ext cx="618733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4" name="îṡľíďé">
                <a:extLst>
                  <a:ext uri="{FF2B5EF4-FFF2-40B4-BE49-F238E27FC236}">
                    <a16:creationId xmlns:a16="http://schemas.microsoft.com/office/drawing/2014/main" id="{30F0A31B-6BBD-4DCE-9DA1-82A9B66E136A}"/>
                  </a:ext>
                </a:extLst>
              </p:cNvPr>
              <p:cNvSpPr/>
              <p:nvPr/>
            </p:nvSpPr>
            <p:spPr bwMode="auto">
              <a:xfrm>
                <a:off x="4486405" y="1631536"/>
                <a:ext cx="458613" cy="373612"/>
              </a:xfrm>
              <a:custGeom>
                <a:avLst/>
                <a:gdLst>
                  <a:gd name="T0" fmla="*/ 298 w 298"/>
                  <a:gd name="T1" fmla="*/ 75 h 243"/>
                  <a:gd name="T2" fmla="*/ 223 w 298"/>
                  <a:gd name="T3" fmla="*/ 0 h 243"/>
                  <a:gd name="T4" fmla="*/ 154 w 298"/>
                  <a:gd name="T5" fmla="*/ 45 h 243"/>
                  <a:gd name="T6" fmla="*/ 85 w 298"/>
                  <a:gd name="T7" fmla="*/ 0 h 243"/>
                  <a:gd name="T8" fmla="*/ 10 w 298"/>
                  <a:gd name="T9" fmla="*/ 75 h 243"/>
                  <a:gd name="T10" fmla="*/ 154 w 298"/>
                  <a:gd name="T11" fmla="*/ 243 h 243"/>
                  <a:gd name="T12" fmla="*/ 295 w 298"/>
                  <a:gd name="T13" fmla="*/ 94 h 243"/>
                  <a:gd name="T14" fmla="*/ 298 w 298"/>
                  <a:gd name="T15" fmla="*/ 75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8" h="243">
                    <a:moveTo>
                      <a:pt x="298" y="75"/>
                    </a:moveTo>
                    <a:cubicBezTo>
                      <a:pt x="298" y="34"/>
                      <a:pt x="264" y="0"/>
                      <a:pt x="223" y="0"/>
                    </a:cubicBezTo>
                    <a:cubicBezTo>
                      <a:pt x="192" y="0"/>
                      <a:pt x="165" y="18"/>
                      <a:pt x="154" y="45"/>
                    </a:cubicBezTo>
                    <a:cubicBezTo>
                      <a:pt x="142" y="18"/>
                      <a:pt x="116" y="0"/>
                      <a:pt x="85" y="0"/>
                    </a:cubicBezTo>
                    <a:cubicBezTo>
                      <a:pt x="43" y="0"/>
                      <a:pt x="10" y="34"/>
                      <a:pt x="10" y="75"/>
                    </a:cubicBezTo>
                    <a:cubicBezTo>
                      <a:pt x="10" y="75"/>
                      <a:pt x="0" y="153"/>
                      <a:pt x="154" y="243"/>
                    </a:cubicBezTo>
                    <a:cubicBezTo>
                      <a:pt x="261" y="180"/>
                      <a:pt x="289" y="123"/>
                      <a:pt x="295" y="94"/>
                    </a:cubicBezTo>
                    <a:cubicBezTo>
                      <a:pt x="297" y="88"/>
                      <a:pt x="298" y="82"/>
                      <a:pt x="298" y="75"/>
                    </a:cubicBezTo>
                    <a:close/>
                  </a:path>
                </a:pathLst>
              </a:custGeom>
              <a:solidFill>
                <a:srgbClr val="F44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42" name="ïśḻîḑê">
              <a:extLst>
                <a:ext uri="{FF2B5EF4-FFF2-40B4-BE49-F238E27FC236}">
                  <a16:creationId xmlns:a16="http://schemas.microsoft.com/office/drawing/2014/main" id="{7ACF5E2B-824A-45A8-BA09-6C88F024CA1C}"/>
                </a:ext>
              </a:extLst>
            </p:cNvPr>
            <p:cNvGrpSpPr/>
            <p:nvPr/>
          </p:nvGrpSpPr>
          <p:grpSpPr>
            <a:xfrm>
              <a:off x="5186186" y="2188989"/>
              <a:ext cx="694839" cy="772921"/>
              <a:chOff x="5186186" y="2188989"/>
              <a:chExt cx="694839" cy="772921"/>
            </a:xfrm>
          </p:grpSpPr>
          <p:sp>
            <p:nvSpPr>
              <p:cNvPr id="373" name="iSḻíḋé">
                <a:extLst>
                  <a:ext uri="{FF2B5EF4-FFF2-40B4-BE49-F238E27FC236}">
                    <a16:creationId xmlns:a16="http://schemas.microsoft.com/office/drawing/2014/main" id="{B8EA0A3D-4134-467A-8880-D9A2D2E72CA1}"/>
                  </a:ext>
                </a:extLst>
              </p:cNvPr>
              <p:cNvSpPr/>
              <p:nvPr/>
            </p:nvSpPr>
            <p:spPr bwMode="auto">
              <a:xfrm>
                <a:off x="5443168" y="2779058"/>
                <a:ext cx="182852" cy="182852"/>
              </a:xfrm>
              <a:custGeom>
                <a:avLst/>
                <a:gdLst>
                  <a:gd name="T0" fmla="*/ 0 w 185"/>
                  <a:gd name="T1" fmla="*/ 91 h 185"/>
                  <a:gd name="T2" fmla="*/ 92 w 185"/>
                  <a:gd name="T3" fmla="*/ 0 h 185"/>
                  <a:gd name="T4" fmla="*/ 185 w 185"/>
                  <a:gd name="T5" fmla="*/ 91 h 185"/>
                  <a:gd name="T6" fmla="*/ 92 w 185"/>
                  <a:gd name="T7" fmla="*/ 185 h 185"/>
                  <a:gd name="T8" fmla="*/ 0 w 185"/>
                  <a:gd name="T9" fmla="*/ 91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85">
                    <a:moveTo>
                      <a:pt x="0" y="91"/>
                    </a:moveTo>
                    <a:lnTo>
                      <a:pt x="92" y="0"/>
                    </a:lnTo>
                    <a:lnTo>
                      <a:pt x="185" y="91"/>
                    </a:lnTo>
                    <a:lnTo>
                      <a:pt x="92" y="185"/>
                    </a:lnTo>
                    <a:lnTo>
                      <a:pt x="0" y="91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4" name="ïṩļiḋê">
                <a:extLst>
                  <a:ext uri="{FF2B5EF4-FFF2-40B4-BE49-F238E27FC236}">
                    <a16:creationId xmlns:a16="http://schemas.microsoft.com/office/drawing/2014/main" id="{BBE9519A-5234-428F-9C1F-6D2A9A24611E}"/>
                  </a:ext>
                </a:extLst>
              </p:cNvPr>
              <p:cNvSpPr/>
              <p:nvPr/>
            </p:nvSpPr>
            <p:spPr bwMode="auto">
              <a:xfrm>
                <a:off x="5186186" y="2188989"/>
                <a:ext cx="694839" cy="695827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5" name="iSliḋè">
                <a:extLst>
                  <a:ext uri="{FF2B5EF4-FFF2-40B4-BE49-F238E27FC236}">
                    <a16:creationId xmlns:a16="http://schemas.microsoft.com/office/drawing/2014/main" id="{30EAAC01-A495-40A5-B137-6CD950B32C68}"/>
                  </a:ext>
                </a:extLst>
              </p:cNvPr>
              <p:cNvSpPr/>
              <p:nvPr/>
            </p:nvSpPr>
            <p:spPr bwMode="auto">
              <a:xfrm>
                <a:off x="5224733" y="2229513"/>
                <a:ext cx="617744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6" name="íŝļíḓê">
                <a:extLst>
                  <a:ext uri="{FF2B5EF4-FFF2-40B4-BE49-F238E27FC236}">
                    <a16:creationId xmlns:a16="http://schemas.microsoft.com/office/drawing/2014/main" id="{48B9D149-5228-4F0D-B192-52316D840F90}"/>
                  </a:ext>
                </a:extLst>
              </p:cNvPr>
              <p:cNvSpPr/>
              <p:nvPr/>
            </p:nvSpPr>
            <p:spPr bwMode="auto">
              <a:xfrm>
                <a:off x="5326538" y="2322422"/>
                <a:ext cx="416113" cy="418089"/>
              </a:xfrm>
              <a:prstGeom prst="ellipse">
                <a:avLst/>
              </a:prstGeom>
              <a:solidFill>
                <a:srgbClr val="FAE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7" name="íṣļïḋè">
                <a:extLst>
                  <a:ext uri="{FF2B5EF4-FFF2-40B4-BE49-F238E27FC236}">
                    <a16:creationId xmlns:a16="http://schemas.microsoft.com/office/drawing/2014/main" id="{71DBB21A-252E-45CF-9DF8-8B20A62F9C33}"/>
                  </a:ext>
                </a:extLst>
              </p:cNvPr>
              <p:cNvSpPr/>
              <p:nvPr/>
            </p:nvSpPr>
            <p:spPr bwMode="auto">
              <a:xfrm>
                <a:off x="5401655" y="2531960"/>
                <a:ext cx="265877" cy="133433"/>
              </a:xfrm>
              <a:custGeom>
                <a:avLst/>
                <a:gdLst>
                  <a:gd name="T0" fmla="*/ 87 w 173"/>
                  <a:gd name="T1" fmla="*/ 87 h 87"/>
                  <a:gd name="T2" fmla="*/ 173 w 173"/>
                  <a:gd name="T3" fmla="*/ 0 h 87"/>
                  <a:gd name="T4" fmla="*/ 0 w 173"/>
                  <a:gd name="T5" fmla="*/ 0 h 87"/>
                  <a:gd name="T6" fmla="*/ 87 w 173"/>
                  <a:gd name="T7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3" h="87">
                    <a:moveTo>
                      <a:pt x="87" y="87"/>
                    </a:moveTo>
                    <a:cubicBezTo>
                      <a:pt x="134" y="87"/>
                      <a:pt x="173" y="48"/>
                      <a:pt x="1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39" y="87"/>
                      <a:pt x="87" y="87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8" name="îŝľiďe">
                <a:extLst>
                  <a:ext uri="{FF2B5EF4-FFF2-40B4-BE49-F238E27FC236}">
                    <a16:creationId xmlns:a16="http://schemas.microsoft.com/office/drawing/2014/main" id="{4CECE52A-BED9-42B4-B869-3E1CFB95AE7D}"/>
                  </a:ext>
                </a:extLst>
              </p:cNvPr>
              <p:cNvSpPr/>
              <p:nvPr/>
            </p:nvSpPr>
            <p:spPr bwMode="auto">
              <a:xfrm>
                <a:off x="5415493" y="2571496"/>
                <a:ext cx="238202" cy="93897"/>
              </a:xfrm>
              <a:custGeom>
                <a:avLst/>
                <a:gdLst>
                  <a:gd name="T0" fmla="*/ 78 w 155"/>
                  <a:gd name="T1" fmla="*/ 0 h 61"/>
                  <a:gd name="T2" fmla="*/ 0 w 155"/>
                  <a:gd name="T3" fmla="*/ 13 h 61"/>
                  <a:gd name="T4" fmla="*/ 78 w 155"/>
                  <a:gd name="T5" fmla="*/ 61 h 61"/>
                  <a:gd name="T6" fmla="*/ 155 w 155"/>
                  <a:gd name="T7" fmla="*/ 13 h 61"/>
                  <a:gd name="T8" fmla="*/ 78 w 155"/>
                  <a:gd name="T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" h="61">
                    <a:moveTo>
                      <a:pt x="78" y="0"/>
                    </a:moveTo>
                    <a:cubicBezTo>
                      <a:pt x="50" y="0"/>
                      <a:pt x="24" y="5"/>
                      <a:pt x="0" y="13"/>
                    </a:cubicBezTo>
                    <a:cubicBezTo>
                      <a:pt x="14" y="41"/>
                      <a:pt x="44" y="61"/>
                      <a:pt x="78" y="61"/>
                    </a:cubicBezTo>
                    <a:cubicBezTo>
                      <a:pt x="111" y="61"/>
                      <a:pt x="141" y="41"/>
                      <a:pt x="155" y="13"/>
                    </a:cubicBezTo>
                    <a:cubicBezTo>
                      <a:pt x="131" y="5"/>
                      <a:pt x="105" y="0"/>
                      <a:pt x="78" y="0"/>
                    </a:cubicBezTo>
                    <a:close/>
                  </a:path>
                </a:pathLst>
              </a:custGeom>
              <a:solidFill>
                <a:srgbClr val="F44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9" name="işľîďé">
                <a:extLst>
                  <a:ext uri="{FF2B5EF4-FFF2-40B4-BE49-F238E27FC236}">
                    <a16:creationId xmlns:a16="http://schemas.microsoft.com/office/drawing/2014/main" id="{0BD9998B-0DEF-4EA9-BBA2-2B4A24C40AA5}"/>
                  </a:ext>
                </a:extLst>
              </p:cNvPr>
              <p:cNvSpPr/>
              <p:nvPr/>
            </p:nvSpPr>
            <p:spPr bwMode="auto">
              <a:xfrm>
                <a:off x="5590438" y="2426203"/>
                <a:ext cx="77095" cy="65234"/>
              </a:xfrm>
              <a:custGeom>
                <a:avLst/>
                <a:gdLst>
                  <a:gd name="T0" fmla="*/ 45 w 50"/>
                  <a:gd name="T1" fmla="*/ 31 h 43"/>
                  <a:gd name="T2" fmla="*/ 21 w 50"/>
                  <a:gd name="T3" fmla="*/ 23 h 43"/>
                  <a:gd name="T4" fmla="*/ 44 w 50"/>
                  <a:gd name="T5" fmla="*/ 12 h 43"/>
                  <a:gd name="T6" fmla="*/ 47 w 50"/>
                  <a:gd name="T7" fmla="*/ 4 h 43"/>
                  <a:gd name="T8" fmla="*/ 39 w 50"/>
                  <a:gd name="T9" fmla="*/ 1 h 43"/>
                  <a:gd name="T10" fmla="*/ 4 w 50"/>
                  <a:gd name="T11" fmla="*/ 19 h 43"/>
                  <a:gd name="T12" fmla="*/ 4 w 50"/>
                  <a:gd name="T13" fmla="*/ 19 h 43"/>
                  <a:gd name="T14" fmla="*/ 4 w 50"/>
                  <a:gd name="T15" fmla="*/ 19 h 43"/>
                  <a:gd name="T16" fmla="*/ 4 w 50"/>
                  <a:gd name="T17" fmla="*/ 19 h 43"/>
                  <a:gd name="T18" fmla="*/ 3 w 50"/>
                  <a:gd name="T19" fmla="*/ 19 h 43"/>
                  <a:gd name="T20" fmla="*/ 2 w 50"/>
                  <a:gd name="T21" fmla="*/ 20 h 43"/>
                  <a:gd name="T22" fmla="*/ 2 w 50"/>
                  <a:gd name="T23" fmla="*/ 20 h 43"/>
                  <a:gd name="T24" fmla="*/ 2 w 50"/>
                  <a:gd name="T25" fmla="*/ 20 h 43"/>
                  <a:gd name="T26" fmla="*/ 1 w 50"/>
                  <a:gd name="T27" fmla="*/ 21 h 43"/>
                  <a:gd name="T28" fmla="*/ 1 w 50"/>
                  <a:gd name="T29" fmla="*/ 26 h 43"/>
                  <a:gd name="T30" fmla="*/ 5 w 50"/>
                  <a:gd name="T31" fmla="*/ 29 h 43"/>
                  <a:gd name="T32" fmla="*/ 42 w 50"/>
                  <a:gd name="T33" fmla="*/ 42 h 43"/>
                  <a:gd name="T34" fmla="*/ 49 w 50"/>
                  <a:gd name="T35" fmla="*/ 38 h 43"/>
                  <a:gd name="T36" fmla="*/ 45 w 50"/>
                  <a:gd name="T3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43">
                    <a:moveTo>
                      <a:pt x="45" y="31"/>
                    </a:moveTo>
                    <a:cubicBezTo>
                      <a:pt x="21" y="23"/>
                      <a:pt x="21" y="23"/>
                      <a:pt x="21" y="23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7" y="10"/>
                      <a:pt x="48" y="7"/>
                      <a:pt x="47" y="4"/>
                    </a:cubicBezTo>
                    <a:cubicBezTo>
                      <a:pt x="45" y="1"/>
                      <a:pt x="42" y="0"/>
                      <a:pt x="39" y="1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1"/>
                      <a:pt x="1" y="21"/>
                      <a:pt x="1" y="21"/>
                    </a:cubicBezTo>
                    <a:cubicBezTo>
                      <a:pt x="0" y="22"/>
                      <a:pt x="0" y="24"/>
                      <a:pt x="1" y="26"/>
                    </a:cubicBezTo>
                    <a:cubicBezTo>
                      <a:pt x="2" y="28"/>
                      <a:pt x="3" y="29"/>
                      <a:pt x="5" y="29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5" y="43"/>
                      <a:pt x="48" y="41"/>
                      <a:pt x="49" y="38"/>
                    </a:cubicBezTo>
                    <a:cubicBezTo>
                      <a:pt x="50" y="35"/>
                      <a:pt x="48" y="32"/>
                      <a:pt x="45" y="31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0" name="íṧļïḓè">
                <a:extLst>
                  <a:ext uri="{FF2B5EF4-FFF2-40B4-BE49-F238E27FC236}">
                    <a16:creationId xmlns:a16="http://schemas.microsoft.com/office/drawing/2014/main" id="{18F68E94-2880-4655-94A9-D38E0917A891}"/>
                  </a:ext>
                </a:extLst>
              </p:cNvPr>
              <p:cNvSpPr/>
              <p:nvPr/>
            </p:nvSpPr>
            <p:spPr bwMode="auto">
              <a:xfrm>
                <a:off x="5405609" y="2426203"/>
                <a:ext cx="76106" cy="65234"/>
              </a:xfrm>
              <a:custGeom>
                <a:avLst/>
                <a:gdLst>
                  <a:gd name="T0" fmla="*/ 4 w 49"/>
                  <a:gd name="T1" fmla="*/ 31 h 43"/>
                  <a:gd name="T2" fmla="*/ 28 w 49"/>
                  <a:gd name="T3" fmla="*/ 23 h 43"/>
                  <a:gd name="T4" fmla="*/ 5 w 49"/>
                  <a:gd name="T5" fmla="*/ 12 h 43"/>
                  <a:gd name="T6" fmla="*/ 3 w 49"/>
                  <a:gd name="T7" fmla="*/ 4 h 43"/>
                  <a:gd name="T8" fmla="*/ 10 w 49"/>
                  <a:gd name="T9" fmla="*/ 1 h 43"/>
                  <a:gd name="T10" fmla="*/ 46 w 49"/>
                  <a:gd name="T11" fmla="*/ 19 h 43"/>
                  <a:gd name="T12" fmla="*/ 46 w 49"/>
                  <a:gd name="T13" fmla="*/ 19 h 43"/>
                  <a:gd name="T14" fmla="*/ 46 w 49"/>
                  <a:gd name="T15" fmla="*/ 19 h 43"/>
                  <a:gd name="T16" fmla="*/ 46 w 49"/>
                  <a:gd name="T17" fmla="*/ 19 h 43"/>
                  <a:gd name="T18" fmla="*/ 47 w 49"/>
                  <a:gd name="T19" fmla="*/ 19 h 43"/>
                  <a:gd name="T20" fmla="*/ 47 w 49"/>
                  <a:gd name="T21" fmla="*/ 20 h 43"/>
                  <a:gd name="T22" fmla="*/ 48 w 49"/>
                  <a:gd name="T23" fmla="*/ 20 h 43"/>
                  <a:gd name="T24" fmla="*/ 48 w 49"/>
                  <a:gd name="T25" fmla="*/ 20 h 43"/>
                  <a:gd name="T26" fmla="*/ 48 w 49"/>
                  <a:gd name="T27" fmla="*/ 21 h 43"/>
                  <a:gd name="T28" fmla="*/ 48 w 49"/>
                  <a:gd name="T29" fmla="*/ 26 h 43"/>
                  <a:gd name="T30" fmla="*/ 45 w 49"/>
                  <a:gd name="T31" fmla="*/ 29 h 43"/>
                  <a:gd name="T32" fmla="*/ 8 w 49"/>
                  <a:gd name="T33" fmla="*/ 42 h 43"/>
                  <a:gd name="T34" fmla="*/ 1 w 49"/>
                  <a:gd name="T35" fmla="*/ 38 h 43"/>
                  <a:gd name="T36" fmla="*/ 4 w 49"/>
                  <a:gd name="T3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9" h="43">
                    <a:moveTo>
                      <a:pt x="4" y="31"/>
                    </a:moveTo>
                    <a:cubicBezTo>
                      <a:pt x="28" y="23"/>
                      <a:pt x="28" y="23"/>
                      <a:pt x="28" y="23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3" y="10"/>
                      <a:pt x="1" y="7"/>
                      <a:pt x="3" y="4"/>
                    </a:cubicBezTo>
                    <a:cubicBezTo>
                      <a:pt x="4" y="1"/>
                      <a:pt x="8" y="0"/>
                      <a:pt x="10" y="1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7" y="19"/>
                      <a:pt x="47" y="19"/>
                    </a:cubicBezTo>
                    <a:cubicBezTo>
                      <a:pt x="47" y="19"/>
                      <a:pt x="47" y="19"/>
                      <a:pt x="47" y="20"/>
                    </a:cubicBezTo>
                    <a:cubicBezTo>
                      <a:pt x="47" y="20"/>
                      <a:pt x="47" y="20"/>
                      <a:pt x="48" y="20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1"/>
                      <a:pt x="48" y="21"/>
                      <a:pt x="48" y="21"/>
                    </a:cubicBezTo>
                    <a:cubicBezTo>
                      <a:pt x="49" y="22"/>
                      <a:pt x="49" y="24"/>
                      <a:pt x="48" y="26"/>
                    </a:cubicBezTo>
                    <a:cubicBezTo>
                      <a:pt x="48" y="28"/>
                      <a:pt x="46" y="29"/>
                      <a:pt x="45" y="29"/>
                    </a:cubicBezTo>
                    <a:cubicBezTo>
                      <a:pt x="8" y="42"/>
                      <a:pt x="8" y="42"/>
                      <a:pt x="8" y="42"/>
                    </a:cubicBezTo>
                    <a:cubicBezTo>
                      <a:pt x="5" y="43"/>
                      <a:pt x="2" y="41"/>
                      <a:pt x="1" y="38"/>
                    </a:cubicBezTo>
                    <a:cubicBezTo>
                      <a:pt x="0" y="35"/>
                      <a:pt x="1" y="32"/>
                      <a:pt x="4" y="31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43" name="iṩḻide">
              <a:extLst>
                <a:ext uri="{FF2B5EF4-FFF2-40B4-BE49-F238E27FC236}">
                  <a16:creationId xmlns:a16="http://schemas.microsoft.com/office/drawing/2014/main" id="{6D8BE365-BCAB-4AC0-A827-FB748A871AC4}"/>
                </a:ext>
              </a:extLst>
            </p:cNvPr>
            <p:cNvGrpSpPr/>
            <p:nvPr/>
          </p:nvGrpSpPr>
          <p:grpSpPr>
            <a:xfrm>
              <a:off x="6311963" y="2188989"/>
              <a:ext cx="696816" cy="772921"/>
              <a:chOff x="6311963" y="2188989"/>
              <a:chExt cx="696816" cy="772921"/>
            </a:xfrm>
          </p:grpSpPr>
          <p:sp>
            <p:nvSpPr>
              <p:cNvPr id="364" name="îṥ1ïďe">
                <a:extLst>
                  <a:ext uri="{FF2B5EF4-FFF2-40B4-BE49-F238E27FC236}">
                    <a16:creationId xmlns:a16="http://schemas.microsoft.com/office/drawing/2014/main" id="{759B4145-0A9B-4C88-AA81-D23BF3F69054}"/>
                  </a:ext>
                </a:extLst>
              </p:cNvPr>
              <p:cNvSpPr/>
              <p:nvPr/>
            </p:nvSpPr>
            <p:spPr bwMode="auto">
              <a:xfrm>
                <a:off x="6568945" y="2779058"/>
                <a:ext cx="182852" cy="182852"/>
              </a:xfrm>
              <a:custGeom>
                <a:avLst/>
                <a:gdLst>
                  <a:gd name="T0" fmla="*/ 185 w 185"/>
                  <a:gd name="T1" fmla="*/ 91 h 185"/>
                  <a:gd name="T2" fmla="*/ 93 w 185"/>
                  <a:gd name="T3" fmla="*/ 0 h 185"/>
                  <a:gd name="T4" fmla="*/ 0 w 185"/>
                  <a:gd name="T5" fmla="*/ 91 h 185"/>
                  <a:gd name="T6" fmla="*/ 93 w 185"/>
                  <a:gd name="T7" fmla="*/ 185 h 185"/>
                  <a:gd name="T8" fmla="*/ 185 w 185"/>
                  <a:gd name="T9" fmla="*/ 91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85">
                    <a:moveTo>
                      <a:pt x="185" y="91"/>
                    </a:moveTo>
                    <a:lnTo>
                      <a:pt x="93" y="0"/>
                    </a:lnTo>
                    <a:lnTo>
                      <a:pt x="0" y="91"/>
                    </a:lnTo>
                    <a:lnTo>
                      <a:pt x="93" y="185"/>
                    </a:lnTo>
                    <a:lnTo>
                      <a:pt x="185" y="91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5" name="ïşliďé">
                <a:extLst>
                  <a:ext uri="{FF2B5EF4-FFF2-40B4-BE49-F238E27FC236}">
                    <a16:creationId xmlns:a16="http://schemas.microsoft.com/office/drawing/2014/main" id="{F4DF7E70-C644-4ADE-8EE2-043125B21259}"/>
                  </a:ext>
                </a:extLst>
              </p:cNvPr>
              <p:cNvSpPr/>
              <p:nvPr/>
            </p:nvSpPr>
            <p:spPr bwMode="auto">
              <a:xfrm>
                <a:off x="6311963" y="2188989"/>
                <a:ext cx="696816" cy="695827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6" name="ïşlíḍé">
                <a:extLst>
                  <a:ext uri="{FF2B5EF4-FFF2-40B4-BE49-F238E27FC236}">
                    <a16:creationId xmlns:a16="http://schemas.microsoft.com/office/drawing/2014/main" id="{6741D732-6B35-4230-BF45-352911264730}"/>
                  </a:ext>
                </a:extLst>
              </p:cNvPr>
              <p:cNvSpPr/>
              <p:nvPr/>
            </p:nvSpPr>
            <p:spPr bwMode="auto">
              <a:xfrm>
                <a:off x="6351499" y="2229513"/>
                <a:ext cx="616756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7" name="îş1íďè">
                <a:extLst>
                  <a:ext uri="{FF2B5EF4-FFF2-40B4-BE49-F238E27FC236}">
                    <a16:creationId xmlns:a16="http://schemas.microsoft.com/office/drawing/2014/main" id="{62C6684F-F304-4A01-A595-A110615170D2}"/>
                  </a:ext>
                </a:extLst>
              </p:cNvPr>
              <p:cNvSpPr/>
              <p:nvPr/>
            </p:nvSpPr>
            <p:spPr bwMode="auto">
              <a:xfrm>
                <a:off x="6451327" y="2322422"/>
                <a:ext cx="417101" cy="418089"/>
              </a:xfrm>
              <a:prstGeom prst="ellipse">
                <a:avLst/>
              </a:prstGeom>
              <a:solidFill>
                <a:srgbClr val="FAE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8" name="ïŝḷïďê">
                <a:extLst>
                  <a:ext uri="{FF2B5EF4-FFF2-40B4-BE49-F238E27FC236}">
                    <a16:creationId xmlns:a16="http://schemas.microsoft.com/office/drawing/2014/main" id="{66FDD345-9162-41BE-9D55-BD94120E6AEB}"/>
                  </a:ext>
                </a:extLst>
              </p:cNvPr>
              <p:cNvSpPr/>
              <p:nvPr/>
            </p:nvSpPr>
            <p:spPr bwMode="auto">
              <a:xfrm>
                <a:off x="6602550" y="2540856"/>
                <a:ext cx="115642" cy="163085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9" name="íṩḻiḋé">
                <a:extLst>
                  <a:ext uri="{FF2B5EF4-FFF2-40B4-BE49-F238E27FC236}">
                    <a16:creationId xmlns:a16="http://schemas.microsoft.com/office/drawing/2014/main" id="{C9E9D8B5-E6A8-46EC-924C-B1987C37951A}"/>
                  </a:ext>
                </a:extLst>
              </p:cNvPr>
              <p:cNvSpPr/>
              <p:nvPr/>
            </p:nvSpPr>
            <p:spPr bwMode="auto">
              <a:xfrm>
                <a:off x="6528421" y="2432133"/>
                <a:ext cx="63257" cy="86978"/>
              </a:xfrm>
              <a:custGeom>
                <a:avLst/>
                <a:gdLst>
                  <a:gd name="T0" fmla="*/ 2 w 41"/>
                  <a:gd name="T1" fmla="*/ 26 h 57"/>
                  <a:gd name="T2" fmla="*/ 24 w 41"/>
                  <a:gd name="T3" fmla="*/ 1 h 57"/>
                  <a:gd name="T4" fmla="*/ 40 w 41"/>
                  <a:gd name="T5" fmla="*/ 31 h 57"/>
                  <a:gd name="T6" fmla="*/ 17 w 41"/>
                  <a:gd name="T7" fmla="*/ 55 h 57"/>
                  <a:gd name="T8" fmla="*/ 2 w 41"/>
                  <a:gd name="T9" fmla="*/ 2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7">
                    <a:moveTo>
                      <a:pt x="2" y="26"/>
                    </a:moveTo>
                    <a:cubicBezTo>
                      <a:pt x="4" y="11"/>
                      <a:pt x="13" y="0"/>
                      <a:pt x="24" y="1"/>
                    </a:cubicBezTo>
                    <a:cubicBezTo>
                      <a:pt x="34" y="3"/>
                      <a:pt x="41" y="16"/>
                      <a:pt x="40" y="31"/>
                    </a:cubicBezTo>
                    <a:cubicBezTo>
                      <a:pt x="38" y="46"/>
                      <a:pt x="28" y="57"/>
                      <a:pt x="17" y="55"/>
                    </a:cubicBezTo>
                    <a:cubicBezTo>
                      <a:pt x="7" y="54"/>
                      <a:pt x="0" y="41"/>
                      <a:pt x="2" y="2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0" name="iŝḷiḋe">
                <a:extLst>
                  <a:ext uri="{FF2B5EF4-FFF2-40B4-BE49-F238E27FC236}">
                    <a16:creationId xmlns:a16="http://schemas.microsoft.com/office/drawing/2014/main" id="{D3CF2A0E-7D27-4C7A-86EC-1EC3808BD278}"/>
                  </a:ext>
                </a:extLst>
              </p:cNvPr>
              <p:cNvSpPr/>
              <p:nvPr/>
            </p:nvSpPr>
            <p:spPr bwMode="auto">
              <a:xfrm>
                <a:off x="6534351" y="2357015"/>
                <a:ext cx="68199" cy="27675"/>
              </a:xfrm>
              <a:custGeom>
                <a:avLst/>
                <a:gdLst>
                  <a:gd name="T0" fmla="*/ 39 w 44"/>
                  <a:gd name="T1" fmla="*/ 17 h 18"/>
                  <a:gd name="T2" fmla="*/ 35 w 44"/>
                  <a:gd name="T3" fmla="*/ 15 h 18"/>
                  <a:gd name="T4" fmla="*/ 24 w 44"/>
                  <a:gd name="T5" fmla="*/ 9 h 18"/>
                  <a:gd name="T6" fmla="*/ 8 w 44"/>
                  <a:gd name="T7" fmla="*/ 16 h 18"/>
                  <a:gd name="T8" fmla="*/ 2 w 44"/>
                  <a:gd name="T9" fmla="*/ 16 h 18"/>
                  <a:gd name="T10" fmla="*/ 2 w 44"/>
                  <a:gd name="T11" fmla="*/ 9 h 18"/>
                  <a:gd name="T12" fmla="*/ 24 w 44"/>
                  <a:gd name="T13" fmla="*/ 0 h 18"/>
                  <a:gd name="T14" fmla="*/ 43 w 44"/>
                  <a:gd name="T15" fmla="*/ 10 h 18"/>
                  <a:gd name="T16" fmla="*/ 42 w 44"/>
                  <a:gd name="T17" fmla="*/ 16 h 18"/>
                  <a:gd name="T18" fmla="*/ 39 w 44"/>
                  <a:gd name="T1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18">
                    <a:moveTo>
                      <a:pt x="39" y="17"/>
                    </a:moveTo>
                    <a:cubicBezTo>
                      <a:pt x="38" y="17"/>
                      <a:pt x="36" y="16"/>
                      <a:pt x="35" y="15"/>
                    </a:cubicBezTo>
                    <a:cubicBezTo>
                      <a:pt x="35" y="15"/>
                      <a:pt x="31" y="9"/>
                      <a:pt x="24" y="9"/>
                    </a:cubicBezTo>
                    <a:cubicBezTo>
                      <a:pt x="15" y="9"/>
                      <a:pt x="8" y="16"/>
                      <a:pt x="8" y="16"/>
                    </a:cubicBezTo>
                    <a:cubicBezTo>
                      <a:pt x="6" y="18"/>
                      <a:pt x="4" y="17"/>
                      <a:pt x="2" y="16"/>
                    </a:cubicBezTo>
                    <a:cubicBezTo>
                      <a:pt x="0" y="14"/>
                      <a:pt x="0" y="11"/>
                      <a:pt x="2" y="9"/>
                    </a:cubicBezTo>
                    <a:cubicBezTo>
                      <a:pt x="2" y="9"/>
                      <a:pt x="11" y="0"/>
                      <a:pt x="24" y="0"/>
                    </a:cubicBezTo>
                    <a:cubicBezTo>
                      <a:pt x="36" y="0"/>
                      <a:pt x="43" y="10"/>
                      <a:pt x="43" y="10"/>
                    </a:cubicBezTo>
                    <a:cubicBezTo>
                      <a:pt x="44" y="12"/>
                      <a:pt x="44" y="15"/>
                      <a:pt x="42" y="16"/>
                    </a:cubicBezTo>
                    <a:cubicBezTo>
                      <a:pt x="41" y="17"/>
                      <a:pt x="40" y="17"/>
                      <a:pt x="39" y="17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1" name="ïSḻïḑê">
                <a:extLst>
                  <a:ext uri="{FF2B5EF4-FFF2-40B4-BE49-F238E27FC236}">
                    <a16:creationId xmlns:a16="http://schemas.microsoft.com/office/drawing/2014/main" id="{7279AC9A-CD1B-4700-B2F9-6D1F3DC07AF1}"/>
                  </a:ext>
                </a:extLst>
              </p:cNvPr>
              <p:cNvSpPr/>
              <p:nvPr/>
            </p:nvSpPr>
            <p:spPr bwMode="auto">
              <a:xfrm>
                <a:off x="6724122" y="2432133"/>
                <a:ext cx="63257" cy="86978"/>
              </a:xfrm>
              <a:custGeom>
                <a:avLst/>
                <a:gdLst>
                  <a:gd name="T0" fmla="*/ 40 w 41"/>
                  <a:gd name="T1" fmla="*/ 26 h 57"/>
                  <a:gd name="T2" fmla="*/ 17 w 41"/>
                  <a:gd name="T3" fmla="*/ 1 h 57"/>
                  <a:gd name="T4" fmla="*/ 2 w 41"/>
                  <a:gd name="T5" fmla="*/ 31 h 57"/>
                  <a:gd name="T6" fmla="*/ 24 w 41"/>
                  <a:gd name="T7" fmla="*/ 55 h 57"/>
                  <a:gd name="T8" fmla="*/ 40 w 41"/>
                  <a:gd name="T9" fmla="*/ 2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7">
                    <a:moveTo>
                      <a:pt x="40" y="26"/>
                    </a:moveTo>
                    <a:cubicBezTo>
                      <a:pt x="38" y="11"/>
                      <a:pt x="28" y="0"/>
                      <a:pt x="17" y="1"/>
                    </a:cubicBezTo>
                    <a:cubicBezTo>
                      <a:pt x="7" y="3"/>
                      <a:pt x="0" y="16"/>
                      <a:pt x="2" y="31"/>
                    </a:cubicBezTo>
                    <a:cubicBezTo>
                      <a:pt x="4" y="46"/>
                      <a:pt x="13" y="57"/>
                      <a:pt x="24" y="55"/>
                    </a:cubicBezTo>
                    <a:cubicBezTo>
                      <a:pt x="34" y="54"/>
                      <a:pt x="41" y="41"/>
                      <a:pt x="40" y="2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2" name="íşľiḍé">
                <a:extLst>
                  <a:ext uri="{FF2B5EF4-FFF2-40B4-BE49-F238E27FC236}">
                    <a16:creationId xmlns:a16="http://schemas.microsoft.com/office/drawing/2014/main" id="{EE72DE0A-EA1E-484C-A052-C55499DE6FAD}"/>
                  </a:ext>
                </a:extLst>
              </p:cNvPr>
              <p:cNvSpPr/>
              <p:nvPr/>
            </p:nvSpPr>
            <p:spPr bwMode="auto">
              <a:xfrm>
                <a:off x="6713250" y="2357015"/>
                <a:ext cx="67211" cy="27675"/>
              </a:xfrm>
              <a:custGeom>
                <a:avLst/>
                <a:gdLst>
                  <a:gd name="T0" fmla="*/ 5 w 44"/>
                  <a:gd name="T1" fmla="*/ 17 h 18"/>
                  <a:gd name="T2" fmla="*/ 9 w 44"/>
                  <a:gd name="T3" fmla="*/ 15 h 18"/>
                  <a:gd name="T4" fmla="*/ 21 w 44"/>
                  <a:gd name="T5" fmla="*/ 9 h 18"/>
                  <a:gd name="T6" fmla="*/ 36 w 44"/>
                  <a:gd name="T7" fmla="*/ 16 h 18"/>
                  <a:gd name="T8" fmla="*/ 42 w 44"/>
                  <a:gd name="T9" fmla="*/ 16 h 18"/>
                  <a:gd name="T10" fmla="*/ 42 w 44"/>
                  <a:gd name="T11" fmla="*/ 9 h 18"/>
                  <a:gd name="T12" fmla="*/ 21 w 44"/>
                  <a:gd name="T13" fmla="*/ 0 h 18"/>
                  <a:gd name="T14" fmla="*/ 1 w 44"/>
                  <a:gd name="T15" fmla="*/ 10 h 18"/>
                  <a:gd name="T16" fmla="*/ 3 w 44"/>
                  <a:gd name="T17" fmla="*/ 16 h 18"/>
                  <a:gd name="T18" fmla="*/ 5 w 44"/>
                  <a:gd name="T1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18">
                    <a:moveTo>
                      <a:pt x="5" y="17"/>
                    </a:moveTo>
                    <a:cubicBezTo>
                      <a:pt x="7" y="17"/>
                      <a:pt x="8" y="16"/>
                      <a:pt x="9" y="15"/>
                    </a:cubicBezTo>
                    <a:cubicBezTo>
                      <a:pt x="9" y="15"/>
                      <a:pt x="13" y="9"/>
                      <a:pt x="21" y="9"/>
                    </a:cubicBezTo>
                    <a:cubicBezTo>
                      <a:pt x="29" y="9"/>
                      <a:pt x="36" y="16"/>
                      <a:pt x="36" y="16"/>
                    </a:cubicBezTo>
                    <a:cubicBezTo>
                      <a:pt x="38" y="18"/>
                      <a:pt x="41" y="17"/>
                      <a:pt x="42" y="16"/>
                    </a:cubicBezTo>
                    <a:cubicBezTo>
                      <a:pt x="44" y="14"/>
                      <a:pt x="44" y="11"/>
                      <a:pt x="42" y="9"/>
                    </a:cubicBezTo>
                    <a:cubicBezTo>
                      <a:pt x="42" y="9"/>
                      <a:pt x="33" y="0"/>
                      <a:pt x="21" y="0"/>
                    </a:cubicBezTo>
                    <a:cubicBezTo>
                      <a:pt x="8" y="0"/>
                      <a:pt x="2" y="10"/>
                      <a:pt x="1" y="10"/>
                    </a:cubicBezTo>
                    <a:cubicBezTo>
                      <a:pt x="0" y="12"/>
                      <a:pt x="1" y="15"/>
                      <a:pt x="3" y="16"/>
                    </a:cubicBezTo>
                    <a:cubicBezTo>
                      <a:pt x="3" y="17"/>
                      <a:pt x="4" y="17"/>
                      <a:pt x="5" y="17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44" name="ïšľiḍé">
              <a:extLst>
                <a:ext uri="{FF2B5EF4-FFF2-40B4-BE49-F238E27FC236}">
                  <a16:creationId xmlns:a16="http://schemas.microsoft.com/office/drawing/2014/main" id="{9782A06D-F6C9-4032-89AC-3783892E7507}"/>
                </a:ext>
              </a:extLst>
            </p:cNvPr>
            <p:cNvGrpSpPr/>
            <p:nvPr/>
          </p:nvGrpSpPr>
          <p:grpSpPr>
            <a:xfrm>
              <a:off x="7106630" y="1438800"/>
              <a:ext cx="708676" cy="694839"/>
              <a:chOff x="7106630" y="1438800"/>
              <a:chExt cx="708676" cy="694839"/>
            </a:xfrm>
          </p:grpSpPr>
          <p:sp>
            <p:nvSpPr>
              <p:cNvPr id="354" name="íśļïde">
                <a:extLst>
                  <a:ext uri="{FF2B5EF4-FFF2-40B4-BE49-F238E27FC236}">
                    <a16:creationId xmlns:a16="http://schemas.microsoft.com/office/drawing/2014/main" id="{BB8E618A-652B-4A24-86CD-E2B4BDF51B85}"/>
                  </a:ext>
                </a:extLst>
              </p:cNvPr>
              <p:cNvSpPr/>
              <p:nvPr/>
            </p:nvSpPr>
            <p:spPr bwMode="auto">
              <a:xfrm>
                <a:off x="7120467" y="1438800"/>
                <a:ext cx="694839" cy="694839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5" name="íşḻíḓé">
                <a:extLst>
                  <a:ext uri="{FF2B5EF4-FFF2-40B4-BE49-F238E27FC236}">
                    <a16:creationId xmlns:a16="http://schemas.microsoft.com/office/drawing/2014/main" id="{29F58980-3B2B-4A8D-B7C4-F97728211392}"/>
                  </a:ext>
                </a:extLst>
              </p:cNvPr>
              <p:cNvSpPr/>
              <p:nvPr/>
            </p:nvSpPr>
            <p:spPr bwMode="auto">
              <a:xfrm>
                <a:off x="7106630" y="1885553"/>
                <a:ext cx="155177" cy="155177"/>
              </a:xfrm>
              <a:custGeom>
                <a:avLst/>
                <a:gdLst>
                  <a:gd name="T0" fmla="*/ 157 w 157"/>
                  <a:gd name="T1" fmla="*/ 29 h 157"/>
                  <a:gd name="T2" fmla="*/ 30 w 157"/>
                  <a:gd name="T3" fmla="*/ 0 h 157"/>
                  <a:gd name="T4" fmla="*/ 0 w 157"/>
                  <a:gd name="T5" fmla="*/ 129 h 157"/>
                  <a:gd name="T6" fmla="*/ 129 w 157"/>
                  <a:gd name="T7" fmla="*/ 157 h 157"/>
                  <a:gd name="T8" fmla="*/ 157 w 157"/>
                  <a:gd name="T9" fmla="*/ 29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57">
                    <a:moveTo>
                      <a:pt x="157" y="29"/>
                    </a:moveTo>
                    <a:lnTo>
                      <a:pt x="30" y="0"/>
                    </a:lnTo>
                    <a:lnTo>
                      <a:pt x="0" y="129"/>
                    </a:lnTo>
                    <a:lnTo>
                      <a:pt x="129" y="157"/>
                    </a:lnTo>
                    <a:lnTo>
                      <a:pt x="157" y="29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6" name="îšḷídé">
                <a:extLst>
                  <a:ext uri="{FF2B5EF4-FFF2-40B4-BE49-F238E27FC236}">
                    <a16:creationId xmlns:a16="http://schemas.microsoft.com/office/drawing/2014/main" id="{05D2A37A-5BDB-4D7F-B976-5812F0722BC0}"/>
                  </a:ext>
                </a:extLst>
              </p:cNvPr>
              <p:cNvSpPr/>
              <p:nvPr/>
            </p:nvSpPr>
            <p:spPr bwMode="auto">
              <a:xfrm>
                <a:off x="7159015" y="1478336"/>
                <a:ext cx="618733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7" name="ïṡḷiḍê">
                <a:extLst>
                  <a:ext uri="{FF2B5EF4-FFF2-40B4-BE49-F238E27FC236}">
                    <a16:creationId xmlns:a16="http://schemas.microsoft.com/office/drawing/2014/main" id="{CFF1A140-0313-4B41-AB25-5861DAFCFE4D}"/>
                  </a:ext>
                </a:extLst>
              </p:cNvPr>
              <p:cNvSpPr/>
              <p:nvPr/>
            </p:nvSpPr>
            <p:spPr bwMode="auto">
              <a:xfrm>
                <a:off x="7258842" y="1587059"/>
                <a:ext cx="418089" cy="418089"/>
              </a:xfrm>
              <a:prstGeom prst="ellipse">
                <a:avLst/>
              </a:prstGeom>
              <a:solidFill>
                <a:srgbClr val="FAE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8" name="íslîḍê">
                <a:extLst>
                  <a:ext uri="{FF2B5EF4-FFF2-40B4-BE49-F238E27FC236}">
                    <a16:creationId xmlns:a16="http://schemas.microsoft.com/office/drawing/2014/main" id="{D71BD903-52D9-4781-98FA-3011875F1D6D}"/>
                  </a:ext>
                </a:extLst>
              </p:cNvPr>
              <p:cNvSpPr/>
              <p:nvPr/>
            </p:nvSpPr>
            <p:spPr bwMode="auto">
              <a:xfrm>
                <a:off x="7347797" y="1789679"/>
                <a:ext cx="54362" cy="5535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9" name="îśḻiḑê">
                <a:extLst>
                  <a:ext uri="{FF2B5EF4-FFF2-40B4-BE49-F238E27FC236}">
                    <a16:creationId xmlns:a16="http://schemas.microsoft.com/office/drawing/2014/main" id="{1DAC040B-92FA-4010-A356-4DB1892B72AC}"/>
                  </a:ext>
                </a:extLst>
              </p:cNvPr>
              <p:cNvSpPr/>
              <p:nvPr/>
            </p:nvSpPr>
            <p:spPr bwMode="auto">
              <a:xfrm>
                <a:off x="7316169" y="1752120"/>
                <a:ext cx="80060" cy="48431"/>
              </a:xfrm>
              <a:custGeom>
                <a:avLst/>
                <a:gdLst>
                  <a:gd name="T0" fmla="*/ 7 w 52"/>
                  <a:gd name="T1" fmla="*/ 32 h 32"/>
                  <a:gd name="T2" fmla="*/ 3 w 52"/>
                  <a:gd name="T3" fmla="*/ 31 h 32"/>
                  <a:gd name="T4" fmla="*/ 2 w 52"/>
                  <a:gd name="T5" fmla="*/ 23 h 32"/>
                  <a:gd name="T6" fmla="*/ 46 w 52"/>
                  <a:gd name="T7" fmla="*/ 0 h 32"/>
                  <a:gd name="T8" fmla="*/ 52 w 52"/>
                  <a:gd name="T9" fmla="*/ 6 h 32"/>
                  <a:gd name="T10" fmla="*/ 46 w 52"/>
                  <a:gd name="T11" fmla="*/ 12 h 32"/>
                  <a:gd name="T12" fmla="*/ 12 w 52"/>
                  <a:gd name="T13" fmla="*/ 29 h 32"/>
                  <a:gd name="T14" fmla="*/ 7 w 52"/>
                  <a:gd name="T1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" h="32">
                    <a:moveTo>
                      <a:pt x="7" y="32"/>
                    </a:moveTo>
                    <a:cubicBezTo>
                      <a:pt x="6" y="32"/>
                      <a:pt x="4" y="32"/>
                      <a:pt x="3" y="31"/>
                    </a:cubicBezTo>
                    <a:cubicBezTo>
                      <a:pt x="1" y="29"/>
                      <a:pt x="0" y="26"/>
                      <a:pt x="2" y="23"/>
                    </a:cubicBezTo>
                    <a:cubicBezTo>
                      <a:pt x="2" y="22"/>
                      <a:pt x="17" y="1"/>
                      <a:pt x="46" y="0"/>
                    </a:cubicBezTo>
                    <a:cubicBezTo>
                      <a:pt x="49" y="0"/>
                      <a:pt x="52" y="2"/>
                      <a:pt x="52" y="6"/>
                    </a:cubicBezTo>
                    <a:cubicBezTo>
                      <a:pt x="52" y="9"/>
                      <a:pt x="50" y="12"/>
                      <a:pt x="46" y="12"/>
                    </a:cubicBezTo>
                    <a:cubicBezTo>
                      <a:pt x="23" y="12"/>
                      <a:pt x="12" y="29"/>
                      <a:pt x="12" y="29"/>
                    </a:cubicBezTo>
                    <a:cubicBezTo>
                      <a:pt x="11" y="31"/>
                      <a:pt x="9" y="32"/>
                      <a:pt x="7" y="32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0" name="iṡḷíḓè">
                <a:extLst>
                  <a:ext uri="{FF2B5EF4-FFF2-40B4-BE49-F238E27FC236}">
                    <a16:creationId xmlns:a16="http://schemas.microsoft.com/office/drawing/2014/main" id="{AD4801CF-50D7-4F5C-829C-A03B63D66C47}"/>
                  </a:ext>
                </a:extLst>
              </p:cNvPr>
              <p:cNvSpPr/>
              <p:nvPr/>
            </p:nvSpPr>
            <p:spPr bwMode="auto">
              <a:xfrm>
                <a:off x="7531638" y="1789679"/>
                <a:ext cx="55350" cy="5535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1" name="iṩľíḋé">
                <a:extLst>
                  <a:ext uri="{FF2B5EF4-FFF2-40B4-BE49-F238E27FC236}">
                    <a16:creationId xmlns:a16="http://schemas.microsoft.com/office/drawing/2014/main" id="{451A58FC-EB8D-4605-A492-BBE80CFC0E4B}"/>
                  </a:ext>
                </a:extLst>
              </p:cNvPr>
              <p:cNvSpPr/>
              <p:nvPr/>
            </p:nvSpPr>
            <p:spPr bwMode="auto">
              <a:xfrm>
                <a:off x="7537568" y="1752120"/>
                <a:ext cx="81048" cy="48431"/>
              </a:xfrm>
              <a:custGeom>
                <a:avLst/>
                <a:gdLst>
                  <a:gd name="T0" fmla="*/ 46 w 53"/>
                  <a:gd name="T1" fmla="*/ 32 h 32"/>
                  <a:gd name="T2" fmla="*/ 41 w 53"/>
                  <a:gd name="T3" fmla="*/ 29 h 32"/>
                  <a:gd name="T4" fmla="*/ 6 w 53"/>
                  <a:gd name="T5" fmla="*/ 12 h 32"/>
                  <a:gd name="T6" fmla="*/ 1 w 53"/>
                  <a:gd name="T7" fmla="*/ 6 h 32"/>
                  <a:gd name="T8" fmla="*/ 7 w 53"/>
                  <a:gd name="T9" fmla="*/ 0 h 32"/>
                  <a:gd name="T10" fmla="*/ 51 w 53"/>
                  <a:gd name="T11" fmla="*/ 23 h 32"/>
                  <a:gd name="T12" fmla="*/ 49 w 53"/>
                  <a:gd name="T13" fmla="*/ 31 h 32"/>
                  <a:gd name="T14" fmla="*/ 46 w 53"/>
                  <a:gd name="T1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" h="32">
                    <a:moveTo>
                      <a:pt x="46" y="32"/>
                    </a:moveTo>
                    <a:cubicBezTo>
                      <a:pt x="44" y="32"/>
                      <a:pt x="42" y="31"/>
                      <a:pt x="41" y="29"/>
                    </a:cubicBezTo>
                    <a:cubicBezTo>
                      <a:pt x="40" y="29"/>
                      <a:pt x="29" y="12"/>
                      <a:pt x="6" y="12"/>
                    </a:cubicBezTo>
                    <a:cubicBezTo>
                      <a:pt x="3" y="12"/>
                      <a:pt x="0" y="9"/>
                      <a:pt x="1" y="6"/>
                    </a:cubicBezTo>
                    <a:cubicBezTo>
                      <a:pt x="1" y="2"/>
                      <a:pt x="3" y="0"/>
                      <a:pt x="7" y="0"/>
                    </a:cubicBezTo>
                    <a:cubicBezTo>
                      <a:pt x="36" y="1"/>
                      <a:pt x="50" y="22"/>
                      <a:pt x="51" y="23"/>
                    </a:cubicBezTo>
                    <a:cubicBezTo>
                      <a:pt x="53" y="26"/>
                      <a:pt x="52" y="29"/>
                      <a:pt x="49" y="31"/>
                    </a:cubicBezTo>
                    <a:cubicBezTo>
                      <a:pt x="48" y="32"/>
                      <a:pt x="47" y="32"/>
                      <a:pt x="46" y="32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2" name="íSḻîḋe">
                <a:extLst>
                  <a:ext uri="{FF2B5EF4-FFF2-40B4-BE49-F238E27FC236}">
                    <a16:creationId xmlns:a16="http://schemas.microsoft.com/office/drawing/2014/main" id="{E513316B-70A8-45AF-9841-68F949A682DA}"/>
                  </a:ext>
                </a:extLst>
              </p:cNvPr>
              <p:cNvSpPr/>
              <p:nvPr/>
            </p:nvSpPr>
            <p:spPr bwMode="auto">
              <a:xfrm>
                <a:off x="7408089" y="1882588"/>
                <a:ext cx="118607" cy="41512"/>
              </a:xfrm>
              <a:custGeom>
                <a:avLst/>
                <a:gdLst>
                  <a:gd name="T0" fmla="*/ 70 w 77"/>
                  <a:gd name="T1" fmla="*/ 26 h 27"/>
                  <a:gd name="T2" fmla="*/ 66 w 77"/>
                  <a:gd name="T3" fmla="*/ 24 h 27"/>
                  <a:gd name="T4" fmla="*/ 37 w 77"/>
                  <a:gd name="T5" fmla="*/ 12 h 27"/>
                  <a:gd name="T6" fmla="*/ 11 w 77"/>
                  <a:gd name="T7" fmla="*/ 24 h 27"/>
                  <a:gd name="T8" fmla="*/ 2 w 77"/>
                  <a:gd name="T9" fmla="*/ 24 h 27"/>
                  <a:gd name="T10" fmla="*/ 2 w 77"/>
                  <a:gd name="T11" fmla="*/ 16 h 27"/>
                  <a:gd name="T12" fmla="*/ 37 w 77"/>
                  <a:gd name="T13" fmla="*/ 0 h 27"/>
                  <a:gd name="T14" fmla="*/ 75 w 77"/>
                  <a:gd name="T15" fmla="*/ 16 h 27"/>
                  <a:gd name="T16" fmla="*/ 75 w 77"/>
                  <a:gd name="T17" fmla="*/ 24 h 27"/>
                  <a:gd name="T18" fmla="*/ 70 w 77"/>
                  <a:gd name="T19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27">
                    <a:moveTo>
                      <a:pt x="70" y="26"/>
                    </a:moveTo>
                    <a:cubicBezTo>
                      <a:pt x="69" y="26"/>
                      <a:pt x="67" y="25"/>
                      <a:pt x="66" y="24"/>
                    </a:cubicBezTo>
                    <a:cubicBezTo>
                      <a:pt x="66" y="24"/>
                      <a:pt x="54" y="12"/>
                      <a:pt x="37" y="12"/>
                    </a:cubicBezTo>
                    <a:cubicBezTo>
                      <a:pt x="21" y="12"/>
                      <a:pt x="11" y="24"/>
                      <a:pt x="11" y="24"/>
                    </a:cubicBezTo>
                    <a:cubicBezTo>
                      <a:pt x="9" y="26"/>
                      <a:pt x="5" y="27"/>
                      <a:pt x="2" y="24"/>
                    </a:cubicBezTo>
                    <a:cubicBezTo>
                      <a:pt x="0" y="22"/>
                      <a:pt x="0" y="19"/>
                      <a:pt x="2" y="16"/>
                    </a:cubicBezTo>
                    <a:cubicBezTo>
                      <a:pt x="2" y="15"/>
                      <a:pt x="16" y="0"/>
                      <a:pt x="37" y="0"/>
                    </a:cubicBezTo>
                    <a:cubicBezTo>
                      <a:pt x="59" y="0"/>
                      <a:pt x="74" y="15"/>
                      <a:pt x="75" y="16"/>
                    </a:cubicBezTo>
                    <a:cubicBezTo>
                      <a:pt x="77" y="18"/>
                      <a:pt x="77" y="22"/>
                      <a:pt x="75" y="24"/>
                    </a:cubicBezTo>
                    <a:cubicBezTo>
                      <a:pt x="73" y="25"/>
                      <a:pt x="72" y="26"/>
                      <a:pt x="70" y="2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3" name="ïṡḷïḑê">
                <a:extLst>
                  <a:ext uri="{FF2B5EF4-FFF2-40B4-BE49-F238E27FC236}">
                    <a16:creationId xmlns:a16="http://schemas.microsoft.com/office/drawing/2014/main" id="{0BDEEBA7-5F42-4B22-8CD5-5A658618602C}"/>
                  </a:ext>
                </a:extLst>
              </p:cNvPr>
              <p:cNvSpPr/>
              <p:nvPr/>
            </p:nvSpPr>
            <p:spPr bwMode="auto">
              <a:xfrm>
                <a:off x="7562278" y="1891483"/>
                <a:ext cx="62269" cy="104769"/>
              </a:xfrm>
              <a:custGeom>
                <a:avLst/>
                <a:gdLst>
                  <a:gd name="T0" fmla="*/ 0 w 41"/>
                  <a:gd name="T1" fmla="*/ 47 h 68"/>
                  <a:gd name="T2" fmla="*/ 20 w 41"/>
                  <a:gd name="T3" fmla="*/ 0 h 68"/>
                  <a:gd name="T4" fmla="*/ 41 w 41"/>
                  <a:gd name="T5" fmla="*/ 47 h 68"/>
                  <a:gd name="T6" fmla="*/ 20 w 41"/>
                  <a:gd name="T7" fmla="*/ 68 h 68"/>
                  <a:gd name="T8" fmla="*/ 0 w 41"/>
                  <a:gd name="T9" fmla="*/ 4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68">
                    <a:moveTo>
                      <a:pt x="0" y="47"/>
                    </a:moveTo>
                    <a:cubicBezTo>
                      <a:pt x="0" y="36"/>
                      <a:pt x="20" y="0"/>
                      <a:pt x="20" y="0"/>
                    </a:cubicBezTo>
                    <a:cubicBezTo>
                      <a:pt x="20" y="0"/>
                      <a:pt x="41" y="36"/>
                      <a:pt x="41" y="47"/>
                    </a:cubicBezTo>
                    <a:cubicBezTo>
                      <a:pt x="41" y="58"/>
                      <a:pt x="31" y="68"/>
                      <a:pt x="20" y="68"/>
                    </a:cubicBezTo>
                    <a:cubicBezTo>
                      <a:pt x="9" y="68"/>
                      <a:pt x="0" y="58"/>
                      <a:pt x="0" y="47"/>
                    </a:cubicBezTo>
                    <a:close/>
                  </a:path>
                </a:pathLst>
              </a:custGeom>
              <a:solidFill>
                <a:srgbClr val="5F88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45" name="îśḻiďê">
              <a:extLst>
                <a:ext uri="{FF2B5EF4-FFF2-40B4-BE49-F238E27FC236}">
                  <a16:creationId xmlns:a16="http://schemas.microsoft.com/office/drawing/2014/main" id="{3EAE5D7C-C09A-4D63-87E3-52DC765BBA53}"/>
                </a:ext>
              </a:extLst>
            </p:cNvPr>
            <p:cNvGrpSpPr/>
            <p:nvPr/>
          </p:nvGrpSpPr>
          <p:grpSpPr>
            <a:xfrm>
              <a:off x="7568208" y="2426203"/>
              <a:ext cx="774899" cy="774899"/>
              <a:chOff x="7568208" y="2426203"/>
              <a:chExt cx="774899" cy="774899"/>
            </a:xfrm>
          </p:grpSpPr>
          <p:sp>
            <p:nvSpPr>
              <p:cNvPr id="346" name="iŝľïḓè">
                <a:extLst>
                  <a:ext uri="{FF2B5EF4-FFF2-40B4-BE49-F238E27FC236}">
                    <a16:creationId xmlns:a16="http://schemas.microsoft.com/office/drawing/2014/main" id="{1161E932-631A-47A2-B038-96EE7335F7B7}"/>
                  </a:ext>
                </a:extLst>
              </p:cNvPr>
              <p:cNvSpPr/>
              <p:nvPr/>
            </p:nvSpPr>
            <p:spPr bwMode="auto">
              <a:xfrm>
                <a:off x="7568208" y="2426203"/>
                <a:ext cx="774899" cy="774899"/>
              </a:xfrm>
              <a:custGeom>
                <a:avLst/>
                <a:gdLst>
                  <a:gd name="T0" fmla="*/ 469 w 504"/>
                  <a:gd name="T1" fmla="*/ 189 h 505"/>
                  <a:gd name="T2" fmla="*/ 188 w 504"/>
                  <a:gd name="T3" fmla="*/ 36 h 505"/>
                  <a:gd name="T4" fmla="*/ 35 w 504"/>
                  <a:gd name="T5" fmla="*/ 317 h 505"/>
                  <a:gd name="T6" fmla="*/ 316 w 504"/>
                  <a:gd name="T7" fmla="*/ 470 h 505"/>
                  <a:gd name="T8" fmla="*/ 469 w 504"/>
                  <a:gd name="T9" fmla="*/ 189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4" h="505">
                    <a:moveTo>
                      <a:pt x="469" y="189"/>
                    </a:moveTo>
                    <a:cubicBezTo>
                      <a:pt x="434" y="69"/>
                      <a:pt x="308" y="0"/>
                      <a:pt x="188" y="36"/>
                    </a:cubicBezTo>
                    <a:cubicBezTo>
                      <a:pt x="68" y="71"/>
                      <a:pt x="0" y="197"/>
                      <a:pt x="35" y="317"/>
                    </a:cubicBezTo>
                    <a:cubicBezTo>
                      <a:pt x="71" y="437"/>
                      <a:pt x="196" y="505"/>
                      <a:pt x="316" y="470"/>
                    </a:cubicBezTo>
                    <a:cubicBezTo>
                      <a:pt x="436" y="434"/>
                      <a:pt x="504" y="308"/>
                      <a:pt x="469" y="189"/>
                    </a:cubicBez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7" name="îṩlïḍé">
                <a:extLst>
                  <a:ext uri="{FF2B5EF4-FFF2-40B4-BE49-F238E27FC236}">
                    <a16:creationId xmlns:a16="http://schemas.microsoft.com/office/drawing/2014/main" id="{9EB51EFE-E678-4017-B739-9B3E2D003041}"/>
                  </a:ext>
                </a:extLst>
              </p:cNvPr>
              <p:cNvSpPr/>
              <p:nvPr/>
            </p:nvSpPr>
            <p:spPr bwMode="auto">
              <a:xfrm>
                <a:off x="7573150" y="2875920"/>
                <a:ext cx="166050" cy="164073"/>
              </a:xfrm>
              <a:custGeom>
                <a:avLst/>
                <a:gdLst>
                  <a:gd name="T0" fmla="*/ 168 w 168"/>
                  <a:gd name="T1" fmla="*/ 43 h 166"/>
                  <a:gd name="T2" fmla="*/ 45 w 168"/>
                  <a:gd name="T3" fmla="*/ 0 h 166"/>
                  <a:gd name="T4" fmla="*/ 0 w 168"/>
                  <a:gd name="T5" fmla="*/ 122 h 166"/>
                  <a:gd name="T6" fmla="*/ 123 w 168"/>
                  <a:gd name="T7" fmla="*/ 166 h 166"/>
                  <a:gd name="T8" fmla="*/ 168 w 168"/>
                  <a:gd name="T9" fmla="*/ 43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66">
                    <a:moveTo>
                      <a:pt x="168" y="43"/>
                    </a:moveTo>
                    <a:lnTo>
                      <a:pt x="45" y="0"/>
                    </a:lnTo>
                    <a:lnTo>
                      <a:pt x="0" y="122"/>
                    </a:lnTo>
                    <a:lnTo>
                      <a:pt x="123" y="166"/>
                    </a:lnTo>
                    <a:lnTo>
                      <a:pt x="168" y="43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8" name="iśļíďê">
                <a:extLst>
                  <a:ext uri="{FF2B5EF4-FFF2-40B4-BE49-F238E27FC236}">
                    <a16:creationId xmlns:a16="http://schemas.microsoft.com/office/drawing/2014/main" id="{663A6F02-7BE9-4ABF-8C79-28FDA147E8B0}"/>
                  </a:ext>
                </a:extLst>
              </p:cNvPr>
              <p:cNvSpPr/>
              <p:nvPr/>
            </p:nvSpPr>
            <p:spPr bwMode="auto">
              <a:xfrm>
                <a:off x="7610709" y="2470680"/>
                <a:ext cx="688909" cy="686932"/>
              </a:xfrm>
              <a:custGeom>
                <a:avLst/>
                <a:gdLst>
                  <a:gd name="T0" fmla="*/ 417 w 448"/>
                  <a:gd name="T1" fmla="*/ 167 h 448"/>
                  <a:gd name="T2" fmla="*/ 167 w 448"/>
                  <a:gd name="T3" fmla="*/ 31 h 448"/>
                  <a:gd name="T4" fmla="*/ 31 w 448"/>
                  <a:gd name="T5" fmla="*/ 281 h 448"/>
                  <a:gd name="T6" fmla="*/ 281 w 448"/>
                  <a:gd name="T7" fmla="*/ 416 h 448"/>
                  <a:gd name="T8" fmla="*/ 417 w 448"/>
                  <a:gd name="T9" fmla="*/ 167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8" h="448">
                    <a:moveTo>
                      <a:pt x="417" y="167"/>
                    </a:moveTo>
                    <a:cubicBezTo>
                      <a:pt x="385" y="60"/>
                      <a:pt x="273" y="0"/>
                      <a:pt x="167" y="31"/>
                    </a:cubicBezTo>
                    <a:cubicBezTo>
                      <a:pt x="61" y="63"/>
                      <a:pt x="0" y="174"/>
                      <a:pt x="31" y="281"/>
                    </a:cubicBezTo>
                    <a:cubicBezTo>
                      <a:pt x="63" y="387"/>
                      <a:pt x="175" y="448"/>
                      <a:pt x="281" y="416"/>
                    </a:cubicBezTo>
                    <a:cubicBezTo>
                      <a:pt x="387" y="385"/>
                      <a:pt x="448" y="273"/>
                      <a:pt x="417" y="16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9" name="íṧḻîḍè">
                <a:extLst>
                  <a:ext uri="{FF2B5EF4-FFF2-40B4-BE49-F238E27FC236}">
                    <a16:creationId xmlns:a16="http://schemas.microsoft.com/office/drawing/2014/main" id="{9CC08D7D-FE82-4E42-8E5C-B876B48043CE}"/>
                  </a:ext>
                </a:extLst>
              </p:cNvPr>
              <p:cNvSpPr/>
              <p:nvPr/>
            </p:nvSpPr>
            <p:spPr bwMode="auto">
              <a:xfrm>
                <a:off x="7839028" y="2860106"/>
                <a:ext cx="50408" cy="4942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0" name="iş1ïḋe">
                <a:extLst>
                  <a:ext uri="{FF2B5EF4-FFF2-40B4-BE49-F238E27FC236}">
                    <a16:creationId xmlns:a16="http://schemas.microsoft.com/office/drawing/2014/main" id="{8D39D285-BFBC-4D97-8566-06EE701A2C82}"/>
                  </a:ext>
                </a:extLst>
              </p:cNvPr>
              <p:cNvSpPr/>
              <p:nvPr/>
            </p:nvSpPr>
            <p:spPr bwMode="auto">
              <a:xfrm>
                <a:off x="7791585" y="2829466"/>
                <a:ext cx="141340" cy="44478"/>
              </a:xfrm>
              <a:custGeom>
                <a:avLst/>
                <a:gdLst>
                  <a:gd name="T0" fmla="*/ 87 w 92"/>
                  <a:gd name="T1" fmla="*/ 29 h 29"/>
                  <a:gd name="T2" fmla="*/ 51 w 92"/>
                  <a:gd name="T3" fmla="*/ 29 h 29"/>
                  <a:gd name="T4" fmla="*/ 3 w 92"/>
                  <a:gd name="T5" fmla="*/ 10 h 29"/>
                  <a:gd name="T6" fmla="*/ 1 w 92"/>
                  <a:gd name="T7" fmla="*/ 3 h 29"/>
                  <a:gd name="T8" fmla="*/ 9 w 92"/>
                  <a:gd name="T9" fmla="*/ 2 h 29"/>
                  <a:gd name="T10" fmla="*/ 51 w 92"/>
                  <a:gd name="T11" fmla="*/ 19 h 29"/>
                  <a:gd name="T12" fmla="*/ 87 w 92"/>
                  <a:gd name="T13" fmla="*/ 19 h 29"/>
                  <a:gd name="T14" fmla="*/ 92 w 92"/>
                  <a:gd name="T15" fmla="*/ 24 h 29"/>
                  <a:gd name="T16" fmla="*/ 87 w 92"/>
                  <a:gd name="T1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29">
                    <a:moveTo>
                      <a:pt x="87" y="29"/>
                    </a:moveTo>
                    <a:cubicBezTo>
                      <a:pt x="51" y="29"/>
                      <a:pt x="51" y="29"/>
                      <a:pt x="51" y="29"/>
                    </a:cubicBezTo>
                    <a:cubicBezTo>
                      <a:pt x="32" y="29"/>
                      <a:pt x="4" y="11"/>
                      <a:pt x="3" y="10"/>
                    </a:cubicBezTo>
                    <a:cubicBezTo>
                      <a:pt x="1" y="9"/>
                      <a:pt x="0" y="6"/>
                      <a:pt x="1" y="3"/>
                    </a:cubicBezTo>
                    <a:cubicBezTo>
                      <a:pt x="3" y="1"/>
                      <a:pt x="6" y="0"/>
                      <a:pt x="9" y="2"/>
                    </a:cubicBezTo>
                    <a:cubicBezTo>
                      <a:pt x="16" y="6"/>
                      <a:pt x="38" y="19"/>
                      <a:pt x="51" y="19"/>
                    </a:cubicBezTo>
                    <a:cubicBezTo>
                      <a:pt x="87" y="19"/>
                      <a:pt x="87" y="19"/>
                      <a:pt x="87" y="19"/>
                    </a:cubicBezTo>
                    <a:cubicBezTo>
                      <a:pt x="90" y="19"/>
                      <a:pt x="92" y="21"/>
                      <a:pt x="92" y="24"/>
                    </a:cubicBezTo>
                    <a:cubicBezTo>
                      <a:pt x="92" y="27"/>
                      <a:pt x="90" y="29"/>
                      <a:pt x="87" y="29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1" name="iśḻïḍê">
                <a:extLst>
                  <a:ext uri="{FF2B5EF4-FFF2-40B4-BE49-F238E27FC236}">
                    <a16:creationId xmlns:a16="http://schemas.microsoft.com/office/drawing/2014/main" id="{C3315A8A-1DB7-4C8E-ADFF-91845A22B623}"/>
                  </a:ext>
                </a:extLst>
              </p:cNvPr>
              <p:cNvSpPr/>
              <p:nvPr/>
            </p:nvSpPr>
            <p:spPr bwMode="auto">
              <a:xfrm>
                <a:off x="8022868" y="2860106"/>
                <a:ext cx="51396" cy="4942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2" name="ïsḷïďé">
                <a:extLst>
                  <a:ext uri="{FF2B5EF4-FFF2-40B4-BE49-F238E27FC236}">
                    <a16:creationId xmlns:a16="http://schemas.microsoft.com/office/drawing/2014/main" id="{0B05BF4C-3D0C-483E-9251-7799B97E99A3}"/>
                  </a:ext>
                </a:extLst>
              </p:cNvPr>
              <p:cNvSpPr/>
              <p:nvPr/>
            </p:nvSpPr>
            <p:spPr bwMode="auto">
              <a:xfrm>
                <a:off x="7980367" y="2829466"/>
                <a:ext cx="141340" cy="44478"/>
              </a:xfrm>
              <a:custGeom>
                <a:avLst/>
                <a:gdLst>
                  <a:gd name="T0" fmla="*/ 5 w 92"/>
                  <a:gd name="T1" fmla="*/ 29 h 29"/>
                  <a:gd name="T2" fmla="*/ 41 w 92"/>
                  <a:gd name="T3" fmla="*/ 29 h 29"/>
                  <a:gd name="T4" fmla="*/ 89 w 92"/>
                  <a:gd name="T5" fmla="*/ 10 h 29"/>
                  <a:gd name="T6" fmla="*/ 91 w 92"/>
                  <a:gd name="T7" fmla="*/ 3 h 29"/>
                  <a:gd name="T8" fmla="*/ 83 w 92"/>
                  <a:gd name="T9" fmla="*/ 2 h 29"/>
                  <a:gd name="T10" fmla="*/ 41 w 92"/>
                  <a:gd name="T11" fmla="*/ 19 h 29"/>
                  <a:gd name="T12" fmla="*/ 5 w 92"/>
                  <a:gd name="T13" fmla="*/ 19 h 29"/>
                  <a:gd name="T14" fmla="*/ 0 w 92"/>
                  <a:gd name="T15" fmla="*/ 24 h 29"/>
                  <a:gd name="T16" fmla="*/ 5 w 92"/>
                  <a:gd name="T1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29">
                    <a:moveTo>
                      <a:pt x="5" y="29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60" y="29"/>
                      <a:pt x="88" y="11"/>
                      <a:pt x="89" y="10"/>
                    </a:cubicBezTo>
                    <a:cubicBezTo>
                      <a:pt x="92" y="9"/>
                      <a:pt x="92" y="6"/>
                      <a:pt x="91" y="3"/>
                    </a:cubicBezTo>
                    <a:cubicBezTo>
                      <a:pt x="89" y="1"/>
                      <a:pt x="86" y="0"/>
                      <a:pt x="83" y="2"/>
                    </a:cubicBezTo>
                    <a:cubicBezTo>
                      <a:pt x="76" y="6"/>
                      <a:pt x="54" y="19"/>
                      <a:pt x="41" y="1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2" y="19"/>
                      <a:pt x="0" y="21"/>
                      <a:pt x="0" y="24"/>
                    </a:cubicBezTo>
                    <a:cubicBezTo>
                      <a:pt x="0" y="27"/>
                      <a:pt x="2" y="29"/>
                      <a:pt x="5" y="29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3" name="íṩļiḑê">
                <a:extLst>
                  <a:ext uri="{FF2B5EF4-FFF2-40B4-BE49-F238E27FC236}">
                    <a16:creationId xmlns:a16="http://schemas.microsoft.com/office/drawing/2014/main" id="{6B358FD4-20ED-490F-91CA-854416768F9F}"/>
                  </a:ext>
                </a:extLst>
              </p:cNvPr>
              <p:cNvSpPr/>
              <p:nvPr/>
            </p:nvSpPr>
            <p:spPr bwMode="auto">
              <a:xfrm>
                <a:off x="7884494" y="2931270"/>
                <a:ext cx="142328" cy="28663"/>
              </a:xfrm>
              <a:custGeom>
                <a:avLst/>
                <a:gdLst>
                  <a:gd name="T0" fmla="*/ 85 w 92"/>
                  <a:gd name="T1" fmla="*/ 19 h 19"/>
                  <a:gd name="T2" fmla="*/ 84 w 92"/>
                  <a:gd name="T3" fmla="*/ 19 h 19"/>
                  <a:gd name="T4" fmla="*/ 8 w 92"/>
                  <a:gd name="T5" fmla="*/ 19 h 19"/>
                  <a:gd name="T6" fmla="*/ 0 w 92"/>
                  <a:gd name="T7" fmla="*/ 13 h 19"/>
                  <a:gd name="T8" fmla="*/ 6 w 92"/>
                  <a:gd name="T9" fmla="*/ 6 h 19"/>
                  <a:gd name="T10" fmla="*/ 86 w 92"/>
                  <a:gd name="T11" fmla="*/ 6 h 19"/>
                  <a:gd name="T12" fmla="*/ 92 w 92"/>
                  <a:gd name="T13" fmla="*/ 13 h 19"/>
                  <a:gd name="T14" fmla="*/ 85 w 92"/>
                  <a:gd name="T1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" h="19">
                    <a:moveTo>
                      <a:pt x="85" y="19"/>
                    </a:moveTo>
                    <a:cubicBezTo>
                      <a:pt x="85" y="19"/>
                      <a:pt x="85" y="19"/>
                      <a:pt x="84" y="19"/>
                    </a:cubicBezTo>
                    <a:cubicBezTo>
                      <a:pt x="51" y="14"/>
                      <a:pt x="8" y="19"/>
                      <a:pt x="8" y="19"/>
                    </a:cubicBezTo>
                    <a:cubicBezTo>
                      <a:pt x="4" y="19"/>
                      <a:pt x="1" y="17"/>
                      <a:pt x="0" y="13"/>
                    </a:cubicBezTo>
                    <a:cubicBezTo>
                      <a:pt x="0" y="10"/>
                      <a:pt x="2" y="6"/>
                      <a:pt x="6" y="6"/>
                    </a:cubicBezTo>
                    <a:cubicBezTo>
                      <a:pt x="8" y="6"/>
                      <a:pt x="51" y="0"/>
                      <a:pt x="86" y="6"/>
                    </a:cubicBezTo>
                    <a:cubicBezTo>
                      <a:pt x="90" y="6"/>
                      <a:pt x="92" y="10"/>
                      <a:pt x="92" y="13"/>
                    </a:cubicBezTo>
                    <a:cubicBezTo>
                      <a:pt x="91" y="17"/>
                      <a:pt x="88" y="19"/>
                      <a:pt x="85" y="19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grpSp>
        <p:nvGrpSpPr>
          <p:cNvPr id="409" name="Group 408">
            <a:extLst>
              <a:ext uri="{FF2B5EF4-FFF2-40B4-BE49-F238E27FC236}">
                <a16:creationId xmlns:a16="http://schemas.microsoft.com/office/drawing/2014/main" id="{C82ACA0B-A1A9-46D6-B792-6EC5270AEC73}"/>
              </a:ext>
            </a:extLst>
          </p:cNvPr>
          <p:cNvGrpSpPr/>
          <p:nvPr/>
        </p:nvGrpSpPr>
        <p:grpSpPr>
          <a:xfrm>
            <a:off x="2116052" y="9421512"/>
            <a:ext cx="1004079" cy="4169691"/>
            <a:chOff x="6197891" y="964046"/>
            <a:chExt cx="1211106" cy="5029426"/>
          </a:xfrm>
        </p:grpSpPr>
        <p:pic>
          <p:nvPicPr>
            <p:cNvPr id="410" name="圖片 6">
              <a:extLst>
                <a:ext uri="{FF2B5EF4-FFF2-40B4-BE49-F238E27FC236}">
                  <a16:creationId xmlns:a16="http://schemas.microsoft.com/office/drawing/2014/main" id="{75E65D66-A4DE-4EF8-BFF6-D418A849EA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05"/>
            <a:stretch/>
          </p:blipFill>
          <p:spPr>
            <a:xfrm>
              <a:off x="6197891" y="1859688"/>
              <a:ext cx="1211106" cy="4133784"/>
            </a:xfrm>
            <a:prstGeom prst="rect">
              <a:avLst/>
            </a:prstGeom>
          </p:spPr>
        </p:pic>
        <p:pic>
          <p:nvPicPr>
            <p:cNvPr id="411" name="Picture 410">
              <a:extLst>
                <a:ext uri="{FF2B5EF4-FFF2-40B4-BE49-F238E27FC236}">
                  <a16:creationId xmlns:a16="http://schemas.microsoft.com/office/drawing/2014/main" id="{25D22970-C41A-48D7-9FFE-53337EA9F29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76698" y="964046"/>
              <a:ext cx="853492" cy="843719"/>
            </a:xfrm>
            <a:prstGeom prst="rect">
              <a:avLst/>
            </a:prstGeom>
          </p:spPr>
        </p:pic>
      </p:grp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635845E5-2950-4D76-B469-133EE2CCAF7D}"/>
              </a:ext>
            </a:extLst>
          </p:cNvPr>
          <p:cNvGrpSpPr/>
          <p:nvPr/>
        </p:nvGrpSpPr>
        <p:grpSpPr>
          <a:xfrm>
            <a:off x="965124" y="7215340"/>
            <a:ext cx="955785" cy="4169691"/>
            <a:chOff x="4941490" y="964046"/>
            <a:chExt cx="1152855" cy="5029426"/>
          </a:xfrm>
        </p:grpSpPr>
        <p:pic>
          <p:nvPicPr>
            <p:cNvPr id="413" name="圖片 4">
              <a:extLst>
                <a:ext uri="{FF2B5EF4-FFF2-40B4-BE49-F238E27FC236}">
                  <a16:creationId xmlns:a16="http://schemas.microsoft.com/office/drawing/2014/main" id="{50A33DDB-EBB8-4839-B331-0E10E2E4E2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05"/>
            <a:stretch/>
          </p:blipFill>
          <p:spPr>
            <a:xfrm>
              <a:off x="4941490" y="1859688"/>
              <a:ext cx="1152855" cy="4133784"/>
            </a:xfrm>
            <a:prstGeom prst="rect">
              <a:avLst/>
            </a:prstGeom>
          </p:spPr>
        </p:pic>
        <p:pic>
          <p:nvPicPr>
            <p:cNvPr id="414" name="Picture 413">
              <a:extLst>
                <a:ext uri="{FF2B5EF4-FFF2-40B4-BE49-F238E27FC236}">
                  <a16:creationId xmlns:a16="http://schemas.microsoft.com/office/drawing/2014/main" id="{61723734-9FF3-48AB-AE29-9BA554A3B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91171" y="964046"/>
              <a:ext cx="853492" cy="843719"/>
            </a:xfrm>
            <a:prstGeom prst="rect">
              <a:avLst/>
            </a:prstGeom>
          </p:spPr>
        </p:pic>
      </p:grpSp>
      <p:grpSp>
        <p:nvGrpSpPr>
          <p:cNvPr id="415" name="Group 414">
            <a:extLst>
              <a:ext uri="{FF2B5EF4-FFF2-40B4-BE49-F238E27FC236}">
                <a16:creationId xmlns:a16="http://schemas.microsoft.com/office/drawing/2014/main" id="{F7ACB79D-E6A7-4922-A106-F82D06D8A89E}"/>
              </a:ext>
            </a:extLst>
          </p:cNvPr>
          <p:cNvGrpSpPr/>
          <p:nvPr/>
        </p:nvGrpSpPr>
        <p:grpSpPr>
          <a:xfrm>
            <a:off x="3312163" y="11758312"/>
            <a:ext cx="1080904" cy="4169691"/>
            <a:chOff x="7585474" y="964046"/>
            <a:chExt cx="1303772" cy="5029426"/>
          </a:xfrm>
        </p:grpSpPr>
        <p:pic>
          <p:nvPicPr>
            <p:cNvPr id="416" name="圖片 8">
              <a:extLst>
                <a:ext uri="{FF2B5EF4-FFF2-40B4-BE49-F238E27FC236}">
                  <a16:creationId xmlns:a16="http://schemas.microsoft.com/office/drawing/2014/main" id="{AD2BE2D7-17B6-4BB4-935C-5CA9394C7E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05"/>
            <a:stretch/>
          </p:blipFill>
          <p:spPr>
            <a:xfrm>
              <a:off x="7585474" y="1859688"/>
              <a:ext cx="1303772" cy="4133784"/>
            </a:xfrm>
            <a:prstGeom prst="rect">
              <a:avLst/>
            </a:prstGeom>
          </p:spPr>
        </p:pic>
        <p:pic>
          <p:nvPicPr>
            <p:cNvPr id="417" name="Picture 416">
              <a:extLst>
                <a:ext uri="{FF2B5EF4-FFF2-40B4-BE49-F238E27FC236}">
                  <a16:creationId xmlns:a16="http://schemas.microsoft.com/office/drawing/2014/main" id="{08FFC43D-4317-4127-9658-08B01B100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802420" y="964046"/>
              <a:ext cx="869881" cy="843719"/>
            </a:xfrm>
            <a:prstGeom prst="rect">
              <a:avLst/>
            </a:prstGeom>
          </p:spPr>
        </p:pic>
      </p:grpSp>
      <p:grpSp>
        <p:nvGrpSpPr>
          <p:cNvPr id="418" name="Group 417">
            <a:extLst>
              <a:ext uri="{FF2B5EF4-FFF2-40B4-BE49-F238E27FC236}">
                <a16:creationId xmlns:a16="http://schemas.microsoft.com/office/drawing/2014/main" id="{86EADFC2-650B-4854-9830-EAFC2ED5F931}"/>
              </a:ext>
            </a:extLst>
          </p:cNvPr>
          <p:cNvGrpSpPr/>
          <p:nvPr/>
        </p:nvGrpSpPr>
        <p:grpSpPr>
          <a:xfrm>
            <a:off x="5016747" y="-2522505"/>
            <a:ext cx="3477756" cy="2189471"/>
            <a:chOff x="5016747" y="1367187"/>
            <a:chExt cx="3477756" cy="2189471"/>
          </a:xfrm>
        </p:grpSpPr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D5FA4675-EA8E-4427-898C-803748A8C519}"/>
                </a:ext>
              </a:extLst>
            </p:cNvPr>
            <p:cNvGrpSpPr/>
            <p:nvPr/>
          </p:nvGrpSpPr>
          <p:grpSpPr>
            <a:xfrm>
              <a:off x="5016747" y="1401690"/>
              <a:ext cx="3477756" cy="2154968"/>
              <a:chOff x="5016747" y="1401690"/>
              <a:chExt cx="3477756" cy="2154968"/>
            </a:xfrm>
          </p:grpSpPr>
          <p:sp>
            <p:nvSpPr>
              <p:cNvPr id="423" name="Rectangle: Rounded Corners 422">
                <a:extLst>
                  <a:ext uri="{FF2B5EF4-FFF2-40B4-BE49-F238E27FC236}">
                    <a16:creationId xmlns:a16="http://schemas.microsoft.com/office/drawing/2014/main" id="{2A528CBB-20A1-4910-BF80-418317632CA0}"/>
                  </a:ext>
                </a:extLst>
              </p:cNvPr>
              <p:cNvSpPr/>
              <p:nvPr/>
            </p:nvSpPr>
            <p:spPr>
              <a:xfrm>
                <a:off x="5016747" y="1628774"/>
                <a:ext cx="3477756" cy="1927884"/>
              </a:xfrm>
              <a:prstGeom prst="roundRect">
                <a:avLst>
                  <a:gd name="adj" fmla="val 9256"/>
                </a:avLst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4" name="Rectangle 423">
                <a:extLst>
                  <a:ext uri="{FF2B5EF4-FFF2-40B4-BE49-F238E27FC236}">
                    <a16:creationId xmlns:a16="http://schemas.microsoft.com/office/drawing/2014/main" id="{A4EBAF0E-4E3B-4F3A-8055-046CC7B1B150}"/>
                  </a:ext>
                </a:extLst>
              </p:cNvPr>
              <p:cNvSpPr/>
              <p:nvPr/>
            </p:nvSpPr>
            <p:spPr>
              <a:xfrm>
                <a:off x="5133976" y="1401690"/>
                <a:ext cx="2847974" cy="35925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0" name="Group 419">
              <a:extLst>
                <a:ext uri="{FF2B5EF4-FFF2-40B4-BE49-F238E27FC236}">
                  <a16:creationId xmlns:a16="http://schemas.microsoft.com/office/drawing/2014/main" id="{BF75AE7A-9EE4-4E66-8D1C-883AB0408D1C}"/>
                </a:ext>
              </a:extLst>
            </p:cNvPr>
            <p:cNvGrpSpPr/>
            <p:nvPr/>
          </p:nvGrpSpPr>
          <p:grpSpPr>
            <a:xfrm>
              <a:off x="5257990" y="1367187"/>
              <a:ext cx="3127094" cy="2081059"/>
              <a:chOff x="5334772" y="1280468"/>
              <a:chExt cx="3127094" cy="2081059"/>
            </a:xfrm>
          </p:grpSpPr>
          <p:sp>
            <p:nvSpPr>
              <p:cNvPr id="421" name="矩形 15">
                <a:extLst>
                  <a:ext uri="{FF2B5EF4-FFF2-40B4-BE49-F238E27FC236}">
                    <a16:creationId xmlns:a16="http://schemas.microsoft.com/office/drawing/2014/main" id="{4CDAA420-A2A8-437A-B2BD-08B29C9460A9}"/>
                  </a:ext>
                </a:extLst>
              </p:cNvPr>
              <p:cNvSpPr/>
              <p:nvPr/>
            </p:nvSpPr>
            <p:spPr>
              <a:xfrm>
                <a:off x="5334772" y="1280468"/>
                <a:ext cx="2685543" cy="461665"/>
              </a:xfrm>
              <a:prstGeom prst="rect">
                <a:avLst/>
              </a:prstGeom>
            </p:spPr>
            <p:txBody>
              <a:bodyPr wrap="square" lIns="0" tIns="45720" rIns="91440" bIns="45720">
                <a:spAutoFit/>
              </a:bodyPr>
              <a:lstStyle/>
              <a:p>
                <a:r>
                  <a:rPr lang="en-US" altLang="zh-TW" sz="2400" dirty="0">
                    <a:solidFill>
                      <a:schemeClr val="bg2">
                        <a:lumMod val="25000"/>
                      </a:schemeClr>
                    </a:solidFill>
                    <a:latin typeface="Tw Cen MT" panose="020B0602020104020603" pitchFamily="34" charset="0"/>
                  </a:rPr>
                  <a:t>Remain for main text:</a:t>
                </a:r>
              </a:p>
            </p:txBody>
          </p:sp>
          <p:pic>
            <p:nvPicPr>
              <p:cNvPr id="422" name="Picture 421">
                <a:extLst>
                  <a:ext uri="{FF2B5EF4-FFF2-40B4-BE49-F238E27FC236}">
                    <a16:creationId xmlns:a16="http://schemas.microsoft.com/office/drawing/2014/main" id="{EFE108CC-4A0B-449C-AEE5-CC59D506F3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334772" y="1764870"/>
                <a:ext cx="3127094" cy="1596657"/>
              </a:xfrm>
              <a:prstGeom prst="rect">
                <a:avLst/>
              </a:prstGeom>
            </p:spPr>
          </p:pic>
        </p:grpSp>
      </p:grp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572CDAA4-0843-400D-8B17-A2B59A090566}"/>
              </a:ext>
            </a:extLst>
          </p:cNvPr>
          <p:cNvGrpSpPr/>
          <p:nvPr/>
        </p:nvGrpSpPr>
        <p:grpSpPr>
          <a:xfrm>
            <a:off x="5016747" y="7153442"/>
            <a:ext cx="3477756" cy="2481775"/>
            <a:chOff x="5016747" y="3655499"/>
            <a:chExt cx="3477756" cy="2481775"/>
          </a:xfrm>
        </p:grpSpPr>
        <p:grpSp>
          <p:nvGrpSpPr>
            <p:cNvPr id="426" name="Group 425">
              <a:extLst>
                <a:ext uri="{FF2B5EF4-FFF2-40B4-BE49-F238E27FC236}">
                  <a16:creationId xmlns:a16="http://schemas.microsoft.com/office/drawing/2014/main" id="{573F0FCC-7ED8-4670-BB85-9E1E8600A670}"/>
                </a:ext>
              </a:extLst>
            </p:cNvPr>
            <p:cNvGrpSpPr/>
            <p:nvPr/>
          </p:nvGrpSpPr>
          <p:grpSpPr>
            <a:xfrm>
              <a:off x="5016747" y="3688604"/>
              <a:ext cx="3477756" cy="2448670"/>
              <a:chOff x="5016747" y="3688604"/>
              <a:chExt cx="3477756" cy="2448670"/>
            </a:xfrm>
          </p:grpSpPr>
          <p:sp>
            <p:nvSpPr>
              <p:cNvPr id="430" name="Rectangle: Rounded Corners 429">
                <a:extLst>
                  <a:ext uri="{FF2B5EF4-FFF2-40B4-BE49-F238E27FC236}">
                    <a16:creationId xmlns:a16="http://schemas.microsoft.com/office/drawing/2014/main" id="{92DA1235-1461-47AF-9086-F071D0832E1F}"/>
                  </a:ext>
                </a:extLst>
              </p:cNvPr>
              <p:cNvSpPr/>
              <p:nvPr/>
            </p:nvSpPr>
            <p:spPr>
              <a:xfrm>
                <a:off x="5016747" y="3922921"/>
                <a:ext cx="3477756" cy="2214353"/>
              </a:xfrm>
              <a:prstGeom prst="roundRect">
                <a:avLst>
                  <a:gd name="adj" fmla="val 8471"/>
                </a:avLst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1" name="Rectangle 430">
                <a:extLst>
                  <a:ext uri="{FF2B5EF4-FFF2-40B4-BE49-F238E27FC236}">
                    <a16:creationId xmlns:a16="http://schemas.microsoft.com/office/drawing/2014/main" id="{1F930CD8-906D-4D89-B616-375506407155}"/>
                  </a:ext>
                </a:extLst>
              </p:cNvPr>
              <p:cNvSpPr/>
              <p:nvPr/>
            </p:nvSpPr>
            <p:spPr>
              <a:xfrm>
                <a:off x="5133976" y="3688604"/>
                <a:ext cx="2371724" cy="35925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7" name="Group 426">
              <a:extLst>
                <a:ext uri="{FF2B5EF4-FFF2-40B4-BE49-F238E27FC236}">
                  <a16:creationId xmlns:a16="http://schemas.microsoft.com/office/drawing/2014/main" id="{7BD0FBE9-D0B1-4264-8305-17E29B58FF59}"/>
                </a:ext>
              </a:extLst>
            </p:cNvPr>
            <p:cNvGrpSpPr/>
            <p:nvPr/>
          </p:nvGrpSpPr>
          <p:grpSpPr>
            <a:xfrm>
              <a:off x="5257990" y="3655499"/>
              <a:ext cx="3127094" cy="2407477"/>
              <a:chOff x="5334774" y="3686104"/>
              <a:chExt cx="3127094" cy="2407477"/>
            </a:xfrm>
          </p:grpSpPr>
          <p:sp>
            <p:nvSpPr>
              <p:cNvPr id="428" name="矩形 37">
                <a:extLst>
                  <a:ext uri="{FF2B5EF4-FFF2-40B4-BE49-F238E27FC236}">
                    <a16:creationId xmlns:a16="http://schemas.microsoft.com/office/drawing/2014/main" id="{2573A509-1A57-48B3-81F0-247C75DB248F}"/>
                  </a:ext>
                </a:extLst>
              </p:cNvPr>
              <p:cNvSpPr/>
              <p:nvPr/>
            </p:nvSpPr>
            <p:spPr>
              <a:xfrm>
                <a:off x="5334774" y="3686104"/>
                <a:ext cx="2205797" cy="461665"/>
              </a:xfrm>
              <a:prstGeom prst="rect">
                <a:avLst/>
              </a:prstGeom>
            </p:spPr>
            <p:txBody>
              <a:bodyPr wrap="none" lIns="0" tIns="45720" rIns="91440" bIns="45720">
                <a:spAutoFit/>
              </a:bodyPr>
              <a:lstStyle/>
              <a:p>
                <a:r>
                  <a:rPr lang="en-US" altLang="zh-TW" sz="2400" dirty="0">
                    <a:solidFill>
                      <a:schemeClr val="bg2">
                        <a:lumMod val="25000"/>
                      </a:schemeClr>
                    </a:solidFill>
                    <a:latin typeface="Tw Cen MT" panose="020B0602020104020603" pitchFamily="34" charset="0"/>
                  </a:rPr>
                  <a:t>Remain for reply:</a:t>
                </a:r>
              </a:p>
            </p:txBody>
          </p:sp>
          <p:pic>
            <p:nvPicPr>
              <p:cNvPr id="429" name="Picture 428">
                <a:extLst>
                  <a:ext uri="{FF2B5EF4-FFF2-40B4-BE49-F238E27FC236}">
                    <a16:creationId xmlns:a16="http://schemas.microsoft.com/office/drawing/2014/main" id="{627152CB-3306-4659-B883-A9393FCD4F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334774" y="4160468"/>
                <a:ext cx="3127094" cy="1933113"/>
              </a:xfrm>
              <a:prstGeom prst="rect">
                <a:avLst/>
              </a:prstGeom>
            </p:spPr>
          </p:pic>
        </p:grpSp>
      </p:grpSp>
      <p:sp>
        <p:nvSpPr>
          <p:cNvPr id="432" name="Rectangle 431">
            <a:extLst>
              <a:ext uri="{FF2B5EF4-FFF2-40B4-BE49-F238E27FC236}">
                <a16:creationId xmlns:a16="http://schemas.microsoft.com/office/drawing/2014/main" id="{BFB7666F-4FD6-4E22-A1CD-E6596F0BB273}"/>
              </a:ext>
            </a:extLst>
          </p:cNvPr>
          <p:cNvSpPr/>
          <p:nvPr/>
        </p:nvSpPr>
        <p:spPr>
          <a:xfrm>
            <a:off x="4591268" y="630180"/>
            <a:ext cx="69007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We’re Team Delta! We love NLP </a:t>
            </a:r>
            <a:r>
              <a:rPr lang="en-US" altLang="zh-TW" dirty="0" err="1">
                <a:solidFill>
                  <a:schemeClr val="accent5"/>
                </a:solidFill>
                <a:latin typeface="Tw Cen MT" panose="020B0602020104020603" pitchFamily="34" charset="0"/>
              </a:rPr>
              <a:t>sooooo</a:t>
            </a:r>
            <a:r>
              <a:rPr lang="en-US" altLang="zh-TW" dirty="0">
                <a:solidFill>
                  <a:schemeClr val="accent5"/>
                </a:solidFill>
                <a:latin typeface="Tw Cen MT" panose="020B0602020104020603" pitchFamily="34" charset="0"/>
              </a:rPr>
              <a:t> much </a:t>
            </a:r>
            <a:r>
              <a:rPr lang="zh-TW" altLang="zh-TW" sz="1600" dirty="0">
                <a:solidFill>
                  <a:schemeClr val="accent5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❤😂</a:t>
            </a:r>
            <a:r>
              <a:rPr lang="zh-TW" altLang="zh-TW" sz="1600" dirty="0">
                <a:solidFill>
                  <a:schemeClr val="accent5"/>
                </a:solidFill>
              </a:rPr>
              <a:t> </a:t>
            </a:r>
            <a:r>
              <a:rPr lang="en-US" altLang="zh-TW" dirty="0">
                <a:solidFill>
                  <a:schemeClr val="accent5"/>
                </a:solidFill>
              </a:rPr>
              <a:t>#NLPTHEBEST</a:t>
            </a:r>
            <a:endParaRPr lang="en-US" altLang="zh-TW" sz="1600" dirty="0">
              <a:solidFill>
                <a:schemeClr val="accent5"/>
              </a:solidFill>
              <a:latin typeface="Tw Cen MT" panose="020B06020201040206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53686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651ee01a-8928-4156-829c-191321169f3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88CD2E3-1343-4056-97BA-747FA2F5B23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868741" y="1402770"/>
            <a:ext cx="5001532" cy="4751840"/>
            <a:chOff x="3848893" y="1438800"/>
            <a:chExt cx="4494214" cy="4269849"/>
          </a:xfrm>
        </p:grpSpPr>
        <p:grpSp>
          <p:nvGrpSpPr>
            <p:cNvPr id="17" name="íṥļïḍé">
              <a:extLst>
                <a:ext uri="{FF2B5EF4-FFF2-40B4-BE49-F238E27FC236}">
                  <a16:creationId xmlns:a16="http://schemas.microsoft.com/office/drawing/2014/main" id="{A1559352-50D4-4ED9-BC61-38FDBF02F3EC}"/>
                </a:ext>
              </a:extLst>
            </p:cNvPr>
            <p:cNvGrpSpPr/>
            <p:nvPr/>
          </p:nvGrpSpPr>
          <p:grpSpPr>
            <a:xfrm>
              <a:off x="4284773" y="3302905"/>
              <a:ext cx="3612570" cy="2405744"/>
              <a:chOff x="4284773" y="3302905"/>
              <a:chExt cx="3612570" cy="2405744"/>
            </a:xfrm>
          </p:grpSpPr>
          <p:sp>
            <p:nvSpPr>
              <p:cNvPr id="68" name="ïṡľíḑé">
                <a:extLst>
                  <a:ext uri="{FF2B5EF4-FFF2-40B4-BE49-F238E27FC236}">
                    <a16:creationId xmlns:a16="http://schemas.microsoft.com/office/drawing/2014/main" id="{6FEAE915-531B-4B52-8461-CBEB005EC414}"/>
                  </a:ext>
                </a:extLst>
              </p:cNvPr>
              <p:cNvSpPr/>
              <p:nvPr/>
            </p:nvSpPr>
            <p:spPr bwMode="auto">
              <a:xfrm>
                <a:off x="4596117" y="3302905"/>
                <a:ext cx="3000755" cy="1893757"/>
              </a:xfrm>
              <a:custGeom>
                <a:avLst/>
                <a:gdLst>
                  <a:gd name="T0" fmla="*/ 1865 w 1952"/>
                  <a:gd name="T1" fmla="*/ 1234 h 1234"/>
                  <a:gd name="T2" fmla="*/ 87 w 1952"/>
                  <a:gd name="T3" fmla="*/ 1234 h 1234"/>
                  <a:gd name="T4" fmla="*/ 0 w 1952"/>
                  <a:gd name="T5" fmla="*/ 1147 h 1234"/>
                  <a:gd name="T6" fmla="*/ 0 w 1952"/>
                  <a:gd name="T7" fmla="*/ 87 h 1234"/>
                  <a:gd name="T8" fmla="*/ 87 w 1952"/>
                  <a:gd name="T9" fmla="*/ 0 h 1234"/>
                  <a:gd name="T10" fmla="*/ 1865 w 1952"/>
                  <a:gd name="T11" fmla="*/ 0 h 1234"/>
                  <a:gd name="T12" fmla="*/ 1952 w 1952"/>
                  <a:gd name="T13" fmla="*/ 87 h 1234"/>
                  <a:gd name="T14" fmla="*/ 1952 w 1952"/>
                  <a:gd name="T15" fmla="*/ 1147 h 1234"/>
                  <a:gd name="T16" fmla="*/ 1865 w 1952"/>
                  <a:gd name="T17" fmla="*/ 1234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52" h="1234">
                    <a:moveTo>
                      <a:pt x="1865" y="1234"/>
                    </a:moveTo>
                    <a:cubicBezTo>
                      <a:pt x="87" y="1234"/>
                      <a:pt x="87" y="1234"/>
                      <a:pt x="87" y="1234"/>
                    </a:cubicBezTo>
                    <a:cubicBezTo>
                      <a:pt x="39" y="1234"/>
                      <a:pt x="0" y="1195"/>
                      <a:pt x="0" y="114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0" y="39"/>
                      <a:pt x="39" y="0"/>
                      <a:pt x="87" y="0"/>
                    </a:cubicBezTo>
                    <a:cubicBezTo>
                      <a:pt x="1865" y="0"/>
                      <a:pt x="1865" y="0"/>
                      <a:pt x="1865" y="0"/>
                    </a:cubicBezTo>
                    <a:cubicBezTo>
                      <a:pt x="1913" y="0"/>
                      <a:pt x="1952" y="39"/>
                      <a:pt x="1952" y="87"/>
                    </a:cubicBezTo>
                    <a:cubicBezTo>
                      <a:pt x="1952" y="1147"/>
                      <a:pt x="1952" y="1147"/>
                      <a:pt x="1952" y="1147"/>
                    </a:cubicBezTo>
                    <a:cubicBezTo>
                      <a:pt x="1952" y="1195"/>
                      <a:pt x="1913" y="1234"/>
                      <a:pt x="1865" y="1234"/>
                    </a:cubicBez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iŝ1ïḋe">
                <a:extLst>
                  <a:ext uri="{FF2B5EF4-FFF2-40B4-BE49-F238E27FC236}">
                    <a16:creationId xmlns:a16="http://schemas.microsoft.com/office/drawing/2014/main" id="{C4969EA5-EBB6-4DA5-9489-32328DCF4C73}"/>
                  </a:ext>
                </a:extLst>
              </p:cNvPr>
              <p:cNvSpPr/>
              <p:nvPr/>
            </p:nvSpPr>
            <p:spPr bwMode="auto">
              <a:xfrm>
                <a:off x="4620826" y="3328604"/>
                <a:ext cx="2950347" cy="1842361"/>
              </a:xfrm>
              <a:custGeom>
                <a:avLst/>
                <a:gdLst>
                  <a:gd name="T0" fmla="*/ 0 w 1919"/>
                  <a:gd name="T1" fmla="*/ 1133 h 1200"/>
                  <a:gd name="T2" fmla="*/ 0 w 1919"/>
                  <a:gd name="T3" fmla="*/ 67 h 1200"/>
                  <a:gd name="T4" fmla="*/ 67 w 1919"/>
                  <a:gd name="T5" fmla="*/ 0 h 1200"/>
                  <a:gd name="T6" fmla="*/ 1852 w 1919"/>
                  <a:gd name="T7" fmla="*/ 0 h 1200"/>
                  <a:gd name="T8" fmla="*/ 1919 w 1919"/>
                  <a:gd name="T9" fmla="*/ 67 h 1200"/>
                  <a:gd name="T10" fmla="*/ 1919 w 1919"/>
                  <a:gd name="T11" fmla="*/ 1133 h 1200"/>
                  <a:gd name="T12" fmla="*/ 1852 w 1919"/>
                  <a:gd name="T13" fmla="*/ 1200 h 1200"/>
                  <a:gd name="T14" fmla="*/ 67 w 1919"/>
                  <a:gd name="T15" fmla="*/ 1200 h 1200"/>
                  <a:gd name="T16" fmla="*/ 0 w 1919"/>
                  <a:gd name="T17" fmla="*/ 1133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9" h="1200">
                    <a:moveTo>
                      <a:pt x="0" y="1133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30"/>
                      <a:pt x="30" y="0"/>
                      <a:pt x="67" y="0"/>
                    </a:cubicBezTo>
                    <a:cubicBezTo>
                      <a:pt x="1852" y="0"/>
                      <a:pt x="1852" y="0"/>
                      <a:pt x="1852" y="0"/>
                    </a:cubicBezTo>
                    <a:cubicBezTo>
                      <a:pt x="1889" y="0"/>
                      <a:pt x="1919" y="30"/>
                      <a:pt x="1919" y="67"/>
                    </a:cubicBezTo>
                    <a:cubicBezTo>
                      <a:pt x="1919" y="1133"/>
                      <a:pt x="1919" y="1133"/>
                      <a:pt x="1919" y="1133"/>
                    </a:cubicBezTo>
                    <a:cubicBezTo>
                      <a:pt x="1919" y="1170"/>
                      <a:pt x="1889" y="1200"/>
                      <a:pt x="1852" y="1200"/>
                    </a:cubicBezTo>
                    <a:cubicBezTo>
                      <a:pt x="67" y="1200"/>
                      <a:pt x="67" y="1200"/>
                      <a:pt x="67" y="1200"/>
                    </a:cubicBezTo>
                    <a:cubicBezTo>
                      <a:pt x="30" y="1200"/>
                      <a:pt x="0" y="1170"/>
                      <a:pt x="0" y="1133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íSļïḋe">
                <a:extLst>
                  <a:ext uri="{FF2B5EF4-FFF2-40B4-BE49-F238E27FC236}">
                    <a16:creationId xmlns:a16="http://schemas.microsoft.com/office/drawing/2014/main" id="{9F0BF75E-97C6-4D37-951C-ADFFE79765B2}"/>
                  </a:ext>
                </a:extLst>
              </p:cNvPr>
              <p:cNvSpPr/>
              <p:nvPr/>
            </p:nvSpPr>
            <p:spPr bwMode="auto">
              <a:xfrm>
                <a:off x="4723619" y="3431396"/>
                <a:ext cx="2744762" cy="1637764"/>
              </a:xfrm>
              <a:prstGeom prst="rect">
                <a:avLst/>
              </a:prstGeom>
              <a:solidFill>
                <a:srgbClr val="9DB0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S1íḍê">
                <a:extLst>
                  <a:ext uri="{FF2B5EF4-FFF2-40B4-BE49-F238E27FC236}">
                    <a16:creationId xmlns:a16="http://schemas.microsoft.com/office/drawing/2014/main" id="{EC4C1703-3211-48E2-A374-3EAF015DE837}"/>
                  </a:ext>
                </a:extLst>
              </p:cNvPr>
              <p:cNvSpPr/>
              <p:nvPr/>
            </p:nvSpPr>
            <p:spPr bwMode="auto">
              <a:xfrm>
                <a:off x="4980601" y="3583608"/>
                <a:ext cx="2232775" cy="1332351"/>
              </a:xfrm>
              <a:prstGeom prst="rect">
                <a:avLst/>
              </a:prstGeom>
              <a:solidFill>
                <a:srgbClr val="E7EB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î$lïḍé">
                <a:extLst>
                  <a:ext uri="{FF2B5EF4-FFF2-40B4-BE49-F238E27FC236}">
                    <a16:creationId xmlns:a16="http://schemas.microsoft.com/office/drawing/2014/main" id="{BFF7B79B-7F9D-4C82-BFFC-F73068C07F5C}"/>
                  </a:ext>
                </a:extLst>
              </p:cNvPr>
              <p:cNvSpPr/>
              <p:nvPr/>
            </p:nvSpPr>
            <p:spPr bwMode="auto">
              <a:xfrm>
                <a:off x="4980601" y="3658726"/>
                <a:ext cx="2232775" cy="130468"/>
              </a:xfrm>
              <a:prstGeom prst="rect">
                <a:avLst/>
              </a:pr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íślïḋé">
                <a:extLst>
                  <a:ext uri="{FF2B5EF4-FFF2-40B4-BE49-F238E27FC236}">
                    <a16:creationId xmlns:a16="http://schemas.microsoft.com/office/drawing/2014/main" id="{AF05C86B-6C60-4B32-B30D-4FFBBD23DD9F}"/>
                  </a:ext>
                </a:extLst>
              </p:cNvPr>
              <p:cNvSpPr/>
              <p:nvPr/>
            </p:nvSpPr>
            <p:spPr bwMode="auto">
              <a:xfrm>
                <a:off x="5161476" y="3789194"/>
                <a:ext cx="1868059" cy="460590"/>
              </a:xfrm>
              <a:prstGeom prst="rect">
                <a:avLst/>
              </a:pr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îṩ1iḍé">
                <a:extLst>
                  <a:ext uri="{FF2B5EF4-FFF2-40B4-BE49-F238E27FC236}">
                    <a16:creationId xmlns:a16="http://schemas.microsoft.com/office/drawing/2014/main" id="{4F4FB827-2845-454F-9FDF-EF04A5A66AB2}"/>
                  </a:ext>
                </a:extLst>
              </p:cNvPr>
              <p:cNvSpPr/>
              <p:nvPr/>
            </p:nvSpPr>
            <p:spPr bwMode="auto">
              <a:xfrm>
                <a:off x="6019400" y="3914719"/>
                <a:ext cx="145293" cy="291575"/>
              </a:xfrm>
              <a:custGeom>
                <a:avLst/>
                <a:gdLst>
                  <a:gd name="T0" fmla="*/ 71 w 94"/>
                  <a:gd name="T1" fmla="*/ 29 h 190"/>
                  <a:gd name="T2" fmla="*/ 94 w 94"/>
                  <a:gd name="T3" fmla="*/ 29 h 190"/>
                  <a:gd name="T4" fmla="*/ 94 w 94"/>
                  <a:gd name="T5" fmla="*/ 0 h 190"/>
                  <a:gd name="T6" fmla="*/ 71 w 94"/>
                  <a:gd name="T7" fmla="*/ 0 h 190"/>
                  <a:gd name="T8" fmla="*/ 25 w 94"/>
                  <a:gd name="T9" fmla="*/ 40 h 190"/>
                  <a:gd name="T10" fmla="*/ 25 w 94"/>
                  <a:gd name="T11" fmla="*/ 65 h 190"/>
                  <a:gd name="T12" fmla="*/ 0 w 94"/>
                  <a:gd name="T13" fmla="*/ 65 h 190"/>
                  <a:gd name="T14" fmla="*/ 0 w 94"/>
                  <a:gd name="T15" fmla="*/ 95 h 190"/>
                  <a:gd name="T16" fmla="*/ 25 w 94"/>
                  <a:gd name="T17" fmla="*/ 95 h 190"/>
                  <a:gd name="T18" fmla="*/ 25 w 94"/>
                  <a:gd name="T19" fmla="*/ 190 h 190"/>
                  <a:gd name="T20" fmla="*/ 61 w 94"/>
                  <a:gd name="T21" fmla="*/ 190 h 190"/>
                  <a:gd name="T22" fmla="*/ 61 w 94"/>
                  <a:gd name="T23" fmla="*/ 95 h 190"/>
                  <a:gd name="T24" fmla="*/ 91 w 94"/>
                  <a:gd name="T25" fmla="*/ 95 h 190"/>
                  <a:gd name="T26" fmla="*/ 94 w 94"/>
                  <a:gd name="T27" fmla="*/ 65 h 190"/>
                  <a:gd name="T28" fmla="*/ 61 w 94"/>
                  <a:gd name="T29" fmla="*/ 65 h 190"/>
                  <a:gd name="T30" fmla="*/ 61 w 94"/>
                  <a:gd name="T31" fmla="*/ 40 h 190"/>
                  <a:gd name="T32" fmla="*/ 71 w 94"/>
                  <a:gd name="T33" fmla="*/ 2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4" h="190">
                    <a:moveTo>
                      <a:pt x="71" y="29"/>
                    </a:moveTo>
                    <a:cubicBezTo>
                      <a:pt x="80" y="29"/>
                      <a:pt x="94" y="29"/>
                      <a:pt x="94" y="29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84" y="0"/>
                      <a:pt x="71" y="0"/>
                    </a:cubicBezTo>
                    <a:cubicBezTo>
                      <a:pt x="58" y="0"/>
                      <a:pt x="25" y="2"/>
                      <a:pt x="25" y="40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5" y="190"/>
                      <a:pt x="25" y="190"/>
                      <a:pt x="25" y="190"/>
                    </a:cubicBezTo>
                    <a:cubicBezTo>
                      <a:pt x="61" y="190"/>
                      <a:pt x="61" y="190"/>
                      <a:pt x="61" y="190"/>
                    </a:cubicBezTo>
                    <a:cubicBezTo>
                      <a:pt x="61" y="95"/>
                      <a:pt x="61" y="95"/>
                      <a:pt x="61" y="95"/>
                    </a:cubicBezTo>
                    <a:cubicBezTo>
                      <a:pt x="91" y="95"/>
                      <a:pt x="91" y="95"/>
                      <a:pt x="91" y="95"/>
                    </a:cubicBezTo>
                    <a:cubicBezTo>
                      <a:pt x="94" y="65"/>
                      <a:pt x="94" y="65"/>
                      <a:pt x="94" y="65"/>
                    </a:cubicBezTo>
                    <a:cubicBezTo>
                      <a:pt x="61" y="65"/>
                      <a:pt x="61" y="65"/>
                      <a:pt x="61" y="65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1" y="40"/>
                      <a:pt x="63" y="29"/>
                      <a:pt x="71" y="2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iŝľiḑé">
                <a:extLst>
                  <a:ext uri="{FF2B5EF4-FFF2-40B4-BE49-F238E27FC236}">
                    <a16:creationId xmlns:a16="http://schemas.microsoft.com/office/drawing/2014/main" id="{BC5856D6-1E52-4649-AB26-8EE356819A28}"/>
                  </a:ext>
                </a:extLst>
              </p:cNvPr>
              <p:cNvSpPr/>
              <p:nvPr/>
            </p:nvSpPr>
            <p:spPr bwMode="auto">
              <a:xfrm>
                <a:off x="5161476" y="3789194"/>
                <a:ext cx="1868059" cy="75118"/>
              </a:xfrm>
              <a:prstGeom prst="rect">
                <a:avLst/>
              </a:prstGeom>
              <a:solidFill>
                <a:srgbClr val="E7EB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işḷíḑé">
                <a:extLst>
                  <a:ext uri="{FF2B5EF4-FFF2-40B4-BE49-F238E27FC236}">
                    <a16:creationId xmlns:a16="http://schemas.microsoft.com/office/drawing/2014/main" id="{C0D207D6-C1E4-4DCC-9613-6CB969E3A0E4}"/>
                  </a:ext>
                </a:extLst>
              </p:cNvPr>
              <p:cNvSpPr/>
              <p:nvPr/>
            </p:nvSpPr>
            <p:spPr bwMode="auto">
              <a:xfrm>
                <a:off x="5161476" y="4249784"/>
                <a:ext cx="1868059" cy="177910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îŝ1îḓè">
                <a:extLst>
                  <a:ext uri="{FF2B5EF4-FFF2-40B4-BE49-F238E27FC236}">
                    <a16:creationId xmlns:a16="http://schemas.microsoft.com/office/drawing/2014/main" id="{03B9DF9F-5120-4B71-AA7B-11C3000D5F64}"/>
                  </a:ext>
                </a:extLst>
              </p:cNvPr>
              <p:cNvSpPr/>
              <p:nvPr/>
            </p:nvSpPr>
            <p:spPr bwMode="auto">
              <a:xfrm>
                <a:off x="5886955" y="4472172"/>
                <a:ext cx="1142580" cy="401287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íṡlîḍê">
                <a:extLst>
                  <a:ext uri="{FF2B5EF4-FFF2-40B4-BE49-F238E27FC236}">
                    <a16:creationId xmlns:a16="http://schemas.microsoft.com/office/drawing/2014/main" id="{BEDC13E1-1C06-40E0-BDD2-48658322D8B5}"/>
                  </a:ext>
                </a:extLst>
              </p:cNvPr>
              <p:cNvSpPr/>
              <p:nvPr/>
            </p:nvSpPr>
            <p:spPr bwMode="auto">
              <a:xfrm>
                <a:off x="5161476" y="4472172"/>
                <a:ext cx="669141" cy="177910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ïṥḷïdê">
                <a:extLst>
                  <a:ext uri="{FF2B5EF4-FFF2-40B4-BE49-F238E27FC236}">
                    <a16:creationId xmlns:a16="http://schemas.microsoft.com/office/drawing/2014/main" id="{2B2C42C9-6D71-4204-B9DD-8A7F9676E348}"/>
                  </a:ext>
                </a:extLst>
              </p:cNvPr>
              <p:cNvSpPr/>
              <p:nvPr/>
            </p:nvSpPr>
            <p:spPr bwMode="auto">
              <a:xfrm>
                <a:off x="5161476" y="4694560"/>
                <a:ext cx="669141" cy="178899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išļídé">
                <a:extLst>
                  <a:ext uri="{FF2B5EF4-FFF2-40B4-BE49-F238E27FC236}">
                    <a16:creationId xmlns:a16="http://schemas.microsoft.com/office/drawing/2014/main" id="{13B3AE3C-1CDE-4EA2-BE8B-B0F10B30C8B0}"/>
                  </a:ext>
                </a:extLst>
              </p:cNvPr>
              <p:cNvSpPr/>
              <p:nvPr/>
            </p:nvSpPr>
            <p:spPr bwMode="auto">
              <a:xfrm>
                <a:off x="5230664" y="4071874"/>
                <a:ext cx="356809" cy="355821"/>
              </a:xfrm>
              <a:prstGeom prst="rect">
                <a:avLst/>
              </a:prstGeom>
              <a:solidFill>
                <a:srgbClr val="6D8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íṡḷîḑè">
                <a:extLst>
                  <a:ext uri="{FF2B5EF4-FFF2-40B4-BE49-F238E27FC236}">
                    <a16:creationId xmlns:a16="http://schemas.microsoft.com/office/drawing/2014/main" id="{0FD55334-AEDC-4665-B958-22B51722C0DE}"/>
                  </a:ext>
                </a:extLst>
              </p:cNvPr>
              <p:cNvSpPr/>
              <p:nvPr/>
            </p:nvSpPr>
            <p:spPr bwMode="auto">
              <a:xfrm>
                <a:off x="4284773" y="5195674"/>
                <a:ext cx="1806779" cy="512975"/>
              </a:xfrm>
              <a:custGeom>
                <a:avLst/>
                <a:gdLst>
                  <a:gd name="T0" fmla="*/ 1175 w 1175"/>
                  <a:gd name="T1" fmla="*/ 1 h 334"/>
                  <a:gd name="T2" fmla="*/ 1175 w 1175"/>
                  <a:gd name="T3" fmla="*/ 334 h 334"/>
                  <a:gd name="T4" fmla="*/ 37 w 1175"/>
                  <a:gd name="T5" fmla="*/ 334 h 334"/>
                  <a:gd name="T6" fmla="*/ 14 w 1175"/>
                  <a:gd name="T7" fmla="*/ 251 h 334"/>
                  <a:gd name="T8" fmla="*/ 267 w 1175"/>
                  <a:gd name="T9" fmla="*/ 0 h 334"/>
                  <a:gd name="T10" fmla="*/ 1175 w 1175"/>
                  <a:gd name="T11" fmla="*/ 1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5" h="334">
                    <a:moveTo>
                      <a:pt x="1175" y="1"/>
                    </a:moveTo>
                    <a:cubicBezTo>
                      <a:pt x="1175" y="334"/>
                      <a:pt x="1175" y="334"/>
                      <a:pt x="1175" y="334"/>
                    </a:cubicBezTo>
                    <a:cubicBezTo>
                      <a:pt x="37" y="334"/>
                      <a:pt x="37" y="334"/>
                      <a:pt x="37" y="334"/>
                    </a:cubicBezTo>
                    <a:cubicBezTo>
                      <a:pt x="37" y="334"/>
                      <a:pt x="0" y="302"/>
                      <a:pt x="14" y="251"/>
                    </a:cubicBezTo>
                    <a:cubicBezTo>
                      <a:pt x="267" y="0"/>
                      <a:pt x="267" y="0"/>
                      <a:pt x="267" y="0"/>
                    </a:cubicBezTo>
                    <a:lnTo>
                      <a:pt x="1175" y="1"/>
                    </a:ln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ïşļîḍé">
                <a:extLst>
                  <a:ext uri="{FF2B5EF4-FFF2-40B4-BE49-F238E27FC236}">
                    <a16:creationId xmlns:a16="http://schemas.microsoft.com/office/drawing/2014/main" id="{44D4AD44-5306-4CC0-8C78-6CB3DC174A9F}"/>
                  </a:ext>
                </a:extLst>
              </p:cNvPr>
              <p:cNvSpPr/>
              <p:nvPr/>
            </p:nvSpPr>
            <p:spPr bwMode="auto">
              <a:xfrm>
                <a:off x="4284773" y="5568297"/>
                <a:ext cx="1806779" cy="140352"/>
              </a:xfrm>
              <a:custGeom>
                <a:avLst/>
                <a:gdLst>
                  <a:gd name="T0" fmla="*/ 22 w 1175"/>
                  <a:gd name="T1" fmla="*/ 0 h 91"/>
                  <a:gd name="T2" fmla="*/ 14 w 1175"/>
                  <a:gd name="T3" fmla="*/ 8 h 91"/>
                  <a:gd name="T4" fmla="*/ 37 w 1175"/>
                  <a:gd name="T5" fmla="*/ 91 h 91"/>
                  <a:gd name="T6" fmla="*/ 1175 w 1175"/>
                  <a:gd name="T7" fmla="*/ 91 h 91"/>
                  <a:gd name="T8" fmla="*/ 1175 w 1175"/>
                  <a:gd name="T9" fmla="*/ 20 h 91"/>
                  <a:gd name="T10" fmla="*/ 37 w 1175"/>
                  <a:gd name="T11" fmla="*/ 20 h 91"/>
                  <a:gd name="T12" fmla="*/ 22 w 1175"/>
                  <a:gd name="T1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5" h="91">
                    <a:moveTo>
                      <a:pt x="22" y="0"/>
                    </a:moveTo>
                    <a:cubicBezTo>
                      <a:pt x="14" y="8"/>
                      <a:pt x="14" y="8"/>
                      <a:pt x="14" y="8"/>
                    </a:cubicBezTo>
                    <a:cubicBezTo>
                      <a:pt x="0" y="59"/>
                      <a:pt x="37" y="91"/>
                      <a:pt x="37" y="91"/>
                    </a:cubicBezTo>
                    <a:cubicBezTo>
                      <a:pt x="1175" y="91"/>
                      <a:pt x="1175" y="91"/>
                      <a:pt x="1175" y="91"/>
                    </a:cubicBezTo>
                    <a:cubicBezTo>
                      <a:pt x="1175" y="20"/>
                      <a:pt x="1175" y="20"/>
                      <a:pt x="1175" y="2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20"/>
                      <a:pt x="29" y="13"/>
                      <a:pt x="22" y="0"/>
                    </a:cubicBezTo>
                    <a:close/>
                  </a:path>
                </a:pathLst>
              </a:custGeom>
              <a:solidFill>
                <a:srgbClr val="ADAF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îsļîḓe">
                <a:extLst>
                  <a:ext uri="{FF2B5EF4-FFF2-40B4-BE49-F238E27FC236}">
                    <a16:creationId xmlns:a16="http://schemas.microsoft.com/office/drawing/2014/main" id="{5D36301B-769A-41AF-8A6D-FF728497E8A4}"/>
                  </a:ext>
                </a:extLst>
              </p:cNvPr>
              <p:cNvSpPr/>
              <p:nvPr/>
            </p:nvSpPr>
            <p:spPr bwMode="auto">
              <a:xfrm>
                <a:off x="6090564" y="5195674"/>
                <a:ext cx="1806779" cy="512975"/>
              </a:xfrm>
              <a:custGeom>
                <a:avLst/>
                <a:gdLst>
                  <a:gd name="T0" fmla="*/ 0 w 1175"/>
                  <a:gd name="T1" fmla="*/ 1 h 334"/>
                  <a:gd name="T2" fmla="*/ 0 w 1175"/>
                  <a:gd name="T3" fmla="*/ 334 h 334"/>
                  <a:gd name="T4" fmla="*/ 1139 w 1175"/>
                  <a:gd name="T5" fmla="*/ 334 h 334"/>
                  <a:gd name="T6" fmla="*/ 1162 w 1175"/>
                  <a:gd name="T7" fmla="*/ 251 h 334"/>
                  <a:gd name="T8" fmla="*/ 909 w 1175"/>
                  <a:gd name="T9" fmla="*/ 0 h 334"/>
                  <a:gd name="T10" fmla="*/ 0 w 1175"/>
                  <a:gd name="T11" fmla="*/ 1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5" h="334">
                    <a:moveTo>
                      <a:pt x="0" y="1"/>
                    </a:moveTo>
                    <a:cubicBezTo>
                      <a:pt x="0" y="334"/>
                      <a:pt x="0" y="334"/>
                      <a:pt x="0" y="334"/>
                    </a:cubicBezTo>
                    <a:cubicBezTo>
                      <a:pt x="1139" y="334"/>
                      <a:pt x="1139" y="334"/>
                      <a:pt x="1139" y="334"/>
                    </a:cubicBezTo>
                    <a:cubicBezTo>
                      <a:pt x="1139" y="334"/>
                      <a:pt x="1175" y="302"/>
                      <a:pt x="1162" y="251"/>
                    </a:cubicBezTo>
                    <a:cubicBezTo>
                      <a:pt x="909" y="0"/>
                      <a:pt x="909" y="0"/>
                      <a:pt x="909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íŝlíḋe">
                <a:extLst>
                  <a:ext uri="{FF2B5EF4-FFF2-40B4-BE49-F238E27FC236}">
                    <a16:creationId xmlns:a16="http://schemas.microsoft.com/office/drawing/2014/main" id="{1940E334-EB21-4D7A-ABE6-0CBB550E74C8}"/>
                  </a:ext>
                </a:extLst>
              </p:cNvPr>
              <p:cNvSpPr/>
              <p:nvPr/>
            </p:nvSpPr>
            <p:spPr bwMode="auto">
              <a:xfrm>
                <a:off x="6090564" y="5568297"/>
                <a:ext cx="1806779" cy="140352"/>
              </a:xfrm>
              <a:custGeom>
                <a:avLst/>
                <a:gdLst>
                  <a:gd name="T0" fmla="*/ 1154 w 1175"/>
                  <a:gd name="T1" fmla="*/ 0 h 91"/>
                  <a:gd name="T2" fmla="*/ 1162 w 1175"/>
                  <a:gd name="T3" fmla="*/ 8 h 91"/>
                  <a:gd name="T4" fmla="*/ 1139 w 1175"/>
                  <a:gd name="T5" fmla="*/ 91 h 91"/>
                  <a:gd name="T6" fmla="*/ 0 w 1175"/>
                  <a:gd name="T7" fmla="*/ 91 h 91"/>
                  <a:gd name="T8" fmla="*/ 0 w 1175"/>
                  <a:gd name="T9" fmla="*/ 20 h 91"/>
                  <a:gd name="T10" fmla="*/ 1139 w 1175"/>
                  <a:gd name="T11" fmla="*/ 20 h 91"/>
                  <a:gd name="T12" fmla="*/ 1154 w 1175"/>
                  <a:gd name="T1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5" h="91">
                    <a:moveTo>
                      <a:pt x="1154" y="0"/>
                    </a:moveTo>
                    <a:cubicBezTo>
                      <a:pt x="1162" y="8"/>
                      <a:pt x="1162" y="8"/>
                      <a:pt x="1162" y="8"/>
                    </a:cubicBezTo>
                    <a:cubicBezTo>
                      <a:pt x="1175" y="59"/>
                      <a:pt x="1139" y="91"/>
                      <a:pt x="1139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139" y="20"/>
                      <a:pt x="1139" y="20"/>
                      <a:pt x="1139" y="20"/>
                    </a:cubicBezTo>
                    <a:cubicBezTo>
                      <a:pt x="1139" y="20"/>
                      <a:pt x="1147" y="13"/>
                      <a:pt x="1154" y="0"/>
                    </a:cubicBezTo>
                    <a:close/>
                  </a:path>
                </a:pathLst>
              </a:custGeom>
              <a:solidFill>
                <a:srgbClr val="ADAF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ï$ḻïḋê">
                <a:extLst>
                  <a:ext uri="{FF2B5EF4-FFF2-40B4-BE49-F238E27FC236}">
                    <a16:creationId xmlns:a16="http://schemas.microsoft.com/office/drawing/2014/main" id="{434FC913-C730-4EDA-991B-E20059405948}"/>
                  </a:ext>
                </a:extLst>
              </p:cNvPr>
              <p:cNvSpPr/>
              <p:nvPr/>
            </p:nvSpPr>
            <p:spPr bwMode="auto">
              <a:xfrm>
                <a:off x="4657397" y="5241140"/>
                <a:ext cx="2861392" cy="210527"/>
              </a:xfrm>
              <a:custGeom>
                <a:avLst/>
                <a:gdLst>
                  <a:gd name="T0" fmla="*/ 2895 w 2895"/>
                  <a:gd name="T1" fmla="*/ 213 h 213"/>
                  <a:gd name="T2" fmla="*/ 0 w 2895"/>
                  <a:gd name="T3" fmla="*/ 213 h 213"/>
                  <a:gd name="T4" fmla="*/ 194 w 2895"/>
                  <a:gd name="T5" fmla="*/ 0 h 213"/>
                  <a:gd name="T6" fmla="*/ 2704 w 2895"/>
                  <a:gd name="T7" fmla="*/ 0 h 213"/>
                  <a:gd name="T8" fmla="*/ 2895 w 2895"/>
                  <a:gd name="T9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5" h="213">
                    <a:moveTo>
                      <a:pt x="2895" y="213"/>
                    </a:moveTo>
                    <a:lnTo>
                      <a:pt x="0" y="213"/>
                    </a:lnTo>
                    <a:lnTo>
                      <a:pt x="194" y="0"/>
                    </a:lnTo>
                    <a:lnTo>
                      <a:pt x="2704" y="0"/>
                    </a:lnTo>
                    <a:lnTo>
                      <a:pt x="2895" y="213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ïśļíḍè">
                <a:extLst>
                  <a:ext uri="{FF2B5EF4-FFF2-40B4-BE49-F238E27FC236}">
                    <a16:creationId xmlns:a16="http://schemas.microsoft.com/office/drawing/2014/main" id="{4B8EA24E-89A5-4A02-97AC-6502416BF960}"/>
                  </a:ext>
                </a:extLst>
              </p:cNvPr>
              <p:cNvSpPr/>
              <p:nvPr/>
            </p:nvSpPr>
            <p:spPr bwMode="auto">
              <a:xfrm>
                <a:off x="5784163" y="5568297"/>
                <a:ext cx="607860" cy="71164"/>
              </a:xfrm>
              <a:custGeom>
                <a:avLst/>
                <a:gdLst>
                  <a:gd name="T0" fmla="*/ 377 w 395"/>
                  <a:gd name="T1" fmla="*/ 46 h 46"/>
                  <a:gd name="T2" fmla="*/ 18 w 395"/>
                  <a:gd name="T3" fmla="*/ 46 h 46"/>
                  <a:gd name="T4" fmla="*/ 0 w 395"/>
                  <a:gd name="T5" fmla="*/ 28 h 46"/>
                  <a:gd name="T6" fmla="*/ 0 w 395"/>
                  <a:gd name="T7" fmla="*/ 18 h 46"/>
                  <a:gd name="T8" fmla="*/ 18 w 395"/>
                  <a:gd name="T9" fmla="*/ 0 h 46"/>
                  <a:gd name="T10" fmla="*/ 377 w 395"/>
                  <a:gd name="T11" fmla="*/ 0 h 46"/>
                  <a:gd name="T12" fmla="*/ 395 w 395"/>
                  <a:gd name="T13" fmla="*/ 18 h 46"/>
                  <a:gd name="T14" fmla="*/ 395 w 395"/>
                  <a:gd name="T15" fmla="*/ 28 h 46"/>
                  <a:gd name="T16" fmla="*/ 377 w 395"/>
                  <a:gd name="T1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5" h="46">
                    <a:moveTo>
                      <a:pt x="377" y="46"/>
                    </a:moveTo>
                    <a:cubicBezTo>
                      <a:pt x="18" y="46"/>
                      <a:pt x="18" y="46"/>
                      <a:pt x="18" y="46"/>
                    </a:cubicBezTo>
                    <a:cubicBezTo>
                      <a:pt x="8" y="46"/>
                      <a:pt x="0" y="38"/>
                      <a:pt x="0" y="2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377" y="0"/>
                      <a:pt x="377" y="0"/>
                      <a:pt x="377" y="0"/>
                    </a:cubicBezTo>
                    <a:cubicBezTo>
                      <a:pt x="387" y="0"/>
                      <a:pt x="395" y="8"/>
                      <a:pt x="395" y="18"/>
                    </a:cubicBezTo>
                    <a:cubicBezTo>
                      <a:pt x="395" y="28"/>
                      <a:pt x="395" y="28"/>
                      <a:pt x="395" y="28"/>
                    </a:cubicBezTo>
                    <a:cubicBezTo>
                      <a:pt x="395" y="38"/>
                      <a:pt x="387" y="46"/>
                      <a:pt x="377" y="46"/>
                    </a:cubicBez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8" name="ïṥliďé">
              <a:extLst>
                <a:ext uri="{FF2B5EF4-FFF2-40B4-BE49-F238E27FC236}">
                  <a16:creationId xmlns:a16="http://schemas.microsoft.com/office/drawing/2014/main" id="{0DAA714B-3C05-4EC7-8D85-ED4482A64F1D}"/>
                </a:ext>
              </a:extLst>
            </p:cNvPr>
            <p:cNvGrpSpPr/>
            <p:nvPr/>
          </p:nvGrpSpPr>
          <p:grpSpPr>
            <a:xfrm>
              <a:off x="3848893" y="2424226"/>
              <a:ext cx="778852" cy="778852"/>
              <a:chOff x="3848893" y="2424226"/>
              <a:chExt cx="778852" cy="778852"/>
            </a:xfrm>
          </p:grpSpPr>
          <p:sp>
            <p:nvSpPr>
              <p:cNvPr id="63" name="îṣḷïḑè">
                <a:extLst>
                  <a:ext uri="{FF2B5EF4-FFF2-40B4-BE49-F238E27FC236}">
                    <a16:creationId xmlns:a16="http://schemas.microsoft.com/office/drawing/2014/main" id="{3F5CE228-0117-44B3-BC5B-CFEE825F1165}"/>
                  </a:ext>
                </a:extLst>
              </p:cNvPr>
              <p:cNvSpPr/>
              <p:nvPr/>
            </p:nvSpPr>
            <p:spPr bwMode="auto">
              <a:xfrm>
                <a:off x="3848893" y="2424226"/>
                <a:ext cx="778852" cy="778852"/>
              </a:xfrm>
              <a:custGeom>
                <a:avLst/>
                <a:gdLst>
                  <a:gd name="T0" fmla="*/ 38 w 507"/>
                  <a:gd name="T1" fmla="*/ 184 h 507"/>
                  <a:gd name="T2" fmla="*/ 322 w 507"/>
                  <a:gd name="T3" fmla="*/ 38 h 507"/>
                  <a:gd name="T4" fmla="*/ 469 w 507"/>
                  <a:gd name="T5" fmla="*/ 322 h 507"/>
                  <a:gd name="T6" fmla="*/ 185 w 507"/>
                  <a:gd name="T7" fmla="*/ 469 h 507"/>
                  <a:gd name="T8" fmla="*/ 38 w 507"/>
                  <a:gd name="T9" fmla="*/ 184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7" h="507">
                    <a:moveTo>
                      <a:pt x="38" y="184"/>
                    </a:moveTo>
                    <a:cubicBezTo>
                      <a:pt x="76" y="65"/>
                      <a:pt x="203" y="0"/>
                      <a:pt x="322" y="38"/>
                    </a:cubicBezTo>
                    <a:cubicBezTo>
                      <a:pt x="441" y="76"/>
                      <a:pt x="507" y="203"/>
                      <a:pt x="469" y="322"/>
                    </a:cubicBezTo>
                    <a:cubicBezTo>
                      <a:pt x="431" y="441"/>
                      <a:pt x="304" y="507"/>
                      <a:pt x="185" y="469"/>
                    </a:cubicBezTo>
                    <a:cubicBezTo>
                      <a:pt x="66" y="431"/>
                      <a:pt x="0" y="303"/>
                      <a:pt x="38" y="184"/>
                    </a:cubicBez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íś1iḋê">
                <a:extLst>
                  <a:ext uri="{FF2B5EF4-FFF2-40B4-BE49-F238E27FC236}">
                    <a16:creationId xmlns:a16="http://schemas.microsoft.com/office/drawing/2014/main" id="{4CBDE895-2D06-4433-8CBD-23CF54D9B99C}"/>
                  </a:ext>
                </a:extLst>
              </p:cNvPr>
              <p:cNvSpPr/>
              <p:nvPr/>
            </p:nvSpPr>
            <p:spPr bwMode="auto">
              <a:xfrm>
                <a:off x="4454777" y="2881851"/>
                <a:ext cx="162096" cy="164073"/>
              </a:xfrm>
              <a:custGeom>
                <a:avLst/>
                <a:gdLst>
                  <a:gd name="T0" fmla="*/ 0 w 164"/>
                  <a:gd name="T1" fmla="*/ 42 h 166"/>
                  <a:gd name="T2" fmla="*/ 122 w 164"/>
                  <a:gd name="T3" fmla="*/ 0 h 166"/>
                  <a:gd name="T4" fmla="*/ 164 w 164"/>
                  <a:gd name="T5" fmla="*/ 124 h 166"/>
                  <a:gd name="T6" fmla="*/ 40 w 164"/>
                  <a:gd name="T7" fmla="*/ 166 h 166"/>
                  <a:gd name="T8" fmla="*/ 0 w 164"/>
                  <a:gd name="T9" fmla="*/ 4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4" h="166">
                    <a:moveTo>
                      <a:pt x="0" y="42"/>
                    </a:moveTo>
                    <a:lnTo>
                      <a:pt x="122" y="0"/>
                    </a:lnTo>
                    <a:lnTo>
                      <a:pt x="164" y="124"/>
                    </a:lnTo>
                    <a:lnTo>
                      <a:pt x="40" y="166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íṡ1îďè">
                <a:extLst>
                  <a:ext uri="{FF2B5EF4-FFF2-40B4-BE49-F238E27FC236}">
                    <a16:creationId xmlns:a16="http://schemas.microsoft.com/office/drawing/2014/main" id="{6BEB952A-CD10-4D71-98E4-7DB00C93E36B}"/>
                  </a:ext>
                </a:extLst>
              </p:cNvPr>
              <p:cNvSpPr/>
              <p:nvPr/>
            </p:nvSpPr>
            <p:spPr bwMode="auto">
              <a:xfrm>
                <a:off x="3893371" y="2466727"/>
                <a:ext cx="691874" cy="690885"/>
              </a:xfrm>
              <a:custGeom>
                <a:avLst/>
                <a:gdLst>
                  <a:gd name="T0" fmla="*/ 33 w 450"/>
                  <a:gd name="T1" fmla="*/ 164 h 450"/>
                  <a:gd name="T2" fmla="*/ 286 w 450"/>
                  <a:gd name="T3" fmla="*/ 34 h 450"/>
                  <a:gd name="T4" fmla="*/ 416 w 450"/>
                  <a:gd name="T5" fmla="*/ 286 h 450"/>
                  <a:gd name="T6" fmla="*/ 164 w 450"/>
                  <a:gd name="T7" fmla="*/ 417 h 450"/>
                  <a:gd name="T8" fmla="*/ 33 w 450"/>
                  <a:gd name="T9" fmla="*/ 164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0" h="450">
                    <a:moveTo>
                      <a:pt x="33" y="164"/>
                    </a:moveTo>
                    <a:cubicBezTo>
                      <a:pt x="67" y="58"/>
                      <a:pt x="180" y="0"/>
                      <a:pt x="286" y="34"/>
                    </a:cubicBezTo>
                    <a:cubicBezTo>
                      <a:pt x="391" y="68"/>
                      <a:pt x="450" y="181"/>
                      <a:pt x="416" y="286"/>
                    </a:cubicBezTo>
                    <a:cubicBezTo>
                      <a:pt x="382" y="392"/>
                      <a:pt x="269" y="450"/>
                      <a:pt x="164" y="417"/>
                    </a:cubicBezTo>
                    <a:cubicBezTo>
                      <a:pt x="58" y="383"/>
                      <a:pt x="0" y="270"/>
                      <a:pt x="33" y="1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íṧlîḓè">
                <a:extLst>
                  <a:ext uri="{FF2B5EF4-FFF2-40B4-BE49-F238E27FC236}">
                    <a16:creationId xmlns:a16="http://schemas.microsoft.com/office/drawing/2014/main" id="{2DE2BE2B-0CA6-442B-B4C4-6CCC7F8C7CA2}"/>
                  </a:ext>
                </a:extLst>
              </p:cNvPr>
              <p:cNvSpPr/>
              <p:nvPr/>
            </p:nvSpPr>
            <p:spPr bwMode="auto">
              <a:xfrm>
                <a:off x="4060409" y="2777081"/>
                <a:ext cx="83025" cy="199655"/>
              </a:xfrm>
              <a:custGeom>
                <a:avLst/>
                <a:gdLst>
                  <a:gd name="T0" fmla="*/ 47 w 54"/>
                  <a:gd name="T1" fmla="*/ 0 h 130"/>
                  <a:gd name="T2" fmla="*/ 6 w 54"/>
                  <a:gd name="T3" fmla="*/ 0 h 130"/>
                  <a:gd name="T4" fmla="*/ 0 w 54"/>
                  <a:gd name="T5" fmla="*/ 6 h 130"/>
                  <a:gd name="T6" fmla="*/ 0 w 54"/>
                  <a:gd name="T7" fmla="*/ 124 h 130"/>
                  <a:gd name="T8" fmla="*/ 6 w 54"/>
                  <a:gd name="T9" fmla="*/ 130 h 130"/>
                  <a:gd name="T10" fmla="*/ 47 w 54"/>
                  <a:gd name="T11" fmla="*/ 130 h 130"/>
                  <a:gd name="T12" fmla="*/ 54 w 54"/>
                  <a:gd name="T13" fmla="*/ 124 h 130"/>
                  <a:gd name="T14" fmla="*/ 54 w 54"/>
                  <a:gd name="T15" fmla="*/ 6 h 130"/>
                  <a:gd name="T16" fmla="*/ 47 w 54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130">
                    <a:moveTo>
                      <a:pt x="47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27"/>
                      <a:pt x="3" y="130"/>
                      <a:pt x="6" y="130"/>
                    </a:cubicBezTo>
                    <a:cubicBezTo>
                      <a:pt x="47" y="130"/>
                      <a:pt x="47" y="130"/>
                      <a:pt x="47" y="130"/>
                    </a:cubicBezTo>
                    <a:cubicBezTo>
                      <a:pt x="51" y="130"/>
                      <a:pt x="54" y="127"/>
                      <a:pt x="54" y="124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3"/>
                      <a:pt x="51" y="0"/>
                      <a:pt x="47" y="0"/>
                    </a:cubicBezTo>
                    <a:close/>
                  </a:path>
                </a:pathLst>
              </a:cu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îsḷïḓe">
                <a:extLst>
                  <a:ext uri="{FF2B5EF4-FFF2-40B4-BE49-F238E27FC236}">
                    <a16:creationId xmlns:a16="http://schemas.microsoft.com/office/drawing/2014/main" id="{697B5719-1DE2-491C-9AC5-9F522C2820AC}"/>
                  </a:ext>
                </a:extLst>
              </p:cNvPr>
              <p:cNvSpPr/>
              <p:nvPr/>
            </p:nvSpPr>
            <p:spPr bwMode="auto">
              <a:xfrm>
                <a:off x="4163201" y="2608067"/>
                <a:ext cx="250063" cy="350879"/>
              </a:xfrm>
              <a:custGeom>
                <a:avLst/>
                <a:gdLst>
                  <a:gd name="T0" fmla="*/ 157 w 162"/>
                  <a:gd name="T1" fmla="*/ 151 h 228"/>
                  <a:gd name="T2" fmla="*/ 147 w 162"/>
                  <a:gd name="T3" fmla="*/ 135 h 228"/>
                  <a:gd name="T4" fmla="*/ 162 w 162"/>
                  <a:gd name="T5" fmla="*/ 117 h 228"/>
                  <a:gd name="T6" fmla="*/ 144 w 162"/>
                  <a:gd name="T7" fmla="*/ 99 h 228"/>
                  <a:gd name="T8" fmla="*/ 79 w 162"/>
                  <a:gd name="T9" fmla="*/ 99 h 228"/>
                  <a:gd name="T10" fmla="*/ 95 w 162"/>
                  <a:gd name="T11" fmla="*/ 53 h 228"/>
                  <a:gd name="T12" fmla="*/ 75 w 162"/>
                  <a:gd name="T13" fmla="*/ 2 h 228"/>
                  <a:gd name="T14" fmla="*/ 56 w 162"/>
                  <a:gd name="T15" fmla="*/ 40 h 228"/>
                  <a:gd name="T16" fmla="*/ 1 w 162"/>
                  <a:gd name="T17" fmla="*/ 115 h 228"/>
                  <a:gd name="T18" fmla="*/ 1 w 162"/>
                  <a:gd name="T19" fmla="*/ 208 h 228"/>
                  <a:gd name="T20" fmla="*/ 19 w 162"/>
                  <a:gd name="T21" fmla="*/ 228 h 228"/>
                  <a:gd name="T22" fmla="*/ 21 w 162"/>
                  <a:gd name="T23" fmla="*/ 228 h 228"/>
                  <a:gd name="T24" fmla="*/ 137 w 162"/>
                  <a:gd name="T25" fmla="*/ 228 h 228"/>
                  <a:gd name="T26" fmla="*/ 152 w 162"/>
                  <a:gd name="T27" fmla="*/ 213 h 228"/>
                  <a:gd name="T28" fmla="*/ 137 w 162"/>
                  <a:gd name="T29" fmla="*/ 199 h 228"/>
                  <a:gd name="T30" fmla="*/ 140 w 162"/>
                  <a:gd name="T31" fmla="*/ 199 h 228"/>
                  <a:gd name="T32" fmla="*/ 155 w 162"/>
                  <a:gd name="T33" fmla="*/ 184 h 228"/>
                  <a:gd name="T34" fmla="*/ 140 w 162"/>
                  <a:gd name="T35" fmla="*/ 169 h 228"/>
                  <a:gd name="T36" fmla="*/ 139 w 162"/>
                  <a:gd name="T37" fmla="*/ 169 h 228"/>
                  <a:gd name="T38" fmla="*/ 157 w 162"/>
                  <a:gd name="T39" fmla="*/ 15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2" h="228">
                    <a:moveTo>
                      <a:pt x="157" y="151"/>
                    </a:moveTo>
                    <a:cubicBezTo>
                      <a:pt x="157" y="144"/>
                      <a:pt x="153" y="138"/>
                      <a:pt x="147" y="135"/>
                    </a:cubicBezTo>
                    <a:cubicBezTo>
                      <a:pt x="156" y="134"/>
                      <a:pt x="162" y="126"/>
                      <a:pt x="162" y="117"/>
                    </a:cubicBezTo>
                    <a:cubicBezTo>
                      <a:pt x="162" y="107"/>
                      <a:pt x="154" y="99"/>
                      <a:pt x="144" y="99"/>
                    </a:cubicBezTo>
                    <a:cubicBezTo>
                      <a:pt x="79" y="99"/>
                      <a:pt x="79" y="99"/>
                      <a:pt x="79" y="99"/>
                    </a:cubicBezTo>
                    <a:cubicBezTo>
                      <a:pt x="79" y="99"/>
                      <a:pt x="90" y="80"/>
                      <a:pt x="95" y="53"/>
                    </a:cubicBezTo>
                    <a:cubicBezTo>
                      <a:pt x="99" y="26"/>
                      <a:pt x="92" y="4"/>
                      <a:pt x="75" y="2"/>
                    </a:cubicBezTo>
                    <a:cubicBezTo>
                      <a:pt x="75" y="2"/>
                      <a:pt x="51" y="0"/>
                      <a:pt x="56" y="40"/>
                    </a:cubicBezTo>
                    <a:cubicBezTo>
                      <a:pt x="56" y="40"/>
                      <a:pt x="27" y="81"/>
                      <a:pt x="1" y="115"/>
                    </a:cubicBezTo>
                    <a:cubicBezTo>
                      <a:pt x="1" y="208"/>
                      <a:pt x="1" y="208"/>
                      <a:pt x="1" y="208"/>
                    </a:cubicBezTo>
                    <a:cubicBezTo>
                      <a:pt x="1" y="208"/>
                      <a:pt x="0" y="227"/>
                      <a:pt x="19" y="228"/>
                    </a:cubicBezTo>
                    <a:cubicBezTo>
                      <a:pt x="20" y="228"/>
                      <a:pt x="20" y="228"/>
                      <a:pt x="21" y="228"/>
                    </a:cubicBezTo>
                    <a:cubicBezTo>
                      <a:pt x="137" y="228"/>
                      <a:pt x="137" y="228"/>
                      <a:pt x="137" y="228"/>
                    </a:cubicBezTo>
                    <a:cubicBezTo>
                      <a:pt x="145" y="228"/>
                      <a:pt x="152" y="222"/>
                      <a:pt x="152" y="213"/>
                    </a:cubicBezTo>
                    <a:cubicBezTo>
                      <a:pt x="152" y="205"/>
                      <a:pt x="145" y="199"/>
                      <a:pt x="137" y="199"/>
                    </a:cubicBezTo>
                    <a:cubicBezTo>
                      <a:pt x="140" y="199"/>
                      <a:pt x="140" y="199"/>
                      <a:pt x="140" y="199"/>
                    </a:cubicBezTo>
                    <a:cubicBezTo>
                      <a:pt x="148" y="199"/>
                      <a:pt x="155" y="192"/>
                      <a:pt x="155" y="184"/>
                    </a:cubicBezTo>
                    <a:cubicBezTo>
                      <a:pt x="155" y="176"/>
                      <a:pt x="148" y="169"/>
                      <a:pt x="140" y="169"/>
                    </a:cubicBezTo>
                    <a:cubicBezTo>
                      <a:pt x="139" y="169"/>
                      <a:pt x="139" y="169"/>
                      <a:pt x="139" y="169"/>
                    </a:cubicBezTo>
                    <a:cubicBezTo>
                      <a:pt x="149" y="169"/>
                      <a:pt x="157" y="161"/>
                      <a:pt x="157" y="151"/>
                    </a:cubicBezTo>
                    <a:close/>
                  </a:path>
                </a:pathLst>
              </a:cu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9" name="íŝliḓe">
              <a:extLst>
                <a:ext uri="{FF2B5EF4-FFF2-40B4-BE49-F238E27FC236}">
                  <a16:creationId xmlns:a16="http://schemas.microsoft.com/office/drawing/2014/main" id="{487BEF60-A38F-4899-B6AF-698755042EFF}"/>
                </a:ext>
              </a:extLst>
            </p:cNvPr>
            <p:cNvGrpSpPr/>
            <p:nvPr/>
          </p:nvGrpSpPr>
          <p:grpSpPr>
            <a:xfrm>
              <a:off x="4375705" y="1438800"/>
              <a:ext cx="707688" cy="694839"/>
              <a:chOff x="4375705" y="1438800"/>
              <a:chExt cx="707688" cy="694839"/>
            </a:xfrm>
          </p:grpSpPr>
          <p:sp>
            <p:nvSpPr>
              <p:cNvPr id="59" name="ïśḷide">
                <a:extLst>
                  <a:ext uri="{FF2B5EF4-FFF2-40B4-BE49-F238E27FC236}">
                    <a16:creationId xmlns:a16="http://schemas.microsoft.com/office/drawing/2014/main" id="{AF98C767-7C01-4B9C-A52D-EE2D3582FE8B}"/>
                  </a:ext>
                </a:extLst>
              </p:cNvPr>
              <p:cNvSpPr/>
              <p:nvPr/>
            </p:nvSpPr>
            <p:spPr bwMode="auto">
              <a:xfrm>
                <a:off x="4375705" y="1438800"/>
                <a:ext cx="694839" cy="694839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íṣ1îdê">
                <a:extLst>
                  <a:ext uri="{FF2B5EF4-FFF2-40B4-BE49-F238E27FC236}">
                    <a16:creationId xmlns:a16="http://schemas.microsoft.com/office/drawing/2014/main" id="{E4B8A962-694D-43CD-B4D0-38A91F3B5931}"/>
                  </a:ext>
                </a:extLst>
              </p:cNvPr>
              <p:cNvSpPr/>
              <p:nvPr/>
            </p:nvSpPr>
            <p:spPr bwMode="auto">
              <a:xfrm>
                <a:off x="4929204" y="1885553"/>
                <a:ext cx="154189" cy="155177"/>
              </a:xfrm>
              <a:custGeom>
                <a:avLst/>
                <a:gdLst>
                  <a:gd name="T0" fmla="*/ 0 w 156"/>
                  <a:gd name="T1" fmla="*/ 29 h 157"/>
                  <a:gd name="T2" fmla="*/ 128 w 156"/>
                  <a:gd name="T3" fmla="*/ 0 h 157"/>
                  <a:gd name="T4" fmla="*/ 156 w 156"/>
                  <a:gd name="T5" fmla="*/ 129 h 157"/>
                  <a:gd name="T6" fmla="*/ 28 w 156"/>
                  <a:gd name="T7" fmla="*/ 157 h 157"/>
                  <a:gd name="T8" fmla="*/ 0 w 156"/>
                  <a:gd name="T9" fmla="*/ 29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57">
                    <a:moveTo>
                      <a:pt x="0" y="29"/>
                    </a:moveTo>
                    <a:lnTo>
                      <a:pt x="128" y="0"/>
                    </a:lnTo>
                    <a:lnTo>
                      <a:pt x="156" y="129"/>
                    </a:lnTo>
                    <a:lnTo>
                      <a:pt x="28" y="157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ïṧḻïḑê">
                <a:extLst>
                  <a:ext uri="{FF2B5EF4-FFF2-40B4-BE49-F238E27FC236}">
                    <a16:creationId xmlns:a16="http://schemas.microsoft.com/office/drawing/2014/main" id="{2A94578F-ACA4-4E13-AF76-23803F39D535}"/>
                  </a:ext>
                </a:extLst>
              </p:cNvPr>
              <p:cNvSpPr/>
              <p:nvPr/>
            </p:nvSpPr>
            <p:spPr bwMode="auto">
              <a:xfrm>
                <a:off x="4414253" y="1478336"/>
                <a:ext cx="618733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îṡľíďé">
                <a:extLst>
                  <a:ext uri="{FF2B5EF4-FFF2-40B4-BE49-F238E27FC236}">
                    <a16:creationId xmlns:a16="http://schemas.microsoft.com/office/drawing/2014/main" id="{751D60BB-C55D-4E7C-BF8C-0451A7FAD108}"/>
                  </a:ext>
                </a:extLst>
              </p:cNvPr>
              <p:cNvSpPr/>
              <p:nvPr/>
            </p:nvSpPr>
            <p:spPr bwMode="auto">
              <a:xfrm>
                <a:off x="4486405" y="1631536"/>
                <a:ext cx="458613" cy="373612"/>
              </a:xfrm>
              <a:custGeom>
                <a:avLst/>
                <a:gdLst>
                  <a:gd name="T0" fmla="*/ 298 w 298"/>
                  <a:gd name="T1" fmla="*/ 75 h 243"/>
                  <a:gd name="T2" fmla="*/ 223 w 298"/>
                  <a:gd name="T3" fmla="*/ 0 h 243"/>
                  <a:gd name="T4" fmla="*/ 154 w 298"/>
                  <a:gd name="T5" fmla="*/ 45 h 243"/>
                  <a:gd name="T6" fmla="*/ 85 w 298"/>
                  <a:gd name="T7" fmla="*/ 0 h 243"/>
                  <a:gd name="T8" fmla="*/ 10 w 298"/>
                  <a:gd name="T9" fmla="*/ 75 h 243"/>
                  <a:gd name="T10" fmla="*/ 154 w 298"/>
                  <a:gd name="T11" fmla="*/ 243 h 243"/>
                  <a:gd name="T12" fmla="*/ 295 w 298"/>
                  <a:gd name="T13" fmla="*/ 94 h 243"/>
                  <a:gd name="T14" fmla="*/ 298 w 298"/>
                  <a:gd name="T15" fmla="*/ 75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8" h="243">
                    <a:moveTo>
                      <a:pt x="298" y="75"/>
                    </a:moveTo>
                    <a:cubicBezTo>
                      <a:pt x="298" y="34"/>
                      <a:pt x="264" y="0"/>
                      <a:pt x="223" y="0"/>
                    </a:cubicBezTo>
                    <a:cubicBezTo>
                      <a:pt x="192" y="0"/>
                      <a:pt x="165" y="18"/>
                      <a:pt x="154" y="45"/>
                    </a:cubicBezTo>
                    <a:cubicBezTo>
                      <a:pt x="142" y="18"/>
                      <a:pt x="116" y="0"/>
                      <a:pt x="85" y="0"/>
                    </a:cubicBezTo>
                    <a:cubicBezTo>
                      <a:pt x="43" y="0"/>
                      <a:pt x="10" y="34"/>
                      <a:pt x="10" y="75"/>
                    </a:cubicBezTo>
                    <a:cubicBezTo>
                      <a:pt x="10" y="75"/>
                      <a:pt x="0" y="153"/>
                      <a:pt x="154" y="243"/>
                    </a:cubicBezTo>
                    <a:cubicBezTo>
                      <a:pt x="261" y="180"/>
                      <a:pt x="289" y="123"/>
                      <a:pt x="295" y="94"/>
                    </a:cubicBezTo>
                    <a:cubicBezTo>
                      <a:pt x="297" y="88"/>
                      <a:pt x="298" y="82"/>
                      <a:pt x="298" y="75"/>
                    </a:cubicBezTo>
                    <a:close/>
                  </a:path>
                </a:pathLst>
              </a:custGeom>
              <a:solidFill>
                <a:srgbClr val="F44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20" name="ïśḻîḑê">
              <a:extLst>
                <a:ext uri="{FF2B5EF4-FFF2-40B4-BE49-F238E27FC236}">
                  <a16:creationId xmlns:a16="http://schemas.microsoft.com/office/drawing/2014/main" id="{BE27DDBD-9186-4612-9EAC-B914BD3EB387}"/>
                </a:ext>
              </a:extLst>
            </p:cNvPr>
            <p:cNvGrpSpPr/>
            <p:nvPr/>
          </p:nvGrpSpPr>
          <p:grpSpPr>
            <a:xfrm>
              <a:off x="5186186" y="2188989"/>
              <a:ext cx="694839" cy="772921"/>
              <a:chOff x="5186186" y="2188989"/>
              <a:chExt cx="694839" cy="772921"/>
            </a:xfrm>
          </p:grpSpPr>
          <p:sp>
            <p:nvSpPr>
              <p:cNvPr id="51" name="iSḻíḋé">
                <a:extLst>
                  <a:ext uri="{FF2B5EF4-FFF2-40B4-BE49-F238E27FC236}">
                    <a16:creationId xmlns:a16="http://schemas.microsoft.com/office/drawing/2014/main" id="{B123B63E-AAD4-430E-822E-954799EF40DE}"/>
                  </a:ext>
                </a:extLst>
              </p:cNvPr>
              <p:cNvSpPr/>
              <p:nvPr/>
            </p:nvSpPr>
            <p:spPr bwMode="auto">
              <a:xfrm>
                <a:off x="5443168" y="2779058"/>
                <a:ext cx="182852" cy="182852"/>
              </a:xfrm>
              <a:custGeom>
                <a:avLst/>
                <a:gdLst>
                  <a:gd name="T0" fmla="*/ 0 w 185"/>
                  <a:gd name="T1" fmla="*/ 91 h 185"/>
                  <a:gd name="T2" fmla="*/ 92 w 185"/>
                  <a:gd name="T3" fmla="*/ 0 h 185"/>
                  <a:gd name="T4" fmla="*/ 185 w 185"/>
                  <a:gd name="T5" fmla="*/ 91 h 185"/>
                  <a:gd name="T6" fmla="*/ 92 w 185"/>
                  <a:gd name="T7" fmla="*/ 185 h 185"/>
                  <a:gd name="T8" fmla="*/ 0 w 185"/>
                  <a:gd name="T9" fmla="*/ 91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85">
                    <a:moveTo>
                      <a:pt x="0" y="91"/>
                    </a:moveTo>
                    <a:lnTo>
                      <a:pt x="92" y="0"/>
                    </a:lnTo>
                    <a:lnTo>
                      <a:pt x="185" y="91"/>
                    </a:lnTo>
                    <a:lnTo>
                      <a:pt x="92" y="185"/>
                    </a:lnTo>
                    <a:lnTo>
                      <a:pt x="0" y="91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ïṩļiḋê">
                <a:extLst>
                  <a:ext uri="{FF2B5EF4-FFF2-40B4-BE49-F238E27FC236}">
                    <a16:creationId xmlns:a16="http://schemas.microsoft.com/office/drawing/2014/main" id="{7A9E22F0-4896-4762-AA97-47A8DE33D860}"/>
                  </a:ext>
                </a:extLst>
              </p:cNvPr>
              <p:cNvSpPr/>
              <p:nvPr/>
            </p:nvSpPr>
            <p:spPr bwMode="auto">
              <a:xfrm>
                <a:off x="5186186" y="2188989"/>
                <a:ext cx="694839" cy="695827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iSliḋè">
                <a:extLst>
                  <a:ext uri="{FF2B5EF4-FFF2-40B4-BE49-F238E27FC236}">
                    <a16:creationId xmlns:a16="http://schemas.microsoft.com/office/drawing/2014/main" id="{08E29FA2-BD98-4E53-838B-7555B6B1377C}"/>
                  </a:ext>
                </a:extLst>
              </p:cNvPr>
              <p:cNvSpPr/>
              <p:nvPr/>
            </p:nvSpPr>
            <p:spPr bwMode="auto">
              <a:xfrm>
                <a:off x="5224733" y="2229513"/>
                <a:ext cx="617744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íŝļíḓê">
                <a:extLst>
                  <a:ext uri="{FF2B5EF4-FFF2-40B4-BE49-F238E27FC236}">
                    <a16:creationId xmlns:a16="http://schemas.microsoft.com/office/drawing/2014/main" id="{6261F9F1-2709-4658-BC41-1DFE1B589293}"/>
                  </a:ext>
                </a:extLst>
              </p:cNvPr>
              <p:cNvSpPr/>
              <p:nvPr/>
            </p:nvSpPr>
            <p:spPr bwMode="auto">
              <a:xfrm>
                <a:off x="5326538" y="2322422"/>
                <a:ext cx="416113" cy="418089"/>
              </a:xfrm>
              <a:prstGeom prst="ellipse">
                <a:avLst/>
              </a:prstGeom>
              <a:solidFill>
                <a:srgbClr val="FAE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íṣļïḋè">
                <a:extLst>
                  <a:ext uri="{FF2B5EF4-FFF2-40B4-BE49-F238E27FC236}">
                    <a16:creationId xmlns:a16="http://schemas.microsoft.com/office/drawing/2014/main" id="{0D671A05-DFC4-4C10-B0F0-254008E56B00}"/>
                  </a:ext>
                </a:extLst>
              </p:cNvPr>
              <p:cNvSpPr/>
              <p:nvPr/>
            </p:nvSpPr>
            <p:spPr bwMode="auto">
              <a:xfrm>
                <a:off x="5401655" y="2531960"/>
                <a:ext cx="265877" cy="133433"/>
              </a:xfrm>
              <a:custGeom>
                <a:avLst/>
                <a:gdLst>
                  <a:gd name="T0" fmla="*/ 87 w 173"/>
                  <a:gd name="T1" fmla="*/ 87 h 87"/>
                  <a:gd name="T2" fmla="*/ 173 w 173"/>
                  <a:gd name="T3" fmla="*/ 0 h 87"/>
                  <a:gd name="T4" fmla="*/ 0 w 173"/>
                  <a:gd name="T5" fmla="*/ 0 h 87"/>
                  <a:gd name="T6" fmla="*/ 87 w 173"/>
                  <a:gd name="T7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3" h="87">
                    <a:moveTo>
                      <a:pt x="87" y="87"/>
                    </a:moveTo>
                    <a:cubicBezTo>
                      <a:pt x="134" y="87"/>
                      <a:pt x="173" y="48"/>
                      <a:pt x="1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39" y="87"/>
                      <a:pt x="87" y="87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îŝľiďe">
                <a:extLst>
                  <a:ext uri="{FF2B5EF4-FFF2-40B4-BE49-F238E27FC236}">
                    <a16:creationId xmlns:a16="http://schemas.microsoft.com/office/drawing/2014/main" id="{FB5C97D4-0702-413F-A242-3BF7255B9543}"/>
                  </a:ext>
                </a:extLst>
              </p:cNvPr>
              <p:cNvSpPr/>
              <p:nvPr/>
            </p:nvSpPr>
            <p:spPr bwMode="auto">
              <a:xfrm>
                <a:off x="5415493" y="2571496"/>
                <a:ext cx="238202" cy="93897"/>
              </a:xfrm>
              <a:custGeom>
                <a:avLst/>
                <a:gdLst>
                  <a:gd name="T0" fmla="*/ 78 w 155"/>
                  <a:gd name="T1" fmla="*/ 0 h 61"/>
                  <a:gd name="T2" fmla="*/ 0 w 155"/>
                  <a:gd name="T3" fmla="*/ 13 h 61"/>
                  <a:gd name="T4" fmla="*/ 78 w 155"/>
                  <a:gd name="T5" fmla="*/ 61 h 61"/>
                  <a:gd name="T6" fmla="*/ 155 w 155"/>
                  <a:gd name="T7" fmla="*/ 13 h 61"/>
                  <a:gd name="T8" fmla="*/ 78 w 155"/>
                  <a:gd name="T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" h="61">
                    <a:moveTo>
                      <a:pt x="78" y="0"/>
                    </a:moveTo>
                    <a:cubicBezTo>
                      <a:pt x="50" y="0"/>
                      <a:pt x="24" y="5"/>
                      <a:pt x="0" y="13"/>
                    </a:cubicBezTo>
                    <a:cubicBezTo>
                      <a:pt x="14" y="41"/>
                      <a:pt x="44" y="61"/>
                      <a:pt x="78" y="61"/>
                    </a:cubicBezTo>
                    <a:cubicBezTo>
                      <a:pt x="111" y="61"/>
                      <a:pt x="141" y="41"/>
                      <a:pt x="155" y="13"/>
                    </a:cubicBezTo>
                    <a:cubicBezTo>
                      <a:pt x="131" y="5"/>
                      <a:pt x="105" y="0"/>
                      <a:pt x="78" y="0"/>
                    </a:cubicBezTo>
                    <a:close/>
                  </a:path>
                </a:pathLst>
              </a:custGeom>
              <a:solidFill>
                <a:srgbClr val="F44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işľîďé">
                <a:extLst>
                  <a:ext uri="{FF2B5EF4-FFF2-40B4-BE49-F238E27FC236}">
                    <a16:creationId xmlns:a16="http://schemas.microsoft.com/office/drawing/2014/main" id="{3B1E440B-D8C8-4A5D-8E70-9D829FE4AA25}"/>
                  </a:ext>
                </a:extLst>
              </p:cNvPr>
              <p:cNvSpPr/>
              <p:nvPr/>
            </p:nvSpPr>
            <p:spPr bwMode="auto">
              <a:xfrm>
                <a:off x="5590438" y="2426203"/>
                <a:ext cx="77095" cy="65234"/>
              </a:xfrm>
              <a:custGeom>
                <a:avLst/>
                <a:gdLst>
                  <a:gd name="T0" fmla="*/ 45 w 50"/>
                  <a:gd name="T1" fmla="*/ 31 h 43"/>
                  <a:gd name="T2" fmla="*/ 21 w 50"/>
                  <a:gd name="T3" fmla="*/ 23 h 43"/>
                  <a:gd name="T4" fmla="*/ 44 w 50"/>
                  <a:gd name="T5" fmla="*/ 12 h 43"/>
                  <a:gd name="T6" fmla="*/ 47 w 50"/>
                  <a:gd name="T7" fmla="*/ 4 h 43"/>
                  <a:gd name="T8" fmla="*/ 39 w 50"/>
                  <a:gd name="T9" fmla="*/ 1 h 43"/>
                  <a:gd name="T10" fmla="*/ 4 w 50"/>
                  <a:gd name="T11" fmla="*/ 19 h 43"/>
                  <a:gd name="T12" fmla="*/ 4 w 50"/>
                  <a:gd name="T13" fmla="*/ 19 h 43"/>
                  <a:gd name="T14" fmla="*/ 4 w 50"/>
                  <a:gd name="T15" fmla="*/ 19 h 43"/>
                  <a:gd name="T16" fmla="*/ 4 w 50"/>
                  <a:gd name="T17" fmla="*/ 19 h 43"/>
                  <a:gd name="T18" fmla="*/ 3 w 50"/>
                  <a:gd name="T19" fmla="*/ 19 h 43"/>
                  <a:gd name="T20" fmla="*/ 2 w 50"/>
                  <a:gd name="T21" fmla="*/ 20 h 43"/>
                  <a:gd name="T22" fmla="*/ 2 w 50"/>
                  <a:gd name="T23" fmla="*/ 20 h 43"/>
                  <a:gd name="T24" fmla="*/ 2 w 50"/>
                  <a:gd name="T25" fmla="*/ 20 h 43"/>
                  <a:gd name="T26" fmla="*/ 1 w 50"/>
                  <a:gd name="T27" fmla="*/ 21 h 43"/>
                  <a:gd name="T28" fmla="*/ 1 w 50"/>
                  <a:gd name="T29" fmla="*/ 26 h 43"/>
                  <a:gd name="T30" fmla="*/ 5 w 50"/>
                  <a:gd name="T31" fmla="*/ 29 h 43"/>
                  <a:gd name="T32" fmla="*/ 42 w 50"/>
                  <a:gd name="T33" fmla="*/ 42 h 43"/>
                  <a:gd name="T34" fmla="*/ 49 w 50"/>
                  <a:gd name="T35" fmla="*/ 38 h 43"/>
                  <a:gd name="T36" fmla="*/ 45 w 50"/>
                  <a:gd name="T3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43">
                    <a:moveTo>
                      <a:pt x="45" y="31"/>
                    </a:moveTo>
                    <a:cubicBezTo>
                      <a:pt x="21" y="23"/>
                      <a:pt x="21" y="23"/>
                      <a:pt x="21" y="23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7" y="10"/>
                      <a:pt x="48" y="7"/>
                      <a:pt x="47" y="4"/>
                    </a:cubicBezTo>
                    <a:cubicBezTo>
                      <a:pt x="45" y="1"/>
                      <a:pt x="42" y="0"/>
                      <a:pt x="39" y="1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1"/>
                      <a:pt x="1" y="21"/>
                      <a:pt x="1" y="21"/>
                    </a:cubicBezTo>
                    <a:cubicBezTo>
                      <a:pt x="0" y="22"/>
                      <a:pt x="0" y="24"/>
                      <a:pt x="1" y="26"/>
                    </a:cubicBezTo>
                    <a:cubicBezTo>
                      <a:pt x="2" y="28"/>
                      <a:pt x="3" y="29"/>
                      <a:pt x="5" y="29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5" y="43"/>
                      <a:pt x="48" y="41"/>
                      <a:pt x="49" y="38"/>
                    </a:cubicBezTo>
                    <a:cubicBezTo>
                      <a:pt x="50" y="35"/>
                      <a:pt x="48" y="32"/>
                      <a:pt x="45" y="31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íṧļïḓè">
                <a:extLst>
                  <a:ext uri="{FF2B5EF4-FFF2-40B4-BE49-F238E27FC236}">
                    <a16:creationId xmlns:a16="http://schemas.microsoft.com/office/drawing/2014/main" id="{D2C8896C-2008-4B49-84CB-03F813719E7F}"/>
                  </a:ext>
                </a:extLst>
              </p:cNvPr>
              <p:cNvSpPr/>
              <p:nvPr/>
            </p:nvSpPr>
            <p:spPr bwMode="auto">
              <a:xfrm>
                <a:off x="5405609" y="2426203"/>
                <a:ext cx="76106" cy="65234"/>
              </a:xfrm>
              <a:custGeom>
                <a:avLst/>
                <a:gdLst>
                  <a:gd name="T0" fmla="*/ 4 w 49"/>
                  <a:gd name="T1" fmla="*/ 31 h 43"/>
                  <a:gd name="T2" fmla="*/ 28 w 49"/>
                  <a:gd name="T3" fmla="*/ 23 h 43"/>
                  <a:gd name="T4" fmla="*/ 5 w 49"/>
                  <a:gd name="T5" fmla="*/ 12 h 43"/>
                  <a:gd name="T6" fmla="*/ 3 w 49"/>
                  <a:gd name="T7" fmla="*/ 4 h 43"/>
                  <a:gd name="T8" fmla="*/ 10 w 49"/>
                  <a:gd name="T9" fmla="*/ 1 h 43"/>
                  <a:gd name="T10" fmla="*/ 46 w 49"/>
                  <a:gd name="T11" fmla="*/ 19 h 43"/>
                  <a:gd name="T12" fmla="*/ 46 w 49"/>
                  <a:gd name="T13" fmla="*/ 19 h 43"/>
                  <a:gd name="T14" fmla="*/ 46 w 49"/>
                  <a:gd name="T15" fmla="*/ 19 h 43"/>
                  <a:gd name="T16" fmla="*/ 46 w 49"/>
                  <a:gd name="T17" fmla="*/ 19 h 43"/>
                  <a:gd name="T18" fmla="*/ 47 w 49"/>
                  <a:gd name="T19" fmla="*/ 19 h 43"/>
                  <a:gd name="T20" fmla="*/ 47 w 49"/>
                  <a:gd name="T21" fmla="*/ 20 h 43"/>
                  <a:gd name="T22" fmla="*/ 48 w 49"/>
                  <a:gd name="T23" fmla="*/ 20 h 43"/>
                  <a:gd name="T24" fmla="*/ 48 w 49"/>
                  <a:gd name="T25" fmla="*/ 20 h 43"/>
                  <a:gd name="T26" fmla="*/ 48 w 49"/>
                  <a:gd name="T27" fmla="*/ 21 h 43"/>
                  <a:gd name="T28" fmla="*/ 48 w 49"/>
                  <a:gd name="T29" fmla="*/ 26 h 43"/>
                  <a:gd name="T30" fmla="*/ 45 w 49"/>
                  <a:gd name="T31" fmla="*/ 29 h 43"/>
                  <a:gd name="T32" fmla="*/ 8 w 49"/>
                  <a:gd name="T33" fmla="*/ 42 h 43"/>
                  <a:gd name="T34" fmla="*/ 1 w 49"/>
                  <a:gd name="T35" fmla="*/ 38 h 43"/>
                  <a:gd name="T36" fmla="*/ 4 w 49"/>
                  <a:gd name="T3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9" h="43">
                    <a:moveTo>
                      <a:pt x="4" y="31"/>
                    </a:moveTo>
                    <a:cubicBezTo>
                      <a:pt x="28" y="23"/>
                      <a:pt x="28" y="23"/>
                      <a:pt x="28" y="23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3" y="10"/>
                      <a:pt x="1" y="7"/>
                      <a:pt x="3" y="4"/>
                    </a:cubicBezTo>
                    <a:cubicBezTo>
                      <a:pt x="4" y="1"/>
                      <a:pt x="8" y="0"/>
                      <a:pt x="10" y="1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7" y="19"/>
                      <a:pt x="47" y="19"/>
                    </a:cubicBezTo>
                    <a:cubicBezTo>
                      <a:pt x="47" y="19"/>
                      <a:pt x="47" y="19"/>
                      <a:pt x="47" y="20"/>
                    </a:cubicBezTo>
                    <a:cubicBezTo>
                      <a:pt x="47" y="20"/>
                      <a:pt x="47" y="20"/>
                      <a:pt x="48" y="20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1"/>
                      <a:pt x="48" y="21"/>
                      <a:pt x="48" y="21"/>
                    </a:cubicBezTo>
                    <a:cubicBezTo>
                      <a:pt x="49" y="22"/>
                      <a:pt x="49" y="24"/>
                      <a:pt x="48" y="26"/>
                    </a:cubicBezTo>
                    <a:cubicBezTo>
                      <a:pt x="48" y="28"/>
                      <a:pt x="46" y="29"/>
                      <a:pt x="45" y="29"/>
                    </a:cubicBezTo>
                    <a:cubicBezTo>
                      <a:pt x="8" y="42"/>
                      <a:pt x="8" y="42"/>
                      <a:pt x="8" y="42"/>
                    </a:cubicBezTo>
                    <a:cubicBezTo>
                      <a:pt x="5" y="43"/>
                      <a:pt x="2" y="41"/>
                      <a:pt x="1" y="38"/>
                    </a:cubicBezTo>
                    <a:cubicBezTo>
                      <a:pt x="0" y="35"/>
                      <a:pt x="1" y="32"/>
                      <a:pt x="4" y="31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21" name="iṩḻide">
              <a:extLst>
                <a:ext uri="{FF2B5EF4-FFF2-40B4-BE49-F238E27FC236}">
                  <a16:creationId xmlns:a16="http://schemas.microsoft.com/office/drawing/2014/main" id="{46C5CA4B-1C0C-4818-9DC3-C45152333213}"/>
                </a:ext>
              </a:extLst>
            </p:cNvPr>
            <p:cNvGrpSpPr/>
            <p:nvPr/>
          </p:nvGrpSpPr>
          <p:grpSpPr>
            <a:xfrm>
              <a:off x="6311963" y="2188989"/>
              <a:ext cx="696816" cy="772921"/>
              <a:chOff x="6311963" y="2188989"/>
              <a:chExt cx="696816" cy="772921"/>
            </a:xfrm>
          </p:grpSpPr>
          <p:sp>
            <p:nvSpPr>
              <p:cNvPr id="42" name="îṥ1ïďe">
                <a:extLst>
                  <a:ext uri="{FF2B5EF4-FFF2-40B4-BE49-F238E27FC236}">
                    <a16:creationId xmlns:a16="http://schemas.microsoft.com/office/drawing/2014/main" id="{4AB60098-EDBE-4F0F-A843-2A114BA33D8D}"/>
                  </a:ext>
                </a:extLst>
              </p:cNvPr>
              <p:cNvSpPr/>
              <p:nvPr/>
            </p:nvSpPr>
            <p:spPr bwMode="auto">
              <a:xfrm>
                <a:off x="6568945" y="2779058"/>
                <a:ext cx="182852" cy="182852"/>
              </a:xfrm>
              <a:custGeom>
                <a:avLst/>
                <a:gdLst>
                  <a:gd name="T0" fmla="*/ 185 w 185"/>
                  <a:gd name="T1" fmla="*/ 91 h 185"/>
                  <a:gd name="T2" fmla="*/ 93 w 185"/>
                  <a:gd name="T3" fmla="*/ 0 h 185"/>
                  <a:gd name="T4" fmla="*/ 0 w 185"/>
                  <a:gd name="T5" fmla="*/ 91 h 185"/>
                  <a:gd name="T6" fmla="*/ 93 w 185"/>
                  <a:gd name="T7" fmla="*/ 185 h 185"/>
                  <a:gd name="T8" fmla="*/ 185 w 185"/>
                  <a:gd name="T9" fmla="*/ 91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85">
                    <a:moveTo>
                      <a:pt x="185" y="91"/>
                    </a:moveTo>
                    <a:lnTo>
                      <a:pt x="93" y="0"/>
                    </a:lnTo>
                    <a:lnTo>
                      <a:pt x="0" y="91"/>
                    </a:lnTo>
                    <a:lnTo>
                      <a:pt x="93" y="185"/>
                    </a:lnTo>
                    <a:lnTo>
                      <a:pt x="185" y="91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ïşliďé">
                <a:extLst>
                  <a:ext uri="{FF2B5EF4-FFF2-40B4-BE49-F238E27FC236}">
                    <a16:creationId xmlns:a16="http://schemas.microsoft.com/office/drawing/2014/main" id="{7390E55C-5A9E-47A9-89E1-2BD7C562DB84}"/>
                  </a:ext>
                </a:extLst>
              </p:cNvPr>
              <p:cNvSpPr/>
              <p:nvPr/>
            </p:nvSpPr>
            <p:spPr bwMode="auto">
              <a:xfrm>
                <a:off x="6311963" y="2188989"/>
                <a:ext cx="696816" cy="695827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ïşlíḍé">
                <a:extLst>
                  <a:ext uri="{FF2B5EF4-FFF2-40B4-BE49-F238E27FC236}">
                    <a16:creationId xmlns:a16="http://schemas.microsoft.com/office/drawing/2014/main" id="{6C9D2ABA-3ACB-4B6F-B8CF-439B05381F0F}"/>
                  </a:ext>
                </a:extLst>
              </p:cNvPr>
              <p:cNvSpPr/>
              <p:nvPr/>
            </p:nvSpPr>
            <p:spPr bwMode="auto">
              <a:xfrm>
                <a:off x="6351499" y="2229513"/>
                <a:ext cx="616756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îş1íďè">
                <a:extLst>
                  <a:ext uri="{FF2B5EF4-FFF2-40B4-BE49-F238E27FC236}">
                    <a16:creationId xmlns:a16="http://schemas.microsoft.com/office/drawing/2014/main" id="{5F650C3B-7D08-4D20-A674-38E5D17DE67C}"/>
                  </a:ext>
                </a:extLst>
              </p:cNvPr>
              <p:cNvSpPr/>
              <p:nvPr/>
            </p:nvSpPr>
            <p:spPr bwMode="auto">
              <a:xfrm>
                <a:off x="6451327" y="2322422"/>
                <a:ext cx="417101" cy="418089"/>
              </a:xfrm>
              <a:prstGeom prst="ellipse">
                <a:avLst/>
              </a:prstGeom>
              <a:solidFill>
                <a:srgbClr val="FAE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ïŝḷïďê">
                <a:extLst>
                  <a:ext uri="{FF2B5EF4-FFF2-40B4-BE49-F238E27FC236}">
                    <a16:creationId xmlns:a16="http://schemas.microsoft.com/office/drawing/2014/main" id="{33374B65-DE24-442B-BE71-89C3860DECB1}"/>
                  </a:ext>
                </a:extLst>
              </p:cNvPr>
              <p:cNvSpPr/>
              <p:nvPr/>
            </p:nvSpPr>
            <p:spPr bwMode="auto">
              <a:xfrm>
                <a:off x="6602550" y="2540856"/>
                <a:ext cx="115642" cy="163085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íṩḻiḋé">
                <a:extLst>
                  <a:ext uri="{FF2B5EF4-FFF2-40B4-BE49-F238E27FC236}">
                    <a16:creationId xmlns:a16="http://schemas.microsoft.com/office/drawing/2014/main" id="{436C90AD-0D8A-4C3D-A5B8-F859BE9EF797}"/>
                  </a:ext>
                </a:extLst>
              </p:cNvPr>
              <p:cNvSpPr/>
              <p:nvPr/>
            </p:nvSpPr>
            <p:spPr bwMode="auto">
              <a:xfrm>
                <a:off x="6528421" y="2432133"/>
                <a:ext cx="63257" cy="86978"/>
              </a:xfrm>
              <a:custGeom>
                <a:avLst/>
                <a:gdLst>
                  <a:gd name="T0" fmla="*/ 2 w 41"/>
                  <a:gd name="T1" fmla="*/ 26 h 57"/>
                  <a:gd name="T2" fmla="*/ 24 w 41"/>
                  <a:gd name="T3" fmla="*/ 1 h 57"/>
                  <a:gd name="T4" fmla="*/ 40 w 41"/>
                  <a:gd name="T5" fmla="*/ 31 h 57"/>
                  <a:gd name="T6" fmla="*/ 17 w 41"/>
                  <a:gd name="T7" fmla="*/ 55 h 57"/>
                  <a:gd name="T8" fmla="*/ 2 w 41"/>
                  <a:gd name="T9" fmla="*/ 2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7">
                    <a:moveTo>
                      <a:pt x="2" y="26"/>
                    </a:moveTo>
                    <a:cubicBezTo>
                      <a:pt x="4" y="11"/>
                      <a:pt x="13" y="0"/>
                      <a:pt x="24" y="1"/>
                    </a:cubicBezTo>
                    <a:cubicBezTo>
                      <a:pt x="34" y="3"/>
                      <a:pt x="41" y="16"/>
                      <a:pt x="40" y="31"/>
                    </a:cubicBezTo>
                    <a:cubicBezTo>
                      <a:pt x="38" y="46"/>
                      <a:pt x="28" y="57"/>
                      <a:pt x="17" y="55"/>
                    </a:cubicBezTo>
                    <a:cubicBezTo>
                      <a:pt x="7" y="54"/>
                      <a:pt x="0" y="41"/>
                      <a:pt x="2" y="2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iŝḷiḋe">
                <a:extLst>
                  <a:ext uri="{FF2B5EF4-FFF2-40B4-BE49-F238E27FC236}">
                    <a16:creationId xmlns:a16="http://schemas.microsoft.com/office/drawing/2014/main" id="{96D239CB-D2FF-4297-A021-A692D0F23C9C}"/>
                  </a:ext>
                </a:extLst>
              </p:cNvPr>
              <p:cNvSpPr/>
              <p:nvPr/>
            </p:nvSpPr>
            <p:spPr bwMode="auto">
              <a:xfrm>
                <a:off x="6534351" y="2357015"/>
                <a:ext cx="68199" cy="27675"/>
              </a:xfrm>
              <a:custGeom>
                <a:avLst/>
                <a:gdLst>
                  <a:gd name="T0" fmla="*/ 39 w 44"/>
                  <a:gd name="T1" fmla="*/ 17 h 18"/>
                  <a:gd name="T2" fmla="*/ 35 w 44"/>
                  <a:gd name="T3" fmla="*/ 15 h 18"/>
                  <a:gd name="T4" fmla="*/ 24 w 44"/>
                  <a:gd name="T5" fmla="*/ 9 h 18"/>
                  <a:gd name="T6" fmla="*/ 8 w 44"/>
                  <a:gd name="T7" fmla="*/ 16 h 18"/>
                  <a:gd name="T8" fmla="*/ 2 w 44"/>
                  <a:gd name="T9" fmla="*/ 16 h 18"/>
                  <a:gd name="T10" fmla="*/ 2 w 44"/>
                  <a:gd name="T11" fmla="*/ 9 h 18"/>
                  <a:gd name="T12" fmla="*/ 24 w 44"/>
                  <a:gd name="T13" fmla="*/ 0 h 18"/>
                  <a:gd name="T14" fmla="*/ 43 w 44"/>
                  <a:gd name="T15" fmla="*/ 10 h 18"/>
                  <a:gd name="T16" fmla="*/ 42 w 44"/>
                  <a:gd name="T17" fmla="*/ 16 h 18"/>
                  <a:gd name="T18" fmla="*/ 39 w 44"/>
                  <a:gd name="T1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18">
                    <a:moveTo>
                      <a:pt x="39" y="17"/>
                    </a:moveTo>
                    <a:cubicBezTo>
                      <a:pt x="38" y="17"/>
                      <a:pt x="36" y="16"/>
                      <a:pt x="35" y="15"/>
                    </a:cubicBezTo>
                    <a:cubicBezTo>
                      <a:pt x="35" y="15"/>
                      <a:pt x="31" y="9"/>
                      <a:pt x="24" y="9"/>
                    </a:cubicBezTo>
                    <a:cubicBezTo>
                      <a:pt x="15" y="9"/>
                      <a:pt x="8" y="16"/>
                      <a:pt x="8" y="16"/>
                    </a:cubicBezTo>
                    <a:cubicBezTo>
                      <a:pt x="6" y="18"/>
                      <a:pt x="4" y="17"/>
                      <a:pt x="2" y="16"/>
                    </a:cubicBezTo>
                    <a:cubicBezTo>
                      <a:pt x="0" y="14"/>
                      <a:pt x="0" y="11"/>
                      <a:pt x="2" y="9"/>
                    </a:cubicBezTo>
                    <a:cubicBezTo>
                      <a:pt x="2" y="9"/>
                      <a:pt x="11" y="0"/>
                      <a:pt x="24" y="0"/>
                    </a:cubicBezTo>
                    <a:cubicBezTo>
                      <a:pt x="36" y="0"/>
                      <a:pt x="43" y="10"/>
                      <a:pt x="43" y="10"/>
                    </a:cubicBezTo>
                    <a:cubicBezTo>
                      <a:pt x="44" y="12"/>
                      <a:pt x="44" y="15"/>
                      <a:pt x="42" y="16"/>
                    </a:cubicBezTo>
                    <a:cubicBezTo>
                      <a:pt x="41" y="17"/>
                      <a:pt x="40" y="17"/>
                      <a:pt x="39" y="17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ïSḻïḑê">
                <a:extLst>
                  <a:ext uri="{FF2B5EF4-FFF2-40B4-BE49-F238E27FC236}">
                    <a16:creationId xmlns:a16="http://schemas.microsoft.com/office/drawing/2014/main" id="{333E8B7C-660B-4BAD-A8D3-A99A78D2F292}"/>
                  </a:ext>
                </a:extLst>
              </p:cNvPr>
              <p:cNvSpPr/>
              <p:nvPr/>
            </p:nvSpPr>
            <p:spPr bwMode="auto">
              <a:xfrm>
                <a:off x="6724122" y="2432133"/>
                <a:ext cx="63257" cy="86978"/>
              </a:xfrm>
              <a:custGeom>
                <a:avLst/>
                <a:gdLst>
                  <a:gd name="T0" fmla="*/ 40 w 41"/>
                  <a:gd name="T1" fmla="*/ 26 h 57"/>
                  <a:gd name="T2" fmla="*/ 17 w 41"/>
                  <a:gd name="T3" fmla="*/ 1 h 57"/>
                  <a:gd name="T4" fmla="*/ 2 w 41"/>
                  <a:gd name="T5" fmla="*/ 31 h 57"/>
                  <a:gd name="T6" fmla="*/ 24 w 41"/>
                  <a:gd name="T7" fmla="*/ 55 h 57"/>
                  <a:gd name="T8" fmla="*/ 40 w 41"/>
                  <a:gd name="T9" fmla="*/ 2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7">
                    <a:moveTo>
                      <a:pt x="40" y="26"/>
                    </a:moveTo>
                    <a:cubicBezTo>
                      <a:pt x="38" y="11"/>
                      <a:pt x="28" y="0"/>
                      <a:pt x="17" y="1"/>
                    </a:cubicBezTo>
                    <a:cubicBezTo>
                      <a:pt x="7" y="3"/>
                      <a:pt x="0" y="16"/>
                      <a:pt x="2" y="31"/>
                    </a:cubicBezTo>
                    <a:cubicBezTo>
                      <a:pt x="4" y="46"/>
                      <a:pt x="13" y="57"/>
                      <a:pt x="24" y="55"/>
                    </a:cubicBezTo>
                    <a:cubicBezTo>
                      <a:pt x="34" y="54"/>
                      <a:pt x="41" y="41"/>
                      <a:pt x="40" y="2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íşľiḍé">
                <a:extLst>
                  <a:ext uri="{FF2B5EF4-FFF2-40B4-BE49-F238E27FC236}">
                    <a16:creationId xmlns:a16="http://schemas.microsoft.com/office/drawing/2014/main" id="{7BD796A9-6009-4B0C-906A-57B02A9AF024}"/>
                  </a:ext>
                </a:extLst>
              </p:cNvPr>
              <p:cNvSpPr/>
              <p:nvPr/>
            </p:nvSpPr>
            <p:spPr bwMode="auto">
              <a:xfrm>
                <a:off x="6713250" y="2357015"/>
                <a:ext cx="67211" cy="27675"/>
              </a:xfrm>
              <a:custGeom>
                <a:avLst/>
                <a:gdLst>
                  <a:gd name="T0" fmla="*/ 5 w 44"/>
                  <a:gd name="T1" fmla="*/ 17 h 18"/>
                  <a:gd name="T2" fmla="*/ 9 w 44"/>
                  <a:gd name="T3" fmla="*/ 15 h 18"/>
                  <a:gd name="T4" fmla="*/ 21 w 44"/>
                  <a:gd name="T5" fmla="*/ 9 h 18"/>
                  <a:gd name="T6" fmla="*/ 36 w 44"/>
                  <a:gd name="T7" fmla="*/ 16 h 18"/>
                  <a:gd name="T8" fmla="*/ 42 w 44"/>
                  <a:gd name="T9" fmla="*/ 16 h 18"/>
                  <a:gd name="T10" fmla="*/ 42 w 44"/>
                  <a:gd name="T11" fmla="*/ 9 h 18"/>
                  <a:gd name="T12" fmla="*/ 21 w 44"/>
                  <a:gd name="T13" fmla="*/ 0 h 18"/>
                  <a:gd name="T14" fmla="*/ 1 w 44"/>
                  <a:gd name="T15" fmla="*/ 10 h 18"/>
                  <a:gd name="T16" fmla="*/ 3 w 44"/>
                  <a:gd name="T17" fmla="*/ 16 h 18"/>
                  <a:gd name="T18" fmla="*/ 5 w 44"/>
                  <a:gd name="T1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18">
                    <a:moveTo>
                      <a:pt x="5" y="17"/>
                    </a:moveTo>
                    <a:cubicBezTo>
                      <a:pt x="7" y="17"/>
                      <a:pt x="8" y="16"/>
                      <a:pt x="9" y="15"/>
                    </a:cubicBezTo>
                    <a:cubicBezTo>
                      <a:pt x="9" y="15"/>
                      <a:pt x="13" y="9"/>
                      <a:pt x="21" y="9"/>
                    </a:cubicBezTo>
                    <a:cubicBezTo>
                      <a:pt x="29" y="9"/>
                      <a:pt x="36" y="16"/>
                      <a:pt x="36" y="16"/>
                    </a:cubicBezTo>
                    <a:cubicBezTo>
                      <a:pt x="38" y="18"/>
                      <a:pt x="41" y="17"/>
                      <a:pt x="42" y="16"/>
                    </a:cubicBezTo>
                    <a:cubicBezTo>
                      <a:pt x="44" y="14"/>
                      <a:pt x="44" y="11"/>
                      <a:pt x="42" y="9"/>
                    </a:cubicBezTo>
                    <a:cubicBezTo>
                      <a:pt x="42" y="9"/>
                      <a:pt x="33" y="0"/>
                      <a:pt x="21" y="0"/>
                    </a:cubicBezTo>
                    <a:cubicBezTo>
                      <a:pt x="8" y="0"/>
                      <a:pt x="2" y="10"/>
                      <a:pt x="1" y="10"/>
                    </a:cubicBezTo>
                    <a:cubicBezTo>
                      <a:pt x="0" y="12"/>
                      <a:pt x="1" y="15"/>
                      <a:pt x="3" y="16"/>
                    </a:cubicBezTo>
                    <a:cubicBezTo>
                      <a:pt x="3" y="17"/>
                      <a:pt x="4" y="17"/>
                      <a:pt x="5" y="17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22" name="ïšľiḍé">
              <a:extLst>
                <a:ext uri="{FF2B5EF4-FFF2-40B4-BE49-F238E27FC236}">
                  <a16:creationId xmlns:a16="http://schemas.microsoft.com/office/drawing/2014/main" id="{64EA0775-38FD-498B-93C7-24CEE9D71245}"/>
                </a:ext>
              </a:extLst>
            </p:cNvPr>
            <p:cNvGrpSpPr/>
            <p:nvPr/>
          </p:nvGrpSpPr>
          <p:grpSpPr>
            <a:xfrm>
              <a:off x="7106630" y="1438800"/>
              <a:ext cx="708676" cy="694839"/>
              <a:chOff x="7106630" y="1438800"/>
              <a:chExt cx="708676" cy="694839"/>
            </a:xfrm>
          </p:grpSpPr>
          <p:sp>
            <p:nvSpPr>
              <p:cNvPr id="32" name="íśļïde">
                <a:extLst>
                  <a:ext uri="{FF2B5EF4-FFF2-40B4-BE49-F238E27FC236}">
                    <a16:creationId xmlns:a16="http://schemas.microsoft.com/office/drawing/2014/main" id="{FEA3FE22-E6AA-4D96-A3F7-B86DBED28A9D}"/>
                  </a:ext>
                </a:extLst>
              </p:cNvPr>
              <p:cNvSpPr/>
              <p:nvPr/>
            </p:nvSpPr>
            <p:spPr bwMode="auto">
              <a:xfrm>
                <a:off x="7120467" y="1438800"/>
                <a:ext cx="694839" cy="694839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íşḻíḓé">
                <a:extLst>
                  <a:ext uri="{FF2B5EF4-FFF2-40B4-BE49-F238E27FC236}">
                    <a16:creationId xmlns:a16="http://schemas.microsoft.com/office/drawing/2014/main" id="{FD949BB0-496C-479F-8EC6-0C598F2C39F1}"/>
                  </a:ext>
                </a:extLst>
              </p:cNvPr>
              <p:cNvSpPr/>
              <p:nvPr/>
            </p:nvSpPr>
            <p:spPr bwMode="auto">
              <a:xfrm>
                <a:off x="7106630" y="1885553"/>
                <a:ext cx="155177" cy="155177"/>
              </a:xfrm>
              <a:custGeom>
                <a:avLst/>
                <a:gdLst>
                  <a:gd name="T0" fmla="*/ 157 w 157"/>
                  <a:gd name="T1" fmla="*/ 29 h 157"/>
                  <a:gd name="T2" fmla="*/ 30 w 157"/>
                  <a:gd name="T3" fmla="*/ 0 h 157"/>
                  <a:gd name="T4" fmla="*/ 0 w 157"/>
                  <a:gd name="T5" fmla="*/ 129 h 157"/>
                  <a:gd name="T6" fmla="*/ 129 w 157"/>
                  <a:gd name="T7" fmla="*/ 157 h 157"/>
                  <a:gd name="T8" fmla="*/ 157 w 157"/>
                  <a:gd name="T9" fmla="*/ 29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57">
                    <a:moveTo>
                      <a:pt x="157" y="29"/>
                    </a:moveTo>
                    <a:lnTo>
                      <a:pt x="30" y="0"/>
                    </a:lnTo>
                    <a:lnTo>
                      <a:pt x="0" y="129"/>
                    </a:lnTo>
                    <a:lnTo>
                      <a:pt x="129" y="157"/>
                    </a:lnTo>
                    <a:lnTo>
                      <a:pt x="157" y="29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îšḷídé">
                <a:extLst>
                  <a:ext uri="{FF2B5EF4-FFF2-40B4-BE49-F238E27FC236}">
                    <a16:creationId xmlns:a16="http://schemas.microsoft.com/office/drawing/2014/main" id="{11C7C4FC-1CE4-4266-89E4-DF554EC3790B}"/>
                  </a:ext>
                </a:extLst>
              </p:cNvPr>
              <p:cNvSpPr/>
              <p:nvPr/>
            </p:nvSpPr>
            <p:spPr bwMode="auto">
              <a:xfrm>
                <a:off x="7159015" y="1478336"/>
                <a:ext cx="618733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ṡḷiḍê">
                <a:extLst>
                  <a:ext uri="{FF2B5EF4-FFF2-40B4-BE49-F238E27FC236}">
                    <a16:creationId xmlns:a16="http://schemas.microsoft.com/office/drawing/2014/main" id="{35013EF7-7270-4F20-9B27-79D6DD72454B}"/>
                  </a:ext>
                </a:extLst>
              </p:cNvPr>
              <p:cNvSpPr/>
              <p:nvPr/>
            </p:nvSpPr>
            <p:spPr bwMode="auto">
              <a:xfrm>
                <a:off x="7258842" y="1587059"/>
                <a:ext cx="418089" cy="418089"/>
              </a:xfrm>
              <a:prstGeom prst="ellipse">
                <a:avLst/>
              </a:prstGeom>
              <a:solidFill>
                <a:srgbClr val="FAE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íslîḍê">
                <a:extLst>
                  <a:ext uri="{FF2B5EF4-FFF2-40B4-BE49-F238E27FC236}">
                    <a16:creationId xmlns:a16="http://schemas.microsoft.com/office/drawing/2014/main" id="{0C52EF5E-CAEB-4D52-930B-AF007B3A7094}"/>
                  </a:ext>
                </a:extLst>
              </p:cNvPr>
              <p:cNvSpPr/>
              <p:nvPr/>
            </p:nvSpPr>
            <p:spPr bwMode="auto">
              <a:xfrm>
                <a:off x="7347797" y="1789679"/>
                <a:ext cx="54362" cy="5535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îśḻiḑê">
                <a:extLst>
                  <a:ext uri="{FF2B5EF4-FFF2-40B4-BE49-F238E27FC236}">
                    <a16:creationId xmlns:a16="http://schemas.microsoft.com/office/drawing/2014/main" id="{09A5375F-D317-4E3E-96BF-5333C76D253B}"/>
                  </a:ext>
                </a:extLst>
              </p:cNvPr>
              <p:cNvSpPr/>
              <p:nvPr/>
            </p:nvSpPr>
            <p:spPr bwMode="auto">
              <a:xfrm>
                <a:off x="7316169" y="1752120"/>
                <a:ext cx="80060" cy="48431"/>
              </a:xfrm>
              <a:custGeom>
                <a:avLst/>
                <a:gdLst>
                  <a:gd name="T0" fmla="*/ 7 w 52"/>
                  <a:gd name="T1" fmla="*/ 32 h 32"/>
                  <a:gd name="T2" fmla="*/ 3 w 52"/>
                  <a:gd name="T3" fmla="*/ 31 h 32"/>
                  <a:gd name="T4" fmla="*/ 2 w 52"/>
                  <a:gd name="T5" fmla="*/ 23 h 32"/>
                  <a:gd name="T6" fmla="*/ 46 w 52"/>
                  <a:gd name="T7" fmla="*/ 0 h 32"/>
                  <a:gd name="T8" fmla="*/ 52 w 52"/>
                  <a:gd name="T9" fmla="*/ 6 h 32"/>
                  <a:gd name="T10" fmla="*/ 46 w 52"/>
                  <a:gd name="T11" fmla="*/ 12 h 32"/>
                  <a:gd name="T12" fmla="*/ 12 w 52"/>
                  <a:gd name="T13" fmla="*/ 29 h 32"/>
                  <a:gd name="T14" fmla="*/ 7 w 52"/>
                  <a:gd name="T1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" h="32">
                    <a:moveTo>
                      <a:pt x="7" y="32"/>
                    </a:moveTo>
                    <a:cubicBezTo>
                      <a:pt x="6" y="32"/>
                      <a:pt x="4" y="32"/>
                      <a:pt x="3" y="31"/>
                    </a:cubicBezTo>
                    <a:cubicBezTo>
                      <a:pt x="1" y="29"/>
                      <a:pt x="0" y="26"/>
                      <a:pt x="2" y="23"/>
                    </a:cubicBezTo>
                    <a:cubicBezTo>
                      <a:pt x="2" y="22"/>
                      <a:pt x="17" y="1"/>
                      <a:pt x="46" y="0"/>
                    </a:cubicBezTo>
                    <a:cubicBezTo>
                      <a:pt x="49" y="0"/>
                      <a:pt x="52" y="2"/>
                      <a:pt x="52" y="6"/>
                    </a:cubicBezTo>
                    <a:cubicBezTo>
                      <a:pt x="52" y="9"/>
                      <a:pt x="50" y="12"/>
                      <a:pt x="46" y="12"/>
                    </a:cubicBezTo>
                    <a:cubicBezTo>
                      <a:pt x="23" y="12"/>
                      <a:pt x="12" y="29"/>
                      <a:pt x="12" y="29"/>
                    </a:cubicBezTo>
                    <a:cubicBezTo>
                      <a:pt x="11" y="31"/>
                      <a:pt x="9" y="32"/>
                      <a:pt x="7" y="32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iṡḷíḓè">
                <a:extLst>
                  <a:ext uri="{FF2B5EF4-FFF2-40B4-BE49-F238E27FC236}">
                    <a16:creationId xmlns:a16="http://schemas.microsoft.com/office/drawing/2014/main" id="{436DC21D-AAFE-4380-B4E7-BBDCD54771C6}"/>
                  </a:ext>
                </a:extLst>
              </p:cNvPr>
              <p:cNvSpPr/>
              <p:nvPr/>
            </p:nvSpPr>
            <p:spPr bwMode="auto">
              <a:xfrm>
                <a:off x="7531638" y="1789679"/>
                <a:ext cx="55350" cy="5535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ṩľíḋé">
                <a:extLst>
                  <a:ext uri="{FF2B5EF4-FFF2-40B4-BE49-F238E27FC236}">
                    <a16:creationId xmlns:a16="http://schemas.microsoft.com/office/drawing/2014/main" id="{A8B63F1E-3CB6-4960-95CF-5CE69AA54400}"/>
                  </a:ext>
                </a:extLst>
              </p:cNvPr>
              <p:cNvSpPr/>
              <p:nvPr/>
            </p:nvSpPr>
            <p:spPr bwMode="auto">
              <a:xfrm>
                <a:off x="7537568" y="1752120"/>
                <a:ext cx="81048" cy="48431"/>
              </a:xfrm>
              <a:custGeom>
                <a:avLst/>
                <a:gdLst>
                  <a:gd name="T0" fmla="*/ 46 w 53"/>
                  <a:gd name="T1" fmla="*/ 32 h 32"/>
                  <a:gd name="T2" fmla="*/ 41 w 53"/>
                  <a:gd name="T3" fmla="*/ 29 h 32"/>
                  <a:gd name="T4" fmla="*/ 6 w 53"/>
                  <a:gd name="T5" fmla="*/ 12 h 32"/>
                  <a:gd name="T6" fmla="*/ 1 w 53"/>
                  <a:gd name="T7" fmla="*/ 6 h 32"/>
                  <a:gd name="T8" fmla="*/ 7 w 53"/>
                  <a:gd name="T9" fmla="*/ 0 h 32"/>
                  <a:gd name="T10" fmla="*/ 51 w 53"/>
                  <a:gd name="T11" fmla="*/ 23 h 32"/>
                  <a:gd name="T12" fmla="*/ 49 w 53"/>
                  <a:gd name="T13" fmla="*/ 31 h 32"/>
                  <a:gd name="T14" fmla="*/ 46 w 53"/>
                  <a:gd name="T1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" h="32">
                    <a:moveTo>
                      <a:pt x="46" y="32"/>
                    </a:moveTo>
                    <a:cubicBezTo>
                      <a:pt x="44" y="32"/>
                      <a:pt x="42" y="31"/>
                      <a:pt x="41" y="29"/>
                    </a:cubicBezTo>
                    <a:cubicBezTo>
                      <a:pt x="40" y="29"/>
                      <a:pt x="29" y="12"/>
                      <a:pt x="6" y="12"/>
                    </a:cubicBezTo>
                    <a:cubicBezTo>
                      <a:pt x="3" y="12"/>
                      <a:pt x="0" y="9"/>
                      <a:pt x="1" y="6"/>
                    </a:cubicBezTo>
                    <a:cubicBezTo>
                      <a:pt x="1" y="2"/>
                      <a:pt x="3" y="0"/>
                      <a:pt x="7" y="0"/>
                    </a:cubicBezTo>
                    <a:cubicBezTo>
                      <a:pt x="36" y="1"/>
                      <a:pt x="50" y="22"/>
                      <a:pt x="51" y="23"/>
                    </a:cubicBezTo>
                    <a:cubicBezTo>
                      <a:pt x="53" y="26"/>
                      <a:pt x="52" y="29"/>
                      <a:pt x="49" y="31"/>
                    </a:cubicBezTo>
                    <a:cubicBezTo>
                      <a:pt x="48" y="32"/>
                      <a:pt x="47" y="32"/>
                      <a:pt x="46" y="32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íSḻîḋe">
                <a:extLst>
                  <a:ext uri="{FF2B5EF4-FFF2-40B4-BE49-F238E27FC236}">
                    <a16:creationId xmlns:a16="http://schemas.microsoft.com/office/drawing/2014/main" id="{5B9CBFE1-797A-47E7-ACF1-CCB3DC7777CC}"/>
                  </a:ext>
                </a:extLst>
              </p:cNvPr>
              <p:cNvSpPr/>
              <p:nvPr/>
            </p:nvSpPr>
            <p:spPr bwMode="auto">
              <a:xfrm>
                <a:off x="7408089" y="1882588"/>
                <a:ext cx="118607" cy="41512"/>
              </a:xfrm>
              <a:custGeom>
                <a:avLst/>
                <a:gdLst>
                  <a:gd name="T0" fmla="*/ 70 w 77"/>
                  <a:gd name="T1" fmla="*/ 26 h 27"/>
                  <a:gd name="T2" fmla="*/ 66 w 77"/>
                  <a:gd name="T3" fmla="*/ 24 h 27"/>
                  <a:gd name="T4" fmla="*/ 37 w 77"/>
                  <a:gd name="T5" fmla="*/ 12 h 27"/>
                  <a:gd name="T6" fmla="*/ 11 w 77"/>
                  <a:gd name="T7" fmla="*/ 24 h 27"/>
                  <a:gd name="T8" fmla="*/ 2 w 77"/>
                  <a:gd name="T9" fmla="*/ 24 h 27"/>
                  <a:gd name="T10" fmla="*/ 2 w 77"/>
                  <a:gd name="T11" fmla="*/ 16 h 27"/>
                  <a:gd name="T12" fmla="*/ 37 w 77"/>
                  <a:gd name="T13" fmla="*/ 0 h 27"/>
                  <a:gd name="T14" fmla="*/ 75 w 77"/>
                  <a:gd name="T15" fmla="*/ 16 h 27"/>
                  <a:gd name="T16" fmla="*/ 75 w 77"/>
                  <a:gd name="T17" fmla="*/ 24 h 27"/>
                  <a:gd name="T18" fmla="*/ 70 w 77"/>
                  <a:gd name="T19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27">
                    <a:moveTo>
                      <a:pt x="70" y="26"/>
                    </a:moveTo>
                    <a:cubicBezTo>
                      <a:pt x="69" y="26"/>
                      <a:pt x="67" y="25"/>
                      <a:pt x="66" y="24"/>
                    </a:cubicBezTo>
                    <a:cubicBezTo>
                      <a:pt x="66" y="24"/>
                      <a:pt x="54" y="12"/>
                      <a:pt x="37" y="12"/>
                    </a:cubicBezTo>
                    <a:cubicBezTo>
                      <a:pt x="21" y="12"/>
                      <a:pt x="11" y="24"/>
                      <a:pt x="11" y="24"/>
                    </a:cubicBezTo>
                    <a:cubicBezTo>
                      <a:pt x="9" y="26"/>
                      <a:pt x="5" y="27"/>
                      <a:pt x="2" y="24"/>
                    </a:cubicBezTo>
                    <a:cubicBezTo>
                      <a:pt x="0" y="22"/>
                      <a:pt x="0" y="19"/>
                      <a:pt x="2" y="16"/>
                    </a:cubicBezTo>
                    <a:cubicBezTo>
                      <a:pt x="2" y="15"/>
                      <a:pt x="16" y="0"/>
                      <a:pt x="37" y="0"/>
                    </a:cubicBezTo>
                    <a:cubicBezTo>
                      <a:pt x="59" y="0"/>
                      <a:pt x="74" y="15"/>
                      <a:pt x="75" y="16"/>
                    </a:cubicBezTo>
                    <a:cubicBezTo>
                      <a:pt x="77" y="18"/>
                      <a:pt x="77" y="22"/>
                      <a:pt x="75" y="24"/>
                    </a:cubicBezTo>
                    <a:cubicBezTo>
                      <a:pt x="73" y="25"/>
                      <a:pt x="72" y="26"/>
                      <a:pt x="70" y="2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ïṡḷïḑê">
                <a:extLst>
                  <a:ext uri="{FF2B5EF4-FFF2-40B4-BE49-F238E27FC236}">
                    <a16:creationId xmlns:a16="http://schemas.microsoft.com/office/drawing/2014/main" id="{BA593DB2-80E4-4AAB-82B5-ACE6481A0932}"/>
                  </a:ext>
                </a:extLst>
              </p:cNvPr>
              <p:cNvSpPr/>
              <p:nvPr/>
            </p:nvSpPr>
            <p:spPr bwMode="auto">
              <a:xfrm>
                <a:off x="7562278" y="1891483"/>
                <a:ext cx="62269" cy="104769"/>
              </a:xfrm>
              <a:custGeom>
                <a:avLst/>
                <a:gdLst>
                  <a:gd name="T0" fmla="*/ 0 w 41"/>
                  <a:gd name="T1" fmla="*/ 47 h 68"/>
                  <a:gd name="T2" fmla="*/ 20 w 41"/>
                  <a:gd name="T3" fmla="*/ 0 h 68"/>
                  <a:gd name="T4" fmla="*/ 41 w 41"/>
                  <a:gd name="T5" fmla="*/ 47 h 68"/>
                  <a:gd name="T6" fmla="*/ 20 w 41"/>
                  <a:gd name="T7" fmla="*/ 68 h 68"/>
                  <a:gd name="T8" fmla="*/ 0 w 41"/>
                  <a:gd name="T9" fmla="*/ 4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68">
                    <a:moveTo>
                      <a:pt x="0" y="47"/>
                    </a:moveTo>
                    <a:cubicBezTo>
                      <a:pt x="0" y="36"/>
                      <a:pt x="20" y="0"/>
                      <a:pt x="20" y="0"/>
                    </a:cubicBezTo>
                    <a:cubicBezTo>
                      <a:pt x="20" y="0"/>
                      <a:pt x="41" y="36"/>
                      <a:pt x="41" y="47"/>
                    </a:cubicBezTo>
                    <a:cubicBezTo>
                      <a:pt x="41" y="58"/>
                      <a:pt x="31" y="68"/>
                      <a:pt x="20" y="68"/>
                    </a:cubicBezTo>
                    <a:cubicBezTo>
                      <a:pt x="9" y="68"/>
                      <a:pt x="0" y="58"/>
                      <a:pt x="0" y="47"/>
                    </a:cubicBezTo>
                    <a:close/>
                  </a:path>
                </a:pathLst>
              </a:custGeom>
              <a:solidFill>
                <a:srgbClr val="5F88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23" name="îśḻiďê">
              <a:extLst>
                <a:ext uri="{FF2B5EF4-FFF2-40B4-BE49-F238E27FC236}">
                  <a16:creationId xmlns:a16="http://schemas.microsoft.com/office/drawing/2014/main" id="{2F597580-51E0-48C2-94AB-D39857E7E169}"/>
                </a:ext>
              </a:extLst>
            </p:cNvPr>
            <p:cNvGrpSpPr/>
            <p:nvPr/>
          </p:nvGrpSpPr>
          <p:grpSpPr>
            <a:xfrm>
              <a:off x="7568208" y="2426203"/>
              <a:ext cx="774899" cy="774899"/>
              <a:chOff x="7568208" y="2426203"/>
              <a:chExt cx="774899" cy="774899"/>
            </a:xfrm>
          </p:grpSpPr>
          <p:sp>
            <p:nvSpPr>
              <p:cNvPr id="24" name="iŝľïḓè">
                <a:extLst>
                  <a:ext uri="{FF2B5EF4-FFF2-40B4-BE49-F238E27FC236}">
                    <a16:creationId xmlns:a16="http://schemas.microsoft.com/office/drawing/2014/main" id="{FB50F7BC-A641-48FA-9FC4-00A1960BBEF2}"/>
                  </a:ext>
                </a:extLst>
              </p:cNvPr>
              <p:cNvSpPr/>
              <p:nvPr/>
            </p:nvSpPr>
            <p:spPr bwMode="auto">
              <a:xfrm>
                <a:off x="7568208" y="2426203"/>
                <a:ext cx="774899" cy="774899"/>
              </a:xfrm>
              <a:custGeom>
                <a:avLst/>
                <a:gdLst>
                  <a:gd name="T0" fmla="*/ 469 w 504"/>
                  <a:gd name="T1" fmla="*/ 189 h 505"/>
                  <a:gd name="T2" fmla="*/ 188 w 504"/>
                  <a:gd name="T3" fmla="*/ 36 h 505"/>
                  <a:gd name="T4" fmla="*/ 35 w 504"/>
                  <a:gd name="T5" fmla="*/ 317 h 505"/>
                  <a:gd name="T6" fmla="*/ 316 w 504"/>
                  <a:gd name="T7" fmla="*/ 470 h 505"/>
                  <a:gd name="T8" fmla="*/ 469 w 504"/>
                  <a:gd name="T9" fmla="*/ 189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4" h="505">
                    <a:moveTo>
                      <a:pt x="469" y="189"/>
                    </a:moveTo>
                    <a:cubicBezTo>
                      <a:pt x="434" y="69"/>
                      <a:pt x="308" y="0"/>
                      <a:pt x="188" y="36"/>
                    </a:cubicBezTo>
                    <a:cubicBezTo>
                      <a:pt x="68" y="71"/>
                      <a:pt x="0" y="197"/>
                      <a:pt x="35" y="317"/>
                    </a:cubicBezTo>
                    <a:cubicBezTo>
                      <a:pt x="71" y="437"/>
                      <a:pt x="196" y="505"/>
                      <a:pt x="316" y="470"/>
                    </a:cubicBezTo>
                    <a:cubicBezTo>
                      <a:pt x="436" y="434"/>
                      <a:pt x="504" y="308"/>
                      <a:pt x="469" y="189"/>
                    </a:cubicBez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ṩlïḍé">
                <a:extLst>
                  <a:ext uri="{FF2B5EF4-FFF2-40B4-BE49-F238E27FC236}">
                    <a16:creationId xmlns:a16="http://schemas.microsoft.com/office/drawing/2014/main" id="{BB1E2876-6321-4B9F-868F-94A1FF718A56}"/>
                  </a:ext>
                </a:extLst>
              </p:cNvPr>
              <p:cNvSpPr/>
              <p:nvPr/>
            </p:nvSpPr>
            <p:spPr bwMode="auto">
              <a:xfrm>
                <a:off x="7573150" y="2875920"/>
                <a:ext cx="166050" cy="164073"/>
              </a:xfrm>
              <a:custGeom>
                <a:avLst/>
                <a:gdLst>
                  <a:gd name="T0" fmla="*/ 168 w 168"/>
                  <a:gd name="T1" fmla="*/ 43 h 166"/>
                  <a:gd name="T2" fmla="*/ 45 w 168"/>
                  <a:gd name="T3" fmla="*/ 0 h 166"/>
                  <a:gd name="T4" fmla="*/ 0 w 168"/>
                  <a:gd name="T5" fmla="*/ 122 h 166"/>
                  <a:gd name="T6" fmla="*/ 123 w 168"/>
                  <a:gd name="T7" fmla="*/ 166 h 166"/>
                  <a:gd name="T8" fmla="*/ 168 w 168"/>
                  <a:gd name="T9" fmla="*/ 43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66">
                    <a:moveTo>
                      <a:pt x="168" y="43"/>
                    </a:moveTo>
                    <a:lnTo>
                      <a:pt x="45" y="0"/>
                    </a:lnTo>
                    <a:lnTo>
                      <a:pt x="0" y="122"/>
                    </a:lnTo>
                    <a:lnTo>
                      <a:pt x="123" y="166"/>
                    </a:lnTo>
                    <a:lnTo>
                      <a:pt x="168" y="43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iśļíďê">
                <a:extLst>
                  <a:ext uri="{FF2B5EF4-FFF2-40B4-BE49-F238E27FC236}">
                    <a16:creationId xmlns:a16="http://schemas.microsoft.com/office/drawing/2014/main" id="{0B2B3347-63CA-42A7-8DD7-8F0B5A63DCBB}"/>
                  </a:ext>
                </a:extLst>
              </p:cNvPr>
              <p:cNvSpPr/>
              <p:nvPr/>
            </p:nvSpPr>
            <p:spPr bwMode="auto">
              <a:xfrm>
                <a:off x="7610709" y="2470680"/>
                <a:ext cx="688909" cy="686932"/>
              </a:xfrm>
              <a:custGeom>
                <a:avLst/>
                <a:gdLst>
                  <a:gd name="T0" fmla="*/ 417 w 448"/>
                  <a:gd name="T1" fmla="*/ 167 h 448"/>
                  <a:gd name="T2" fmla="*/ 167 w 448"/>
                  <a:gd name="T3" fmla="*/ 31 h 448"/>
                  <a:gd name="T4" fmla="*/ 31 w 448"/>
                  <a:gd name="T5" fmla="*/ 281 h 448"/>
                  <a:gd name="T6" fmla="*/ 281 w 448"/>
                  <a:gd name="T7" fmla="*/ 416 h 448"/>
                  <a:gd name="T8" fmla="*/ 417 w 448"/>
                  <a:gd name="T9" fmla="*/ 167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8" h="448">
                    <a:moveTo>
                      <a:pt x="417" y="167"/>
                    </a:moveTo>
                    <a:cubicBezTo>
                      <a:pt x="385" y="60"/>
                      <a:pt x="273" y="0"/>
                      <a:pt x="167" y="31"/>
                    </a:cubicBezTo>
                    <a:cubicBezTo>
                      <a:pt x="61" y="63"/>
                      <a:pt x="0" y="174"/>
                      <a:pt x="31" y="281"/>
                    </a:cubicBezTo>
                    <a:cubicBezTo>
                      <a:pt x="63" y="387"/>
                      <a:pt x="175" y="448"/>
                      <a:pt x="281" y="416"/>
                    </a:cubicBezTo>
                    <a:cubicBezTo>
                      <a:pt x="387" y="385"/>
                      <a:pt x="448" y="273"/>
                      <a:pt x="417" y="16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ṧḻîḍè">
                <a:extLst>
                  <a:ext uri="{FF2B5EF4-FFF2-40B4-BE49-F238E27FC236}">
                    <a16:creationId xmlns:a16="http://schemas.microsoft.com/office/drawing/2014/main" id="{FEE69970-53D1-4BDF-8BC3-EDDEF72F8256}"/>
                  </a:ext>
                </a:extLst>
              </p:cNvPr>
              <p:cNvSpPr/>
              <p:nvPr/>
            </p:nvSpPr>
            <p:spPr bwMode="auto">
              <a:xfrm>
                <a:off x="7839028" y="2860106"/>
                <a:ext cx="50408" cy="4942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ş1ïḋe">
                <a:extLst>
                  <a:ext uri="{FF2B5EF4-FFF2-40B4-BE49-F238E27FC236}">
                    <a16:creationId xmlns:a16="http://schemas.microsoft.com/office/drawing/2014/main" id="{73250A37-46C1-4CAE-92AB-E94900142982}"/>
                  </a:ext>
                </a:extLst>
              </p:cNvPr>
              <p:cNvSpPr/>
              <p:nvPr/>
            </p:nvSpPr>
            <p:spPr bwMode="auto">
              <a:xfrm>
                <a:off x="7791585" y="2829466"/>
                <a:ext cx="141340" cy="44478"/>
              </a:xfrm>
              <a:custGeom>
                <a:avLst/>
                <a:gdLst>
                  <a:gd name="T0" fmla="*/ 87 w 92"/>
                  <a:gd name="T1" fmla="*/ 29 h 29"/>
                  <a:gd name="T2" fmla="*/ 51 w 92"/>
                  <a:gd name="T3" fmla="*/ 29 h 29"/>
                  <a:gd name="T4" fmla="*/ 3 w 92"/>
                  <a:gd name="T5" fmla="*/ 10 h 29"/>
                  <a:gd name="T6" fmla="*/ 1 w 92"/>
                  <a:gd name="T7" fmla="*/ 3 h 29"/>
                  <a:gd name="T8" fmla="*/ 9 w 92"/>
                  <a:gd name="T9" fmla="*/ 2 h 29"/>
                  <a:gd name="T10" fmla="*/ 51 w 92"/>
                  <a:gd name="T11" fmla="*/ 19 h 29"/>
                  <a:gd name="T12" fmla="*/ 87 w 92"/>
                  <a:gd name="T13" fmla="*/ 19 h 29"/>
                  <a:gd name="T14" fmla="*/ 92 w 92"/>
                  <a:gd name="T15" fmla="*/ 24 h 29"/>
                  <a:gd name="T16" fmla="*/ 87 w 92"/>
                  <a:gd name="T1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29">
                    <a:moveTo>
                      <a:pt x="87" y="29"/>
                    </a:moveTo>
                    <a:cubicBezTo>
                      <a:pt x="51" y="29"/>
                      <a:pt x="51" y="29"/>
                      <a:pt x="51" y="29"/>
                    </a:cubicBezTo>
                    <a:cubicBezTo>
                      <a:pt x="32" y="29"/>
                      <a:pt x="4" y="11"/>
                      <a:pt x="3" y="10"/>
                    </a:cubicBezTo>
                    <a:cubicBezTo>
                      <a:pt x="1" y="9"/>
                      <a:pt x="0" y="6"/>
                      <a:pt x="1" y="3"/>
                    </a:cubicBezTo>
                    <a:cubicBezTo>
                      <a:pt x="3" y="1"/>
                      <a:pt x="6" y="0"/>
                      <a:pt x="9" y="2"/>
                    </a:cubicBezTo>
                    <a:cubicBezTo>
                      <a:pt x="16" y="6"/>
                      <a:pt x="38" y="19"/>
                      <a:pt x="51" y="19"/>
                    </a:cubicBezTo>
                    <a:cubicBezTo>
                      <a:pt x="87" y="19"/>
                      <a:pt x="87" y="19"/>
                      <a:pt x="87" y="19"/>
                    </a:cubicBezTo>
                    <a:cubicBezTo>
                      <a:pt x="90" y="19"/>
                      <a:pt x="92" y="21"/>
                      <a:pt x="92" y="24"/>
                    </a:cubicBezTo>
                    <a:cubicBezTo>
                      <a:pt x="92" y="27"/>
                      <a:pt x="90" y="29"/>
                      <a:pt x="87" y="29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iśḻïḍê">
                <a:extLst>
                  <a:ext uri="{FF2B5EF4-FFF2-40B4-BE49-F238E27FC236}">
                    <a16:creationId xmlns:a16="http://schemas.microsoft.com/office/drawing/2014/main" id="{ED87634C-419D-4DA9-8667-8D8F9EB05CE9}"/>
                  </a:ext>
                </a:extLst>
              </p:cNvPr>
              <p:cNvSpPr/>
              <p:nvPr/>
            </p:nvSpPr>
            <p:spPr bwMode="auto">
              <a:xfrm>
                <a:off x="8022868" y="2860106"/>
                <a:ext cx="51396" cy="4942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sḷïďé">
                <a:extLst>
                  <a:ext uri="{FF2B5EF4-FFF2-40B4-BE49-F238E27FC236}">
                    <a16:creationId xmlns:a16="http://schemas.microsoft.com/office/drawing/2014/main" id="{4ECABFD6-FEF4-4FC4-BA6B-E195FED63C7A}"/>
                  </a:ext>
                </a:extLst>
              </p:cNvPr>
              <p:cNvSpPr/>
              <p:nvPr/>
            </p:nvSpPr>
            <p:spPr bwMode="auto">
              <a:xfrm>
                <a:off x="7980367" y="2829466"/>
                <a:ext cx="141340" cy="44478"/>
              </a:xfrm>
              <a:custGeom>
                <a:avLst/>
                <a:gdLst>
                  <a:gd name="T0" fmla="*/ 5 w 92"/>
                  <a:gd name="T1" fmla="*/ 29 h 29"/>
                  <a:gd name="T2" fmla="*/ 41 w 92"/>
                  <a:gd name="T3" fmla="*/ 29 h 29"/>
                  <a:gd name="T4" fmla="*/ 89 w 92"/>
                  <a:gd name="T5" fmla="*/ 10 h 29"/>
                  <a:gd name="T6" fmla="*/ 91 w 92"/>
                  <a:gd name="T7" fmla="*/ 3 h 29"/>
                  <a:gd name="T8" fmla="*/ 83 w 92"/>
                  <a:gd name="T9" fmla="*/ 2 h 29"/>
                  <a:gd name="T10" fmla="*/ 41 w 92"/>
                  <a:gd name="T11" fmla="*/ 19 h 29"/>
                  <a:gd name="T12" fmla="*/ 5 w 92"/>
                  <a:gd name="T13" fmla="*/ 19 h 29"/>
                  <a:gd name="T14" fmla="*/ 0 w 92"/>
                  <a:gd name="T15" fmla="*/ 24 h 29"/>
                  <a:gd name="T16" fmla="*/ 5 w 92"/>
                  <a:gd name="T1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29">
                    <a:moveTo>
                      <a:pt x="5" y="29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60" y="29"/>
                      <a:pt x="88" y="11"/>
                      <a:pt x="89" y="10"/>
                    </a:cubicBezTo>
                    <a:cubicBezTo>
                      <a:pt x="92" y="9"/>
                      <a:pt x="92" y="6"/>
                      <a:pt x="91" y="3"/>
                    </a:cubicBezTo>
                    <a:cubicBezTo>
                      <a:pt x="89" y="1"/>
                      <a:pt x="86" y="0"/>
                      <a:pt x="83" y="2"/>
                    </a:cubicBezTo>
                    <a:cubicBezTo>
                      <a:pt x="76" y="6"/>
                      <a:pt x="54" y="19"/>
                      <a:pt x="41" y="1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2" y="19"/>
                      <a:pt x="0" y="21"/>
                      <a:pt x="0" y="24"/>
                    </a:cubicBezTo>
                    <a:cubicBezTo>
                      <a:pt x="0" y="27"/>
                      <a:pt x="2" y="29"/>
                      <a:pt x="5" y="29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ṩļiḑê">
                <a:extLst>
                  <a:ext uri="{FF2B5EF4-FFF2-40B4-BE49-F238E27FC236}">
                    <a16:creationId xmlns:a16="http://schemas.microsoft.com/office/drawing/2014/main" id="{40B2DC2F-806B-4874-B557-14C6E3890604}"/>
                  </a:ext>
                </a:extLst>
              </p:cNvPr>
              <p:cNvSpPr/>
              <p:nvPr/>
            </p:nvSpPr>
            <p:spPr bwMode="auto">
              <a:xfrm>
                <a:off x="7884494" y="2931270"/>
                <a:ext cx="142328" cy="28663"/>
              </a:xfrm>
              <a:custGeom>
                <a:avLst/>
                <a:gdLst>
                  <a:gd name="T0" fmla="*/ 85 w 92"/>
                  <a:gd name="T1" fmla="*/ 19 h 19"/>
                  <a:gd name="T2" fmla="*/ 84 w 92"/>
                  <a:gd name="T3" fmla="*/ 19 h 19"/>
                  <a:gd name="T4" fmla="*/ 8 w 92"/>
                  <a:gd name="T5" fmla="*/ 19 h 19"/>
                  <a:gd name="T6" fmla="*/ 0 w 92"/>
                  <a:gd name="T7" fmla="*/ 13 h 19"/>
                  <a:gd name="T8" fmla="*/ 6 w 92"/>
                  <a:gd name="T9" fmla="*/ 6 h 19"/>
                  <a:gd name="T10" fmla="*/ 86 w 92"/>
                  <a:gd name="T11" fmla="*/ 6 h 19"/>
                  <a:gd name="T12" fmla="*/ 92 w 92"/>
                  <a:gd name="T13" fmla="*/ 13 h 19"/>
                  <a:gd name="T14" fmla="*/ 85 w 92"/>
                  <a:gd name="T1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" h="19">
                    <a:moveTo>
                      <a:pt x="85" y="19"/>
                    </a:moveTo>
                    <a:cubicBezTo>
                      <a:pt x="85" y="19"/>
                      <a:pt x="85" y="19"/>
                      <a:pt x="84" y="19"/>
                    </a:cubicBezTo>
                    <a:cubicBezTo>
                      <a:pt x="51" y="14"/>
                      <a:pt x="8" y="19"/>
                      <a:pt x="8" y="19"/>
                    </a:cubicBezTo>
                    <a:cubicBezTo>
                      <a:pt x="4" y="19"/>
                      <a:pt x="1" y="17"/>
                      <a:pt x="0" y="13"/>
                    </a:cubicBezTo>
                    <a:cubicBezTo>
                      <a:pt x="0" y="10"/>
                      <a:pt x="2" y="6"/>
                      <a:pt x="6" y="6"/>
                    </a:cubicBezTo>
                    <a:cubicBezTo>
                      <a:pt x="8" y="6"/>
                      <a:pt x="51" y="0"/>
                      <a:pt x="86" y="6"/>
                    </a:cubicBezTo>
                    <a:cubicBezTo>
                      <a:pt x="90" y="6"/>
                      <a:pt x="92" y="10"/>
                      <a:pt x="92" y="13"/>
                    </a:cubicBezTo>
                    <a:cubicBezTo>
                      <a:pt x="91" y="17"/>
                      <a:pt x="88" y="19"/>
                      <a:pt x="85" y="19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62F49B-100A-4D9C-949A-EDAA9861DF37}"/>
              </a:ext>
            </a:extLst>
          </p:cNvPr>
          <p:cNvSpPr>
            <a:spLocks/>
          </p:cNvSpPr>
          <p:nvPr/>
        </p:nvSpPr>
        <p:spPr>
          <a:xfrm>
            <a:off x="574675" y="-719733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ahnschrift SemiCondensed" panose="020B0502040204020203" pitchFamily="34" charset="0"/>
              </a:rPr>
              <a:t>Pre-Processing</a:t>
            </a:r>
          </a:p>
        </p:txBody>
      </p:sp>
      <p:grpSp>
        <p:nvGrpSpPr>
          <p:cNvPr id="8" name="îSľíḍé">
            <a:extLst>
              <a:ext uri="{FF2B5EF4-FFF2-40B4-BE49-F238E27FC236}">
                <a16:creationId xmlns:a16="http://schemas.microsoft.com/office/drawing/2014/main" id="{E56E9841-571A-4410-B734-F55D9853AA56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9" name="ïṧlîḓe">
              <a:extLst>
                <a:ext uri="{FF2B5EF4-FFF2-40B4-BE49-F238E27FC236}">
                  <a16:creationId xmlns:a16="http://schemas.microsoft.com/office/drawing/2014/main" id="{313831D1-B873-487D-BBEC-BA1D4FB1953D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10" name="iṡliḓè">
              <a:extLst>
                <a:ext uri="{FF2B5EF4-FFF2-40B4-BE49-F238E27FC236}">
                  <a16:creationId xmlns:a16="http://schemas.microsoft.com/office/drawing/2014/main" id="{93B01087-45B5-488D-B80E-322359610ACA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11" name="íšḻíḋè">
                <a:extLst>
                  <a:ext uri="{FF2B5EF4-FFF2-40B4-BE49-F238E27FC236}">
                    <a16:creationId xmlns:a16="http://schemas.microsoft.com/office/drawing/2014/main" id="{D078E4FE-1994-4106-9D59-29AFC4ED0685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12" name="îS1iḓé">
                <a:extLst>
                  <a:ext uri="{FF2B5EF4-FFF2-40B4-BE49-F238E27FC236}">
                    <a16:creationId xmlns:a16="http://schemas.microsoft.com/office/drawing/2014/main" id="{F0ADC2EA-7861-4714-8E6F-2608BE0842CE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175C3D2-35D8-442C-98A9-9C1396FED729}"/>
              </a:ext>
            </a:extLst>
          </p:cNvPr>
          <p:cNvSpPr>
            <a:spLocks/>
          </p:cNvSpPr>
          <p:nvPr/>
        </p:nvSpPr>
        <p:spPr>
          <a:xfrm>
            <a:off x="669924" y="393032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Bahnschrift SemiCondensed" panose="020B0502040204020203" pitchFamily="34" charset="0"/>
              </a:rPr>
              <a:t>Emoji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D79F5AC-4BDD-4701-B7E3-6A72BA8367D4}"/>
              </a:ext>
            </a:extLst>
          </p:cNvPr>
          <p:cNvSpPr/>
          <p:nvPr/>
        </p:nvSpPr>
        <p:spPr>
          <a:xfrm>
            <a:off x="854187" y="1299278"/>
            <a:ext cx="376712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2400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rPr>
              <a:t>Some emojis are important…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572867E-9E7B-49E7-BFC4-2E450C059C45}"/>
              </a:ext>
            </a:extLst>
          </p:cNvPr>
          <p:cNvGrpSpPr/>
          <p:nvPr/>
        </p:nvGrpSpPr>
        <p:grpSpPr>
          <a:xfrm>
            <a:off x="2116052" y="1845037"/>
            <a:ext cx="1004079" cy="4169691"/>
            <a:chOff x="6197891" y="964046"/>
            <a:chExt cx="1211106" cy="5029426"/>
          </a:xfrm>
        </p:grpSpPr>
        <p:pic>
          <p:nvPicPr>
            <p:cNvPr id="88" name="圖片 6">
              <a:extLst>
                <a:ext uri="{FF2B5EF4-FFF2-40B4-BE49-F238E27FC236}">
                  <a16:creationId xmlns:a16="http://schemas.microsoft.com/office/drawing/2014/main" id="{DFB1E5DC-A431-4385-BDDE-590030D78C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05"/>
            <a:stretch/>
          </p:blipFill>
          <p:spPr>
            <a:xfrm>
              <a:off x="6197891" y="1859688"/>
              <a:ext cx="1211106" cy="4133784"/>
            </a:xfrm>
            <a:prstGeom prst="rect">
              <a:avLst/>
            </a:prstGeom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BD669323-1234-4043-BCF6-8F11A916C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76698" y="964046"/>
              <a:ext cx="853492" cy="843719"/>
            </a:xfrm>
            <a:prstGeom prst="rect">
              <a:avLst/>
            </a:prstGeom>
          </p:spPr>
        </p:pic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DC52C2AA-1C81-4F44-8C3E-334BC9DD79AC}"/>
              </a:ext>
            </a:extLst>
          </p:cNvPr>
          <p:cNvGrpSpPr/>
          <p:nvPr/>
        </p:nvGrpSpPr>
        <p:grpSpPr>
          <a:xfrm>
            <a:off x="965124" y="1845037"/>
            <a:ext cx="955785" cy="4169691"/>
            <a:chOff x="4941490" y="964046"/>
            <a:chExt cx="1152855" cy="5029426"/>
          </a:xfrm>
        </p:grpSpPr>
        <p:pic>
          <p:nvPicPr>
            <p:cNvPr id="87" name="圖片 4">
              <a:extLst>
                <a:ext uri="{FF2B5EF4-FFF2-40B4-BE49-F238E27FC236}">
                  <a16:creationId xmlns:a16="http://schemas.microsoft.com/office/drawing/2014/main" id="{81FDC197-EE86-4AEC-BFB1-971CEC5F4F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05"/>
            <a:stretch/>
          </p:blipFill>
          <p:spPr>
            <a:xfrm>
              <a:off x="4941490" y="1859688"/>
              <a:ext cx="1152855" cy="4133784"/>
            </a:xfrm>
            <a:prstGeom prst="rect">
              <a:avLst/>
            </a:prstGeom>
          </p:spPr>
        </p:pic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8099657-A0AD-43AD-AB89-1065E4D6E8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091171" y="964046"/>
              <a:ext cx="853492" cy="843719"/>
            </a:xfrm>
            <a:prstGeom prst="rect">
              <a:avLst/>
            </a:prstGeom>
          </p:spPr>
        </p:pic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B3E1F2C9-CCC4-4833-9476-DD0186F5569F}"/>
              </a:ext>
            </a:extLst>
          </p:cNvPr>
          <p:cNvGrpSpPr/>
          <p:nvPr/>
        </p:nvGrpSpPr>
        <p:grpSpPr>
          <a:xfrm>
            <a:off x="3312163" y="1845037"/>
            <a:ext cx="1080904" cy="4169691"/>
            <a:chOff x="7585474" y="964046"/>
            <a:chExt cx="1303772" cy="5029426"/>
          </a:xfrm>
        </p:grpSpPr>
        <p:pic>
          <p:nvPicPr>
            <p:cNvPr id="89" name="圖片 8">
              <a:extLst>
                <a:ext uri="{FF2B5EF4-FFF2-40B4-BE49-F238E27FC236}">
                  <a16:creationId xmlns:a16="http://schemas.microsoft.com/office/drawing/2014/main" id="{4A187E5E-BCF6-4B99-82D4-515AF2687B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05"/>
            <a:stretch/>
          </p:blipFill>
          <p:spPr>
            <a:xfrm>
              <a:off x="7585474" y="1859688"/>
              <a:ext cx="1303772" cy="4133784"/>
            </a:xfrm>
            <a:prstGeom prst="rect">
              <a:avLst/>
            </a:prstGeom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474E5AE2-7AF4-4C5B-B085-E7D8D7492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802420" y="964046"/>
              <a:ext cx="869881" cy="843719"/>
            </a:xfrm>
            <a:prstGeom prst="rect">
              <a:avLst/>
            </a:prstGeom>
          </p:spPr>
        </p:pic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85CCE8E2-0E93-42E7-8121-722CA34B3A65}"/>
              </a:ext>
            </a:extLst>
          </p:cNvPr>
          <p:cNvGrpSpPr/>
          <p:nvPr/>
        </p:nvGrpSpPr>
        <p:grpSpPr>
          <a:xfrm>
            <a:off x="5016747" y="1367187"/>
            <a:ext cx="3477756" cy="2189471"/>
            <a:chOff x="5016747" y="1367187"/>
            <a:chExt cx="3477756" cy="2189471"/>
          </a:xfrm>
        </p:grpSpPr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43226D48-F356-4287-B3BE-23412F653035}"/>
                </a:ext>
              </a:extLst>
            </p:cNvPr>
            <p:cNvGrpSpPr/>
            <p:nvPr/>
          </p:nvGrpSpPr>
          <p:grpSpPr>
            <a:xfrm>
              <a:off x="5016747" y="1401690"/>
              <a:ext cx="3477756" cy="2154968"/>
              <a:chOff x="5016747" y="1401690"/>
              <a:chExt cx="3477756" cy="2154968"/>
            </a:xfrm>
          </p:grpSpPr>
          <p:sp>
            <p:nvSpPr>
              <p:cNvPr id="115" name="Rectangle: Rounded Corners 114">
                <a:extLst>
                  <a:ext uri="{FF2B5EF4-FFF2-40B4-BE49-F238E27FC236}">
                    <a16:creationId xmlns:a16="http://schemas.microsoft.com/office/drawing/2014/main" id="{4877155D-377E-4FB8-9E7C-C9F38AA2C6F3}"/>
                  </a:ext>
                </a:extLst>
              </p:cNvPr>
              <p:cNvSpPr/>
              <p:nvPr/>
            </p:nvSpPr>
            <p:spPr>
              <a:xfrm>
                <a:off x="5016747" y="1628774"/>
                <a:ext cx="3477756" cy="1927884"/>
              </a:xfrm>
              <a:prstGeom prst="roundRect">
                <a:avLst>
                  <a:gd name="adj" fmla="val 9256"/>
                </a:avLst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4C071934-6147-44CA-AC25-552D4ACA7964}"/>
                  </a:ext>
                </a:extLst>
              </p:cNvPr>
              <p:cNvSpPr/>
              <p:nvPr/>
            </p:nvSpPr>
            <p:spPr>
              <a:xfrm>
                <a:off x="5133976" y="1401690"/>
                <a:ext cx="2847974" cy="35925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D94FFB5A-055E-4002-B080-E0CD9F739CB6}"/>
                </a:ext>
              </a:extLst>
            </p:cNvPr>
            <p:cNvGrpSpPr/>
            <p:nvPr/>
          </p:nvGrpSpPr>
          <p:grpSpPr>
            <a:xfrm>
              <a:off x="5257990" y="1367187"/>
              <a:ext cx="3127094" cy="2081059"/>
              <a:chOff x="5334772" y="1280468"/>
              <a:chExt cx="3127094" cy="2081059"/>
            </a:xfrm>
          </p:grpSpPr>
          <p:sp>
            <p:nvSpPr>
              <p:cNvPr id="101" name="矩形 15">
                <a:extLst>
                  <a:ext uri="{FF2B5EF4-FFF2-40B4-BE49-F238E27FC236}">
                    <a16:creationId xmlns:a16="http://schemas.microsoft.com/office/drawing/2014/main" id="{4D3D481F-6B92-4A9A-83DA-F2FF233BFF56}"/>
                  </a:ext>
                </a:extLst>
              </p:cNvPr>
              <p:cNvSpPr/>
              <p:nvPr/>
            </p:nvSpPr>
            <p:spPr>
              <a:xfrm>
                <a:off x="5334772" y="1280468"/>
                <a:ext cx="2685543" cy="461665"/>
              </a:xfrm>
              <a:prstGeom prst="rect">
                <a:avLst/>
              </a:prstGeom>
            </p:spPr>
            <p:txBody>
              <a:bodyPr wrap="square" lIns="0" tIns="45720" rIns="91440" bIns="45720">
                <a:spAutoFit/>
              </a:bodyPr>
              <a:lstStyle/>
              <a:p>
                <a:r>
                  <a:rPr lang="en-US" altLang="zh-TW" sz="2400" dirty="0">
                    <a:solidFill>
                      <a:schemeClr val="bg2">
                        <a:lumMod val="25000"/>
                      </a:schemeClr>
                    </a:solidFill>
                    <a:latin typeface="Tw Cen MT" panose="020B0602020104020603" pitchFamily="34" charset="0"/>
                  </a:rPr>
                  <a:t>Remain for main text:</a:t>
                </a:r>
              </a:p>
            </p:txBody>
          </p:sp>
          <p:pic>
            <p:nvPicPr>
              <p:cNvPr id="111" name="Picture 110">
                <a:extLst>
                  <a:ext uri="{FF2B5EF4-FFF2-40B4-BE49-F238E27FC236}">
                    <a16:creationId xmlns:a16="http://schemas.microsoft.com/office/drawing/2014/main" id="{D4510BCA-16F4-4BA5-8F1E-C63FEE162F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334772" y="1764870"/>
                <a:ext cx="3127094" cy="1596657"/>
              </a:xfrm>
              <a:prstGeom prst="rect">
                <a:avLst/>
              </a:prstGeom>
            </p:spPr>
          </p:pic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D071F130-0564-4143-8FD2-A8E1B9F4264F}"/>
              </a:ext>
            </a:extLst>
          </p:cNvPr>
          <p:cNvGrpSpPr/>
          <p:nvPr/>
        </p:nvGrpSpPr>
        <p:grpSpPr>
          <a:xfrm>
            <a:off x="5016747" y="3655499"/>
            <a:ext cx="3477756" cy="2481775"/>
            <a:chOff x="5016747" y="3655499"/>
            <a:chExt cx="3477756" cy="2481775"/>
          </a:xfrm>
        </p:grpSpPr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92B33546-B969-401A-B983-7DD636E4EC59}"/>
                </a:ext>
              </a:extLst>
            </p:cNvPr>
            <p:cNvGrpSpPr/>
            <p:nvPr/>
          </p:nvGrpSpPr>
          <p:grpSpPr>
            <a:xfrm>
              <a:off x="5016747" y="3688604"/>
              <a:ext cx="3477756" cy="2448670"/>
              <a:chOff x="5016747" y="3688604"/>
              <a:chExt cx="3477756" cy="2448670"/>
            </a:xfrm>
          </p:grpSpPr>
          <p:sp>
            <p:nvSpPr>
              <p:cNvPr id="116" name="Rectangle: Rounded Corners 115">
                <a:extLst>
                  <a:ext uri="{FF2B5EF4-FFF2-40B4-BE49-F238E27FC236}">
                    <a16:creationId xmlns:a16="http://schemas.microsoft.com/office/drawing/2014/main" id="{A4FD84E5-0C00-4735-A439-3394743F0AD6}"/>
                  </a:ext>
                </a:extLst>
              </p:cNvPr>
              <p:cNvSpPr/>
              <p:nvPr/>
            </p:nvSpPr>
            <p:spPr>
              <a:xfrm>
                <a:off x="5016747" y="3922921"/>
                <a:ext cx="3477756" cy="2214353"/>
              </a:xfrm>
              <a:prstGeom prst="roundRect">
                <a:avLst>
                  <a:gd name="adj" fmla="val 8471"/>
                </a:avLst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662DA041-042A-4756-BFF5-560F9503F344}"/>
                  </a:ext>
                </a:extLst>
              </p:cNvPr>
              <p:cNvSpPr/>
              <p:nvPr/>
            </p:nvSpPr>
            <p:spPr>
              <a:xfrm>
                <a:off x="5133976" y="3688604"/>
                <a:ext cx="2371724" cy="35925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AF027B6-2A3D-4741-A158-5E07ACB43653}"/>
                </a:ext>
              </a:extLst>
            </p:cNvPr>
            <p:cNvGrpSpPr/>
            <p:nvPr/>
          </p:nvGrpSpPr>
          <p:grpSpPr>
            <a:xfrm>
              <a:off x="5257990" y="3655499"/>
              <a:ext cx="3127094" cy="2407477"/>
              <a:chOff x="5334774" y="3686104"/>
              <a:chExt cx="3127094" cy="2407477"/>
            </a:xfrm>
          </p:grpSpPr>
          <p:sp>
            <p:nvSpPr>
              <p:cNvPr id="102" name="矩形 37">
                <a:extLst>
                  <a:ext uri="{FF2B5EF4-FFF2-40B4-BE49-F238E27FC236}">
                    <a16:creationId xmlns:a16="http://schemas.microsoft.com/office/drawing/2014/main" id="{858ECA0E-F9DE-4A16-A794-4E950EFB916A}"/>
                  </a:ext>
                </a:extLst>
              </p:cNvPr>
              <p:cNvSpPr/>
              <p:nvPr/>
            </p:nvSpPr>
            <p:spPr>
              <a:xfrm>
                <a:off x="5334774" y="3686104"/>
                <a:ext cx="2205797" cy="461665"/>
              </a:xfrm>
              <a:prstGeom prst="rect">
                <a:avLst/>
              </a:prstGeom>
            </p:spPr>
            <p:txBody>
              <a:bodyPr wrap="none" lIns="0" tIns="45720" rIns="91440" bIns="45720">
                <a:spAutoFit/>
              </a:bodyPr>
              <a:lstStyle/>
              <a:p>
                <a:r>
                  <a:rPr lang="en-US" altLang="zh-TW" sz="2400" dirty="0">
                    <a:solidFill>
                      <a:schemeClr val="bg2">
                        <a:lumMod val="25000"/>
                      </a:schemeClr>
                    </a:solidFill>
                    <a:latin typeface="Tw Cen MT" panose="020B0602020104020603" pitchFamily="34" charset="0"/>
                  </a:rPr>
                  <a:t>Remain for reply:</a:t>
                </a:r>
              </a:p>
            </p:txBody>
          </p:sp>
          <p:pic>
            <p:nvPicPr>
              <p:cNvPr id="112" name="Picture 111">
                <a:extLst>
                  <a:ext uri="{FF2B5EF4-FFF2-40B4-BE49-F238E27FC236}">
                    <a16:creationId xmlns:a16="http://schemas.microsoft.com/office/drawing/2014/main" id="{487464DA-DBDD-4C4D-85CD-18326B8BAE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334774" y="4160468"/>
                <a:ext cx="3127094" cy="1933113"/>
              </a:xfrm>
              <a:prstGeom prst="rect">
                <a:avLst/>
              </a:prstGeom>
            </p:spPr>
          </p:pic>
        </p:grpSp>
      </p:grp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3A3D25F-228C-4A6D-8EFA-C0BDCFBD6D19}"/>
              </a:ext>
            </a:extLst>
          </p:cNvPr>
          <p:cNvSpPr>
            <a:spLocks/>
          </p:cNvSpPr>
          <p:nvPr/>
        </p:nvSpPr>
        <p:spPr>
          <a:xfrm>
            <a:off x="662084" y="-635668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altLang="zh-TW" sz="3200" b="1" dirty="0">
                <a:solidFill>
                  <a:schemeClr val="accent2"/>
                </a:solidFill>
                <a:latin typeface="Bahnschrift SemiCondensed" panose="020B0502040204020203" pitchFamily="34" charset="0"/>
              </a:rPr>
              <a:t>Word Cloud of each Categories</a:t>
            </a:r>
            <a:endParaRPr lang="en-US" altLang="zh-TW" sz="3200" dirty="0">
              <a:solidFill>
                <a:schemeClr val="accent2"/>
              </a:solidFill>
              <a:latin typeface="Tw Cen MT" panose="020B0602020104020603" pitchFamily="34" charset="0"/>
            </a:endParaRPr>
          </a:p>
        </p:txBody>
      </p: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126" name="3D Model 125" descr="Thinking Face Emoji">
                <a:extLst>
                  <a:ext uri="{FF2B5EF4-FFF2-40B4-BE49-F238E27FC236}">
                    <a16:creationId xmlns:a16="http://schemas.microsoft.com/office/drawing/2014/main" id="{4CD54A60-A407-4CD6-A585-690F1AE122B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09495354"/>
                  </p:ext>
                </p:extLst>
              </p:nvPr>
            </p:nvGraphicFramePr>
            <p:xfrm>
              <a:off x="298081" y="5857921"/>
              <a:ext cx="728006" cy="917100"/>
            </p:xfrm>
            <a:graphic>
              <a:graphicData uri="http://schemas.microsoft.com/office/drawing/2017/model3d">
                <am3d:model3d r:embed="rId12">
                  <am3d:spPr>
                    <a:xfrm>
                      <a:off x="0" y="0"/>
                      <a:ext cx="728006" cy="917100"/>
                    </a:xfrm>
                    <a:prstGeom prst="rect">
                      <a:avLst/>
                    </a:prstGeom>
                  </am3d:spPr>
                  <am3d:camera>
                    <am3d:pos x="0" y="0" z="78335969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89687" d="1000000"/>
                    <am3d:preTrans dx="3" dy="-16951004" dz="-1048983"/>
                    <am3d:scale>
                      <am3d:sx n="1000000" d="1000000"/>
                      <am3d:sy n="1000000" d="1000000"/>
                      <am3d:sz n="1000000" d="1000000"/>
                    </am3d:scale>
                    <am3d:rot ax="1398126" ay="138654" az="59699"/>
                    <am3d:postTrans dx="0" dy="0" dz="0"/>
                  </am3d:trans>
                  <am3d:raster rName="Office3DRenderer" rVer="16.0.8326">
                    <am3d:blip r:embed="rId13"/>
                  </am3d:raster>
                  <am3d:objViewport viewportSz="1238556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126" name="3D Model 125" descr="Thinking Face Emoji">
                <a:extLst>
                  <a:ext uri="{FF2B5EF4-FFF2-40B4-BE49-F238E27FC236}">
                    <a16:creationId xmlns:a16="http://schemas.microsoft.com/office/drawing/2014/main" id="{4CD54A60-A407-4CD6-A585-690F1AE122B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98081" y="5857921"/>
                <a:ext cx="728006" cy="917100"/>
              </a:xfrm>
              <a:prstGeom prst="rect">
                <a:avLst/>
              </a:prstGeom>
            </p:spPr>
          </p:pic>
        </mc:Fallback>
      </mc:AlternateContent>
      <p:pic>
        <p:nvPicPr>
          <p:cNvPr id="127" name="圖片 2">
            <a:extLst>
              <a:ext uri="{FF2B5EF4-FFF2-40B4-BE49-F238E27FC236}">
                <a16:creationId xmlns:a16="http://schemas.microsoft.com/office/drawing/2014/main" id="{2717976A-FB48-47B4-8FFF-032160535BE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65973" y="2199909"/>
            <a:ext cx="3152775" cy="2695575"/>
          </a:xfrm>
          <a:prstGeom prst="rect">
            <a:avLst/>
          </a:prstGeom>
        </p:spPr>
      </p:pic>
      <p:pic>
        <p:nvPicPr>
          <p:cNvPr id="128" name="圖片 4">
            <a:extLst>
              <a:ext uri="{FF2B5EF4-FFF2-40B4-BE49-F238E27FC236}">
                <a16:creationId xmlns:a16="http://schemas.microsoft.com/office/drawing/2014/main" id="{13B31DD2-3491-450E-BE06-8EE932ADEE9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12206" y="2199909"/>
            <a:ext cx="3333750" cy="27527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944672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9" presetClass="emph" presetSubtype="1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sum">
                                        <p:cTn id="6" dur="22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3d.view.rot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120">
                                          <p:val>
                                            <p:fltVal val="-0.0012"/>
                                          </p:val>
                                        </p:tav>
                                        <p:tav tm="2250">
                                          <p:val>
                                            <p:fltVal val="-0.0098"/>
                                          </p:val>
                                        </p:tav>
                                        <p:tav tm="3370">
                                          <p:val>
                                            <p:fltVal val="-0.033"/>
                                          </p:val>
                                        </p:tav>
                                        <p:tav tm="4490">
                                          <p:val>
                                            <p:fltVal val="-0.0789"/>
                                          </p:val>
                                        </p:tav>
                                        <p:tav tm="5620">
                                          <p:val>
                                            <p:fltVal val="-0.1548"/>
                                          </p:val>
                                        </p:tav>
                                        <p:tav tm="6740">
                                          <p:val>
                                            <p:fltVal val="-0.267"/>
                                          </p:val>
                                        </p:tav>
                                        <p:tav tm="7870">
                                          <p:val>
                                            <p:fltVal val="-0.4235"/>
                                          </p:val>
                                        </p:tav>
                                        <p:tav tm="8990">
                                          <p:val>
                                            <p:fltVal val="-0.6337"/>
                                          </p:val>
                                        </p:tav>
                                        <p:tav tm="10110">
                                          <p:val>
                                            <p:fltVal val="-0.9013"/>
                                          </p:val>
                                        </p:tav>
                                        <p:tav tm="11240">
                                          <p:val>
                                            <p:fltVal val="-1.2353"/>
                                          </p:val>
                                        </p:tav>
                                        <p:tav tm="12360">
                                          <p:val>
                                            <p:fltVal val="-1.647"/>
                                          </p:val>
                                        </p:tav>
                                        <p:tav tm="13480">
                                          <p:val>
                                            <p:fltVal val="-2.0869"/>
                                          </p:val>
                                        </p:tav>
                                        <p:tav tm="14610">
                                          <p:val>
                                            <p:fltVal val="-2.4538"/>
                                          </p:val>
                                        </p:tav>
                                        <p:tav tm="15730">
                                          <p:val>
                                            <p:fltVal val="-2.7534"/>
                                          </p:val>
                                        </p:tav>
                                        <p:tav tm="16850">
                                          <p:val>
                                            <p:fltVal val="-2.9876"/>
                                          </p:val>
                                        </p:tav>
                                        <p:tav tm="17980">
                                          <p:val>
                                            <p:fltVal val="-3.1669"/>
                                          </p:val>
                                        </p:tav>
                                        <p:tav tm="19100">
                                          <p:val>
                                            <p:fltVal val="-3.2996"/>
                                          </p:val>
                                        </p:tav>
                                        <p:tav tm="20220">
                                          <p:val>
                                            <p:fltVal val="-3.3906"/>
                                          </p:val>
                                        </p:tav>
                                        <p:tav tm="21350">
                                          <p:val>
                                            <p:fltVal val="-3.4488"/>
                                          </p:val>
                                        </p:tav>
                                        <p:tav tm="22470">
                                          <p:val>
                                            <p:fltVal val="-3.4815"/>
                                          </p:val>
                                        </p:tav>
                                        <p:tav tm="23600">
                                          <p:val>
                                            <p:fltVal val="-3.4961"/>
                                          </p:val>
                                        </p:tav>
                                        <p:tav tm="24720">
                                          <p:val>
                                            <p:fltVal val="-3.4998"/>
                                          </p:val>
                                        </p:tav>
                                        <p:tav tm="25840">
                                          <p:val>
                                            <p:fltVal val="-3.0301"/>
                                          </p:val>
                                        </p:tav>
                                        <p:tav tm="26970">
                                          <p:val>
                                            <p:fltVal val="-0.9661"/>
                                          </p:val>
                                        </p:tav>
                                        <p:tav tm="28090">
                                          <p:val>
                                            <p:fltVal val="2.1525"/>
                                          </p:val>
                                        </p:tav>
                                        <p:tav tm="29210">
                                          <p:val>
                                            <p:fltVal val="6.1215"/>
                                          </p:val>
                                        </p:tav>
                                        <p:tav tm="30340">
                                          <p:val>
                                            <p:fltVal val="10.8322"/>
                                          </p:val>
                                        </p:tav>
                                        <p:tav tm="31460">
                                          <p:val>
                                            <p:fltVal val="16.2132"/>
                                          </p:val>
                                        </p:tav>
                                        <p:tav tm="32580">
                                          <p:val>
                                            <p:fltVal val="22.2128"/>
                                          </p:val>
                                        </p:tav>
                                        <p:tav tm="33710">
                                          <p:val>
                                            <p:fltVal val="28.7297"/>
                                          </p:val>
                                        </p:tav>
                                        <p:tav tm="34830">
                                          <p:val>
                                            <p:fltVal val="35.8493"/>
                                          </p:val>
                                        </p:tav>
                                        <p:tav tm="35960">
                                          <p:val>
                                            <p:fltVal val="43.4888"/>
                                          </p:val>
                                        </p:tav>
                                        <p:tav tm="37080">
                                          <p:val>
                                            <p:fltVal val="51.6257"/>
                                          </p:val>
                                        </p:tav>
                                        <p:tav tm="38200">
                                          <p:val>
                                            <p:fltVal val="60.2402"/>
                                          </p:val>
                                        </p:tav>
                                        <p:tav tm="39330">
                                          <p:val>
                                            <p:fltVal val="69.3155"/>
                                          </p:val>
                                        </p:tav>
                                        <p:tav tm="40450">
                                          <p:val>
                                            <p:fltVal val="78.8364"/>
                                          </p:val>
                                        </p:tav>
                                        <p:tav tm="41570">
                                          <p:val>
                                            <p:fltVal val="88.6987"/>
                                          </p:val>
                                        </p:tav>
                                        <p:tav tm="42700">
                                          <p:val>
                                            <p:fltVal val="99.0679"/>
                                          </p:val>
                                        </p:tav>
                                        <p:tav tm="43820">
                                          <p:val>
                                            <p:fltVal val="109.8461"/>
                                          </p:val>
                                        </p:tav>
                                        <p:tav tm="44940">
                                          <p:val>
                                            <p:fltVal val="121.0232"/>
                                          </p:val>
                                        </p:tav>
                                        <p:tav tm="46070">
                                          <p:val>
                                            <p:fltVal val="132.5899"/>
                                          </p:val>
                                        </p:tav>
                                        <p:tav tm="47190">
                                          <p:val>
                                            <p:fltVal val="144.5376"/>
                                          </p:val>
                                        </p:tav>
                                        <p:tav tm="48310">
                                          <p:val>
                                            <p:fltVal val="156.85851"/>
                                          </p:val>
                                        </p:tav>
                                        <p:tav tm="49440">
                                          <p:val>
                                            <p:fltVal val="169.43021"/>
                                          </p:val>
                                        </p:tav>
                                        <p:tav tm="50560">
                                          <p:val>
                                            <p:fltVal val="182.34309"/>
                                          </p:val>
                                        </p:tav>
                                        <p:tav tm="51690">
                                          <p:val>
                                            <p:fltVal val="195.1411"/>
                                          </p:val>
                                        </p:tav>
                                        <p:tav tm="52810">
                                          <p:val>
                                            <p:fltVal val="207.6945"/>
                                          </p:val>
                                        </p:tav>
                                        <p:tav tm="53930">
                                          <p:val>
                                            <p:fltVal val="219.77251"/>
                                          </p:val>
                                        </p:tav>
                                        <p:tav tm="55060">
                                          <p:val>
                                            <p:fltVal val="231.4814"/>
                                          </p:val>
                                        </p:tav>
                                        <p:tav tm="56180">
                                          <p:val>
                                            <p:fltVal val="242.91341"/>
                                          </p:val>
                                        </p:tav>
                                        <p:tav tm="57300">
                                          <p:val>
                                            <p:fltVal val="253.8558"/>
                                          </p:val>
                                        </p:tav>
                                        <p:tav tm="58430">
                                          <p:val>
                                            <p:fltVal val="264.40329"/>
                                          </p:val>
                                        </p:tav>
                                        <p:tav tm="59550">
                                          <p:val>
                                            <p:fltVal val="274.63501"/>
                                          </p:val>
                                        </p:tav>
                                        <p:tav tm="60670">
                                          <p:val>
                                            <p:fltVal val="284.35721"/>
                                          </p:val>
                                        </p:tav>
                                        <p:tav tm="61800">
                                          <p:val>
                                            <p:fltVal val="293.6507"/>
                                          </p:val>
                                        </p:tav>
                                        <p:tav tm="62920">
                                          <p:val>
                                            <p:fltVal val="302.57959"/>
                                          </p:val>
                                        </p:tav>
                                        <p:tav tm="64040">
                                          <p:val>
                                            <p:fltVal val="310.96921"/>
                                          </p:val>
                                        </p:tav>
                                        <p:tav tm="65170">
                                          <p:val>
                                            <p:fltVal val="318.88379"/>
                                          </p:val>
                                        </p:tav>
                                        <p:tav tm="66290">
                                          <p:val>
                                            <p:fltVal val="326.36801"/>
                                          </p:val>
                                        </p:tav>
                                        <p:tav tm="67420">
                                          <p:val>
                                            <p:fltVal val="333.26511"/>
                                          </p:val>
                                        </p:tav>
                                        <p:tav tm="68540">
                                          <p:val>
                                            <p:fltVal val="339.6712"/>
                                          </p:val>
                                        </p:tav>
                                        <p:tav tm="69660">
                                          <p:val>
                                            <p:fltVal val="345.43851"/>
                                          </p:val>
                                        </p:tav>
                                        <p:tav tm="70790">
                                          <p:val>
                                            <p:fltVal val="350.58469"/>
                                          </p:val>
                                        </p:tav>
                                        <p:tav tm="71910">
                                          <p:val>
                                            <p:fltVal val="355.09189"/>
                                          </p:val>
                                        </p:tav>
                                        <p:tav tm="73030">
                                          <p:val>
                                            <p:fltVal val="358.80179"/>
                                          </p:val>
                                        </p:tav>
                                        <p:tav tm="74160">
                                          <p:val>
                                            <p:fltVal val="361.63531"/>
                                          </p:val>
                                        </p:tav>
                                        <p:tav tm="75280">
                                          <p:val>
                                            <p:fltVal val="363.345"/>
                                          </p:val>
                                        </p:tav>
                                        <p:tav tm="76400">
                                          <p:val>
                                            <p:fltVal val="363.4978"/>
                                          </p:val>
                                        </p:tav>
                                        <p:tav tm="77530">
                                          <p:val>
                                            <p:fltVal val="363.47061"/>
                                          </p:val>
                                        </p:tav>
                                        <p:tav tm="78650">
                                          <p:val>
                                            <p:fltVal val="363.38339"/>
                                          </p:val>
                                        </p:tav>
                                        <p:tav tm="79780">
                                          <p:val>
                                            <p:fltVal val="363.20349"/>
                                          </p:val>
                                        </p:tav>
                                        <p:tav tm="80900">
                                          <p:val>
                                            <p:fltVal val="362.8963"/>
                                          </p:val>
                                        </p:tav>
                                        <p:tav tm="82020">
                                          <p:val>
                                            <p:fltVal val="362.4227"/>
                                          </p:val>
                                        </p:tav>
                                        <p:tav tm="83150">
                                          <p:val>
                                            <p:fltVal val="361.7569"/>
                                          </p:val>
                                        </p:tav>
                                        <p:tav tm="84270">
                                          <p:val>
                                            <p:fltVal val="361.0874"/>
                                          </p:val>
                                        </p:tav>
                                        <p:tav tm="85390">
                                          <p:val>
                                            <p:fltVal val="360.6105"/>
                                          </p:val>
                                        </p:tav>
                                        <p:tav tm="86520">
                                          <p:val>
                                            <p:fltVal val="360.30069"/>
                                          </p:val>
                                        </p:tav>
                                        <p:tav tm="87640">
                                          <p:val>
                                            <p:fltVal val="360.1188"/>
                                          </p:val>
                                        </p:tav>
                                        <p:tav tm="88760">
                                          <p:val>
                                            <p:fltVal val="360.03021"/>
                                          </p:val>
                                        </p:tav>
                                        <p:tav tm="89890">
                                          <p:val>
                                            <p:fltVal val="360.00229"/>
                                          </p:val>
                                        </p:tav>
                                        <p:tav tm="91010">
                                          <p:val>
                                            <p:fltVal val="360"/>
                                          </p:val>
                                        </p:tav>
                                        <p:tav tm="92130">
                                          <p:val>
                                            <p:fltVal val="360"/>
                                          </p:val>
                                        </p:tav>
                                        <p:tav tm="93260">
                                          <p:val>
                                            <p:fltVal val="360"/>
                                          </p:val>
                                        </p:tav>
                                        <p:tav tm="94380">
                                          <p:val>
                                            <p:fltVal val="360"/>
                                          </p:val>
                                        </p:tav>
                                        <p:tav tm="95510">
                                          <p:val>
                                            <p:fltVal val="360"/>
                                          </p:val>
                                        </p:tav>
                                        <p:tav tm="96630">
                                          <p:val>
                                            <p:fltVal val="360"/>
                                          </p:val>
                                        </p:tav>
                                        <p:tav tm="97750">
                                          <p:val>
                                            <p:fltVal val="360"/>
                                          </p:val>
                                        </p:tav>
                                        <p:tav tm="9888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36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sum">
                                        <p:cTn id="7" dur="22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3d.view.translation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120">
                                          <p:val>
                                            <p:fltVal val="0"/>
                                          </p:val>
                                        </p:tav>
                                        <p:tav tm="2250">
                                          <p:val>
                                            <p:fltVal val="-10E-5"/>
                                          </p:val>
                                        </p:tav>
                                        <p:tav tm="3370">
                                          <p:val>
                                            <p:fltVal val="-0.0004"/>
                                          </p:val>
                                        </p:tav>
                                        <p:tav tm="4490">
                                          <p:val>
                                            <p:fltVal val="-0.0011"/>
                                          </p:val>
                                        </p:tav>
                                        <p:tav tm="5620">
                                          <p:val>
                                            <p:fltVal val="-0.0021"/>
                                          </p:val>
                                        </p:tav>
                                        <p:tav tm="6740">
                                          <p:val>
                                            <p:fltVal val="-0.0037"/>
                                          </p:val>
                                        </p:tav>
                                        <p:tav tm="7870">
                                          <p:val>
                                            <p:fltVal val="-0.0059"/>
                                          </p:val>
                                        </p:tav>
                                        <p:tav tm="8990">
                                          <p:val>
                                            <p:fltVal val="-0.0088"/>
                                          </p:val>
                                        </p:tav>
                                        <p:tav tm="10110">
                                          <p:val>
                                            <p:fltVal val="-0.0125"/>
                                          </p:val>
                                        </p:tav>
                                        <p:tav tm="11240">
                                          <p:val>
                                            <p:fltVal val="-0.0162"/>
                                          </p:val>
                                        </p:tav>
                                        <p:tav tm="12360">
                                          <p:val>
                                            <p:fltVal val="-0.0191"/>
                                          </p:val>
                                        </p:tav>
                                        <p:tav tm="13480">
                                          <p:val>
                                            <p:fltVal val="-0.0213"/>
                                          </p:val>
                                        </p:tav>
                                        <p:tav tm="14610">
                                          <p:val>
                                            <p:fltVal val="-0.0228"/>
                                          </p:val>
                                        </p:tav>
                                        <p:tav tm="15730">
                                          <p:val>
                                            <p:fltVal val="-0.0239"/>
                                          </p:val>
                                        </p:tav>
                                        <p:tav tm="16850">
                                          <p:val>
                                            <p:fltVal val="-0.0245"/>
                                          </p:val>
                                        </p:tav>
                                        <p:tav tm="17980">
                                          <p:val>
                                            <p:fltVal val="-0.0248"/>
                                          </p:val>
                                        </p:tav>
                                        <p:tav tm="19100">
                                          <p:val>
                                            <p:fltVal val="-0.0249"/>
                                          </p:val>
                                        </p:tav>
                                        <p:tav tm="20220">
                                          <p:val>
                                            <p:fltVal val="-0.0249"/>
                                          </p:val>
                                        </p:tav>
                                        <p:tav tm="21350">
                                          <p:val>
                                            <p:fltVal val="-0.0248"/>
                                          </p:val>
                                        </p:tav>
                                        <p:tav tm="22470">
                                          <p:val>
                                            <p:fltVal val="-0.0241"/>
                                          </p:val>
                                        </p:tav>
                                        <p:tav tm="23600">
                                          <p:val>
                                            <p:fltVal val="-0.022"/>
                                          </p:val>
                                        </p:tav>
                                        <p:tav tm="24720">
                                          <p:val>
                                            <p:fltVal val="-0.0179"/>
                                          </p:val>
                                        </p:tav>
                                        <p:tav tm="25840">
                                          <p:val>
                                            <p:fltVal val="-0.0113"/>
                                          </p:val>
                                        </p:tav>
                                        <p:tav tm="26970">
                                          <p:val>
                                            <p:fltVal val="-0.0013"/>
                                          </p:val>
                                        </p:tav>
                                        <p:tav tm="28090">
                                          <p:val>
                                            <p:fltVal val="0.0124"/>
                                          </p:val>
                                        </p:tav>
                                        <p:tav tm="29210">
                                          <p:val>
                                            <p:fltVal val="0.0309"/>
                                          </p:val>
                                        </p:tav>
                                        <p:tav tm="30340">
                                          <p:val>
                                            <p:fltVal val="0.0546"/>
                                          </p:val>
                                        </p:tav>
                                        <p:tav tm="31460">
                                          <p:val>
                                            <p:fltVal val="0.0842"/>
                                          </p:val>
                                        </p:tav>
                                        <p:tav tm="32580">
                                          <p:val>
                                            <p:fltVal val="0.1204"/>
                                          </p:val>
                                        </p:tav>
                                        <p:tav tm="33710">
                                          <p:val>
                                            <p:fltVal val="0.1634"/>
                                          </p:val>
                                        </p:tav>
                                        <p:tav tm="34830">
                                          <p:val>
                                            <p:fltVal val="0.2145"/>
                                          </p:val>
                                        </p:tav>
                                        <p:tav tm="35960">
                                          <p:val>
                                            <p:fltVal val="0.2711"/>
                                          </p:val>
                                        </p:tav>
                                        <p:tav tm="37080">
                                          <p:val>
                                            <p:fltVal val="0.3207"/>
                                          </p:val>
                                        </p:tav>
                                        <p:tav tm="38200">
                                          <p:val>
                                            <p:fltVal val="0.3625"/>
                                          </p:val>
                                        </p:tav>
                                        <p:tav tm="39330">
                                          <p:val>
                                            <p:fltVal val="0.3973"/>
                                          </p:val>
                                        </p:tav>
                                        <p:tav tm="40450">
                                          <p:val>
                                            <p:fltVal val="0.4256"/>
                                          </p:val>
                                        </p:tav>
                                        <p:tav tm="41570">
                                          <p:val>
                                            <p:fltVal val="0.448"/>
                                          </p:val>
                                        </p:tav>
                                        <p:tav tm="42700">
                                          <p:val>
                                            <p:fltVal val="0.4655"/>
                                          </p:val>
                                        </p:tav>
                                        <p:tav tm="43820">
                                          <p:val>
                                            <p:fltVal val="0.4786"/>
                                          </p:val>
                                        </p:tav>
                                        <p:tav tm="44940">
                                          <p:val>
                                            <p:fltVal val="0.4878"/>
                                          </p:val>
                                        </p:tav>
                                        <p:tav tm="46070">
                                          <p:val>
                                            <p:fltVal val="0.4939"/>
                                          </p:val>
                                        </p:tav>
                                        <p:tav tm="47190">
                                          <p:val>
                                            <p:fltVal val="0.4975"/>
                                          </p:val>
                                        </p:tav>
                                        <p:tav tm="48310">
                                          <p:val>
                                            <p:fltVal val="0.4993"/>
                                          </p:val>
                                        </p:tav>
                                        <p:tav tm="49440">
                                          <p:val>
                                            <p:fltVal val="0.4999"/>
                                          </p:val>
                                        </p:tav>
                                        <p:tav tm="50560">
                                          <p:val>
                                            <p:fltVal val="0.4999"/>
                                          </p:val>
                                        </p:tav>
                                        <p:tav tm="51690">
                                          <p:val>
                                            <p:fltVal val="0.4998"/>
                                          </p:val>
                                        </p:tav>
                                        <p:tav tm="52810">
                                          <p:val>
                                            <p:fltVal val="0.4988"/>
                                          </p:val>
                                        </p:tav>
                                        <p:tav tm="53930">
                                          <p:val>
                                            <p:fltVal val="0.4965"/>
                                          </p:val>
                                        </p:tav>
                                        <p:tav tm="55060">
                                          <p:val>
                                            <p:fltVal val="0.4921"/>
                                          </p:val>
                                        </p:tav>
                                        <p:tav tm="56180">
                                          <p:val>
                                            <p:fltVal val="0.485"/>
                                          </p:val>
                                        </p:tav>
                                        <p:tav tm="57300">
                                          <p:val>
                                            <p:fltVal val="0.4746"/>
                                          </p:val>
                                        </p:tav>
                                        <p:tav tm="58430">
                                          <p:val>
                                            <p:fltVal val="0.4603"/>
                                          </p:val>
                                        </p:tav>
                                        <p:tav tm="59550">
                                          <p:val>
                                            <p:fltVal val="0.4411"/>
                                          </p:val>
                                        </p:tav>
                                        <p:tav tm="60670">
                                          <p:val>
                                            <p:fltVal val="0.4169"/>
                                          </p:val>
                                        </p:tav>
                                        <p:tav tm="61800">
                                          <p:val>
                                            <p:fltVal val="0.3868"/>
                                          </p:val>
                                        </p:tav>
                                        <p:tav tm="62920">
                                          <p:val>
                                            <p:fltVal val="0.3499"/>
                                          </p:val>
                                        </p:tav>
                                        <p:tav tm="64040">
                                          <p:val>
                                            <p:fltVal val="0.306"/>
                                          </p:val>
                                        </p:tav>
                                        <p:tav tm="65170">
                                          <p:val>
                                            <p:fltVal val="0.2544"/>
                                          </p:val>
                                        </p:tav>
                                        <p:tav tm="66290">
                                          <p:val>
                                            <p:fltVal val="0.1981"/>
                                          </p:val>
                                        </p:tav>
                                        <p:tav tm="67420">
                                          <p:val>
                                            <p:fltVal val="0.1498"/>
                                          </p:val>
                                        </p:tav>
                                        <p:tav tm="68540">
                                          <p:val>
                                            <p:fltVal val="0.1087"/>
                                          </p:val>
                                        </p:tav>
                                        <p:tav tm="69660">
                                          <p:val>
                                            <p:fltVal val="0.0748"/>
                                          </p:val>
                                        </p:tav>
                                        <p:tav tm="70790">
                                          <p:val>
                                            <p:fltVal val="0.0473"/>
                                          </p:val>
                                        </p:tav>
                                        <p:tav tm="71910">
                                          <p:val>
                                            <p:fltVal val="0.0251"/>
                                          </p:val>
                                        </p:tav>
                                        <p:tav tm="73030">
                                          <p:val>
                                            <p:fltVal val="0.0082"/>
                                          </p:val>
                                        </p:tav>
                                        <p:tav tm="74160">
                                          <p:val>
                                            <p:fltVal val="-0.0044"/>
                                          </p:val>
                                        </p:tav>
                                        <p:tav tm="75280">
                                          <p:val>
                                            <p:fltVal val="-0.0134"/>
                                          </p:val>
                                        </p:tav>
                                        <p:tav tm="76400">
                                          <p:val>
                                            <p:fltVal val="-0.0192"/>
                                          </p:val>
                                        </p:tav>
                                        <p:tav tm="77530">
                                          <p:val>
                                            <p:fltVal val="-0.0227"/>
                                          </p:val>
                                        </p:tav>
                                        <p:tav tm="78650">
                                          <p:val>
                                            <p:fltVal val="-0.0244"/>
                                          </p:val>
                                        </p:tav>
                                        <p:tav tm="79780">
                                          <p:val>
                                            <p:fltVal val="-0.0249"/>
                                          </p:val>
                                        </p:tav>
                                        <p:tav tm="80900">
                                          <p:val>
                                            <p:fltVal val="-0.0249"/>
                                          </p:val>
                                        </p:tav>
                                        <p:tav tm="82020">
                                          <p:val>
                                            <p:fltVal val="-0.0244"/>
                                          </p:val>
                                        </p:tav>
                                        <p:tav tm="83150">
                                          <p:val>
                                            <p:fltVal val="-0.0219"/>
                                          </p:val>
                                        </p:tav>
                                        <p:tav tm="84270">
                                          <p:val>
                                            <p:fltVal val="-0.0156"/>
                                          </p:val>
                                        </p:tav>
                                        <p:tav tm="85390">
                                          <p:val>
                                            <p:fltVal val="-0.0039"/>
                                          </p:val>
                                        </p:tav>
                                        <p:tav tm="86520">
                                          <p:val>
                                            <p:fltVal val="0.0104"/>
                                          </p:val>
                                        </p:tav>
                                        <p:tav tm="87640">
                                          <p:val>
                                            <p:fltVal val="0.0192"/>
                                          </p:val>
                                        </p:tav>
                                        <p:tav tm="88760">
                                          <p:val>
                                            <p:fltVal val="0.0235"/>
                                          </p:val>
                                        </p:tav>
                                        <p:tav tm="89890">
                                          <p:val>
                                            <p:fltVal val="0.0248"/>
                                          </p:val>
                                        </p:tav>
                                        <p:tav tm="91010">
                                          <p:val>
                                            <p:fltVal val="0.0249"/>
                                          </p:val>
                                        </p:tav>
                                        <p:tav tm="92130">
                                          <p:val>
                                            <p:fltVal val="0.0247"/>
                                          </p:val>
                                        </p:tav>
                                        <p:tav tm="93260">
                                          <p:val>
                                            <p:fltVal val="0.0234"/>
                                          </p:val>
                                        </p:tav>
                                        <p:tav tm="94380">
                                          <p:val>
                                            <p:fltVal val="0.0202"/>
                                          </p:val>
                                        </p:tav>
                                        <p:tav tm="95510">
                                          <p:val>
                                            <p:fltVal val="0.0143"/>
                                          </p:val>
                                        </p:tav>
                                        <p:tav tm="96630">
                                          <p:val>
                                            <p:fltVal val="0.0071"/>
                                          </p:val>
                                        </p:tav>
                                        <p:tav tm="97750">
                                          <p:val>
                                            <p:fltVal val="0.0027"/>
                                          </p:val>
                                        </p:tav>
                                        <p:tav tm="98880">
                                          <p:val>
                                            <p:fltVal val="0.0007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8" dur="22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3d.view.scale.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1"/>
                                          </p:val>
                                        </p:tav>
                                        <p:tav tm="1120">
                                          <p:val>
                                            <p:fltVal val="1"/>
                                          </p:val>
                                        </p:tav>
                                        <p:tav tm="2250">
                                          <p:val>
                                            <p:fltVal val="1.0002"/>
                                          </p:val>
                                        </p:tav>
                                        <p:tav tm="3370">
                                          <p:val>
                                            <p:fltVal val="1.0009"/>
                                          </p:val>
                                        </p:tav>
                                        <p:tav tm="4490">
                                          <p:val>
                                            <p:fltVal val="1.0023"/>
                                          </p:val>
                                        </p:tav>
                                        <p:tav tm="5620">
                                          <p:val>
                                            <p:fltVal val="1.0046"/>
                                          </p:val>
                                        </p:tav>
                                        <p:tav tm="6740">
                                          <p:val>
                                            <p:fltVal val="1.008"/>
                                          </p:val>
                                        </p:tav>
                                        <p:tav tm="7870">
                                          <p:val>
                                            <p:fltVal val="1.0127"/>
                                          </p:val>
                                        </p:tav>
                                        <p:tav tm="8990">
                                          <p:val>
                                            <p:fltVal val="1.019"/>
                                          </p:val>
                                        </p:tav>
                                        <p:tav tm="10110">
                                          <p:val>
                                            <p:fltVal val="1.0271"/>
                                          </p:val>
                                        </p:tav>
                                        <p:tav tm="11240">
                                          <p:val>
                                            <p:fltVal val="1.0351"/>
                                          </p:val>
                                        </p:tav>
                                        <p:tav tm="12360">
                                          <p:val>
                                            <p:fltVal val="1.0414"/>
                                          </p:val>
                                        </p:tav>
                                        <p:tav tm="13480">
                                          <p:val>
                                            <p:fltVal val="1.046"/>
                                          </p:val>
                                        </p:tav>
                                        <p:tav tm="14610">
                                          <p:val>
                                            <p:fltVal val="1.0494"/>
                                          </p:val>
                                        </p:tav>
                                        <p:tav tm="15730">
                                          <p:val>
                                            <p:fltVal val="1.0516"/>
                                          </p:val>
                                        </p:tav>
                                        <p:tav tm="16850">
                                          <p:val>
                                            <p:fltVal val="1.053"/>
                                          </p:val>
                                        </p:tav>
                                        <p:tav tm="17980">
                                          <p:val>
                                            <p:fltVal val="1.0537"/>
                                          </p:val>
                                        </p:tav>
                                        <p:tav tm="19100">
                                          <p:val>
                                            <p:fltVal val="1.0539"/>
                                          </p:val>
                                        </p:tav>
                                        <p:tav tm="20220">
                                          <p:val>
                                            <p:fltVal val="1.054"/>
                                          </p:val>
                                        </p:tav>
                                        <p:tav tm="21350">
                                          <p:val>
                                            <p:fltVal val="1.0536"/>
                                          </p:val>
                                        </p:tav>
                                        <p:tav tm="22470">
                                          <p:val>
                                            <p:fltVal val="1.0515"/>
                                          </p:val>
                                        </p:tav>
                                        <p:tav tm="23600">
                                          <p:val>
                                            <p:fltVal val="1.0457"/>
                                          </p:val>
                                        </p:tav>
                                        <p:tav tm="24720">
                                          <p:val>
                                            <p:fltVal val="1.0344"/>
                                          </p:val>
                                        </p:tav>
                                        <p:tav tm="25840">
                                          <p:val>
                                            <p:fltVal val="1.0183"/>
                                          </p:val>
                                        </p:tav>
                                        <p:tav tm="26970">
                                          <p:val>
                                            <p:fltVal val="1.0076"/>
                                          </p:val>
                                        </p:tav>
                                        <p:tav tm="28090">
                                          <p:val>
                                            <p:fltVal val="1.0021"/>
                                          </p:val>
                                        </p:tav>
                                        <p:tav tm="29210">
                                          <p:val>
                                            <p:fltVal val="1.0002"/>
                                          </p:val>
                                        </p:tav>
                                        <p:tav tm="30340">
                                          <p:val>
                                            <p:fltVal val="1"/>
                                          </p:val>
                                        </p:tav>
                                        <p:tav tm="31460">
                                          <p:val>
                                            <p:fltVal val="1"/>
                                          </p:val>
                                        </p:tav>
                                        <p:tav tm="32580">
                                          <p:val>
                                            <p:fltVal val="1"/>
                                          </p:val>
                                        </p:tav>
                                        <p:tav tm="33710">
                                          <p:val>
                                            <p:fltVal val="1"/>
                                          </p:val>
                                        </p:tav>
                                        <p:tav tm="34830">
                                          <p:val>
                                            <p:fltVal val="1"/>
                                          </p:val>
                                        </p:tav>
                                        <p:tav tm="35960">
                                          <p:val>
                                            <p:fltVal val="1"/>
                                          </p:val>
                                        </p:tav>
                                        <p:tav tm="37080">
                                          <p:val>
                                            <p:fltVal val="1"/>
                                          </p:val>
                                        </p:tav>
                                        <p:tav tm="38200">
                                          <p:val>
                                            <p:fltVal val="1"/>
                                          </p:val>
                                        </p:tav>
                                        <p:tav tm="39330">
                                          <p:val>
                                            <p:fltVal val="1"/>
                                          </p:val>
                                        </p:tav>
                                        <p:tav tm="40450">
                                          <p:val>
                                            <p:fltVal val="1"/>
                                          </p:val>
                                        </p:tav>
                                        <p:tav tm="41570">
                                          <p:val>
                                            <p:fltVal val="1"/>
                                          </p:val>
                                        </p:tav>
                                        <p:tav tm="42700">
                                          <p:val>
                                            <p:fltVal val="1"/>
                                          </p:val>
                                        </p:tav>
                                        <p:tav tm="43820">
                                          <p:val>
                                            <p:fltVal val="1"/>
                                          </p:val>
                                        </p:tav>
                                        <p:tav tm="44940">
                                          <p:val>
                                            <p:fltVal val="1"/>
                                          </p:val>
                                        </p:tav>
                                        <p:tav tm="46070">
                                          <p:val>
                                            <p:fltVal val="1"/>
                                          </p:val>
                                        </p:tav>
                                        <p:tav tm="47190">
                                          <p:val>
                                            <p:fltVal val="1"/>
                                          </p:val>
                                        </p:tav>
                                        <p:tav tm="48310">
                                          <p:val>
                                            <p:fltVal val="1"/>
                                          </p:val>
                                        </p:tav>
                                        <p:tav tm="49440">
                                          <p:val>
                                            <p:fltVal val="1"/>
                                          </p:val>
                                        </p:tav>
                                        <p:tav tm="50560">
                                          <p:val>
                                            <p:fltVal val="1"/>
                                          </p:val>
                                        </p:tav>
                                        <p:tav tm="51690">
                                          <p:val>
                                            <p:fltVal val="1"/>
                                          </p:val>
                                        </p:tav>
                                        <p:tav tm="52810">
                                          <p:val>
                                            <p:fltVal val="1"/>
                                          </p:val>
                                        </p:tav>
                                        <p:tav tm="53930">
                                          <p:val>
                                            <p:fltVal val="1"/>
                                          </p:val>
                                        </p:tav>
                                        <p:tav tm="55060">
                                          <p:val>
                                            <p:fltVal val="1"/>
                                          </p:val>
                                        </p:tav>
                                        <p:tav tm="56180">
                                          <p:val>
                                            <p:fltVal val="1"/>
                                          </p:val>
                                        </p:tav>
                                        <p:tav tm="57300">
                                          <p:val>
                                            <p:fltVal val="1"/>
                                          </p:val>
                                        </p:tav>
                                        <p:tav tm="58430">
                                          <p:val>
                                            <p:fltVal val="1"/>
                                          </p:val>
                                        </p:tav>
                                        <p:tav tm="59550">
                                          <p:val>
                                            <p:fltVal val="1"/>
                                          </p:val>
                                        </p:tav>
                                        <p:tav tm="60670">
                                          <p:val>
                                            <p:fltVal val="1"/>
                                          </p:val>
                                        </p:tav>
                                        <p:tav tm="61800">
                                          <p:val>
                                            <p:fltVal val="1"/>
                                          </p:val>
                                        </p:tav>
                                        <p:tav tm="62920">
                                          <p:val>
                                            <p:fltVal val="1"/>
                                          </p:val>
                                        </p:tav>
                                        <p:tav tm="64040">
                                          <p:val>
                                            <p:fltVal val="1"/>
                                          </p:val>
                                        </p:tav>
                                        <p:tav tm="65170">
                                          <p:val>
                                            <p:fltVal val="1"/>
                                          </p:val>
                                        </p:tav>
                                        <p:tav tm="66290">
                                          <p:val>
                                            <p:fltVal val="1"/>
                                          </p:val>
                                        </p:tav>
                                        <p:tav tm="67420">
                                          <p:val>
                                            <p:fltVal val="1"/>
                                          </p:val>
                                        </p:tav>
                                        <p:tav tm="68540">
                                          <p:val>
                                            <p:fltVal val="1.0006"/>
                                          </p:val>
                                        </p:tav>
                                        <p:tav tm="69660">
                                          <p:val>
                                            <p:fltVal val="1.0024"/>
                                          </p:val>
                                        </p:tav>
                                        <p:tav tm="70790">
                                          <p:val>
                                            <p:fltVal val="1.006"/>
                                          </p:val>
                                        </p:tav>
                                        <p:tav tm="71910">
                                          <p:val>
                                            <p:fltVal val="1.0121"/>
                                          </p:val>
                                        </p:tav>
                                        <p:tav tm="73030">
                                          <p:val>
                                            <p:fltVal val="1.0213"/>
                                          </p:val>
                                        </p:tav>
                                        <p:tav tm="74160">
                                          <p:val>
                                            <p:fltVal val="1.0331"/>
                                          </p:val>
                                        </p:tav>
                                        <p:tav tm="75280">
                                          <p:val>
                                            <p:fltVal val="1.0422"/>
                                          </p:val>
                                        </p:tav>
                                        <p:tav tm="76400">
                                          <p:val>
                                            <p:fltVal val="1.0482"/>
                                          </p:val>
                                        </p:tav>
                                        <p:tav tm="77530">
                                          <p:val>
                                            <p:fltVal val="1.0516"/>
                                          </p:val>
                                        </p:tav>
                                        <p:tav tm="78650">
                                          <p:val>
                                            <p:fltVal val="1.0534"/>
                                          </p:val>
                                        </p:tav>
                                        <p:tav tm="79780">
                                          <p:val>
                                            <p:fltVal val="1.0539"/>
                                          </p:val>
                                        </p:tav>
                                        <p:tav tm="80900">
                                          <p:val>
                                            <p:fltVal val="1.0539"/>
                                          </p:val>
                                        </p:tav>
                                        <p:tav tm="82020">
                                          <p:val>
                                            <p:fltVal val="1.0534"/>
                                          </p:val>
                                        </p:tav>
                                        <p:tav tm="83150">
                                          <p:val>
                                            <p:fltVal val="1.0506"/>
                                          </p:val>
                                        </p:tav>
                                        <p:tav tm="84270">
                                          <p:val>
                                            <p:fltVal val="1.0439"/>
                                          </p:val>
                                        </p:tav>
                                        <p:tav tm="85390">
                                          <p:val>
                                            <p:fltVal val="1.0312"/>
                                          </p:val>
                                        </p:tav>
                                        <p:tav tm="86520">
                                          <p:val>
                                            <p:fltVal val="1.0156"/>
                                          </p:val>
                                        </p:tav>
                                        <p:tav tm="87640">
                                          <p:val>
                                            <p:fltVal val="1.0061"/>
                                          </p:val>
                                        </p:tav>
                                        <p:tav tm="88760">
                                          <p:val>
                                            <p:fltVal val="1.0015"/>
                                          </p:val>
                                        </p:tav>
                                        <p:tav tm="89890">
                                          <p:val>
                                            <p:fltVal val="1.0001"/>
                                          </p:val>
                                        </p:tav>
                                        <p:tav tm="91010">
                                          <p:val>
                                            <p:fltVal val="1"/>
                                          </p:val>
                                        </p:tav>
                                        <p:tav tm="92130">
                                          <p:val>
                                            <p:fltVal val="1"/>
                                          </p:val>
                                        </p:tav>
                                        <p:tav tm="93260">
                                          <p:val>
                                            <p:fltVal val="1"/>
                                          </p:val>
                                        </p:tav>
                                        <p:tav tm="94380">
                                          <p:val>
                                            <p:fltVal val="1"/>
                                          </p:val>
                                        </p:tav>
                                        <p:tav tm="95510">
                                          <p:val>
                                            <p:fltVal val="1"/>
                                          </p:val>
                                        </p:tav>
                                        <p:tav tm="96630">
                                          <p:val>
                                            <p:fltVal val="1"/>
                                          </p:val>
                                        </p:tav>
                                        <p:tav tm="97750">
                                          <p:val>
                                            <p:fltVal val="1"/>
                                          </p:val>
                                        </p:tav>
                                        <p:tav tm="98880">
                                          <p:val>
                                            <p:fltVal val="1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9" dur="22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3d.view.scale.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1"/>
                                          </p:val>
                                        </p:tav>
                                        <p:tav tm="1120">
                                          <p:val>
                                            <p:fltVal val="0.9999"/>
                                          </p:val>
                                        </p:tav>
                                        <p:tav tm="2250">
                                          <p:val>
                                            <p:fltVal val="0.9994"/>
                                          </p:val>
                                        </p:tav>
                                        <p:tav tm="3370">
                                          <p:val>
                                            <p:fltVal val="0.9981"/>
                                          </p:val>
                                        </p:tav>
                                        <p:tav tm="4490">
                                          <p:val>
                                            <p:fltVal val="0.9955"/>
                                          </p:val>
                                        </p:tav>
                                        <p:tav tm="5620">
                                          <p:val>
                                            <p:fltVal val="0.9913"/>
                                          </p:val>
                                        </p:tav>
                                        <p:tav tm="6740">
                                          <p:val>
                                            <p:fltVal val="0.985"/>
                                          </p:val>
                                        </p:tav>
                                        <p:tav tm="7870">
                                          <p:val>
                                            <p:fltVal val="0.9763"/>
                                          </p:val>
                                        </p:tav>
                                        <p:tav tm="8990">
                                          <p:val>
                                            <p:fltVal val="0.9646"/>
                                          </p:val>
                                        </p:tav>
                                        <p:tav tm="10110">
                                          <p:val>
                                            <p:fltVal val="0.9497"/>
                                          </p:val>
                                        </p:tav>
                                        <p:tav tm="11240">
                                          <p:val>
                                            <p:fltVal val="0.9348"/>
                                          </p:val>
                                        </p:tav>
                                        <p:tav tm="12360">
                                          <p:val>
                                            <p:fltVal val="0.9232"/>
                                          </p:val>
                                        </p:tav>
                                        <p:tav tm="13480">
                                          <p:val>
                                            <p:fltVal val="0.9146"/>
                                          </p:val>
                                        </p:tav>
                                        <p:tav tm="14610">
                                          <p:val>
                                            <p:fltVal val="0.9084"/>
                                          </p:val>
                                        </p:tav>
                                        <p:tav tm="15730">
                                          <p:val>
                                            <p:fltVal val="0.9042"/>
                                          </p:val>
                                        </p:tav>
                                        <p:tav tm="16850">
                                          <p:val>
                                            <p:fltVal val="0.9017"/>
                                          </p:val>
                                        </p:tav>
                                        <p:tav tm="17980">
                                          <p:val>
                                            <p:fltVal val="0.9005"/>
                                          </p:val>
                                        </p:tav>
                                        <p:tav tm="19100">
                                          <p:val>
                                            <p:fltVal val="0.9"/>
                                          </p:val>
                                        </p:tav>
                                        <p:tav tm="20220">
                                          <p:val>
                                            <p:fltVal val="0.8999"/>
                                          </p:val>
                                        </p:tav>
                                        <p:tav tm="21350">
                                          <p:val>
                                            <p:fltVal val="0.9006"/>
                                          </p:val>
                                        </p:tav>
                                        <p:tav tm="22470">
                                          <p:val>
                                            <p:fltVal val="0.9046"/>
                                          </p:val>
                                        </p:tav>
                                        <p:tav tm="23600">
                                          <p:val>
                                            <p:fltVal val="0.9153"/>
                                          </p:val>
                                        </p:tav>
                                        <p:tav tm="24720">
                                          <p:val>
                                            <p:fltVal val="0.9362"/>
                                          </p:val>
                                        </p:tav>
                                        <p:tav tm="25840">
                                          <p:val>
                                            <p:fltVal val="0.9659"/>
                                          </p:val>
                                        </p:tav>
                                        <p:tav tm="26970">
                                          <p:val>
                                            <p:fltVal val="0.9858"/>
                                          </p:val>
                                        </p:tav>
                                        <p:tav tm="28090">
                                          <p:val>
                                            <p:fltVal val="0.9959"/>
                                          </p:val>
                                        </p:tav>
                                        <p:tav tm="29210">
                                          <p:val>
                                            <p:fltVal val="0.9995"/>
                                          </p:val>
                                        </p:tav>
                                        <p:tav tm="30340">
                                          <p:val>
                                            <p:fltVal val="1"/>
                                          </p:val>
                                        </p:tav>
                                        <p:tav tm="31460">
                                          <p:val>
                                            <p:fltVal val="1"/>
                                          </p:val>
                                        </p:tav>
                                        <p:tav tm="32580">
                                          <p:val>
                                            <p:fltVal val="1"/>
                                          </p:val>
                                        </p:tav>
                                        <p:tav tm="33710">
                                          <p:val>
                                            <p:fltVal val="1"/>
                                          </p:val>
                                        </p:tav>
                                        <p:tav tm="34830">
                                          <p:val>
                                            <p:fltVal val="1"/>
                                          </p:val>
                                        </p:tav>
                                        <p:tav tm="35960">
                                          <p:val>
                                            <p:fltVal val="1"/>
                                          </p:val>
                                        </p:tav>
                                        <p:tav tm="37080">
                                          <p:val>
                                            <p:fltVal val="1"/>
                                          </p:val>
                                        </p:tav>
                                        <p:tav tm="38200">
                                          <p:val>
                                            <p:fltVal val="1"/>
                                          </p:val>
                                        </p:tav>
                                        <p:tav tm="39330">
                                          <p:val>
                                            <p:fltVal val="1"/>
                                          </p:val>
                                        </p:tav>
                                        <p:tav tm="40450">
                                          <p:val>
                                            <p:fltVal val="1"/>
                                          </p:val>
                                        </p:tav>
                                        <p:tav tm="41570">
                                          <p:val>
                                            <p:fltVal val="1"/>
                                          </p:val>
                                        </p:tav>
                                        <p:tav tm="42700">
                                          <p:val>
                                            <p:fltVal val="1"/>
                                          </p:val>
                                        </p:tav>
                                        <p:tav tm="43820">
                                          <p:val>
                                            <p:fltVal val="1"/>
                                          </p:val>
                                        </p:tav>
                                        <p:tav tm="44940">
                                          <p:val>
                                            <p:fltVal val="1"/>
                                          </p:val>
                                        </p:tav>
                                        <p:tav tm="46070">
                                          <p:val>
                                            <p:fltVal val="1"/>
                                          </p:val>
                                        </p:tav>
                                        <p:tav tm="47190">
                                          <p:val>
                                            <p:fltVal val="1"/>
                                          </p:val>
                                        </p:tav>
                                        <p:tav tm="48310">
                                          <p:val>
                                            <p:fltVal val="1"/>
                                          </p:val>
                                        </p:tav>
                                        <p:tav tm="49440">
                                          <p:val>
                                            <p:fltVal val="1"/>
                                          </p:val>
                                        </p:tav>
                                        <p:tav tm="50560">
                                          <p:val>
                                            <p:fltVal val="1"/>
                                          </p:val>
                                        </p:tav>
                                        <p:tav tm="51690">
                                          <p:val>
                                            <p:fltVal val="1"/>
                                          </p:val>
                                        </p:tav>
                                        <p:tav tm="52810">
                                          <p:val>
                                            <p:fltVal val="1"/>
                                          </p:val>
                                        </p:tav>
                                        <p:tav tm="53930">
                                          <p:val>
                                            <p:fltVal val="1"/>
                                          </p:val>
                                        </p:tav>
                                        <p:tav tm="55060">
                                          <p:val>
                                            <p:fltVal val="1"/>
                                          </p:val>
                                        </p:tav>
                                        <p:tav tm="56180">
                                          <p:val>
                                            <p:fltVal val="1"/>
                                          </p:val>
                                        </p:tav>
                                        <p:tav tm="57300">
                                          <p:val>
                                            <p:fltVal val="1"/>
                                          </p:val>
                                        </p:tav>
                                        <p:tav tm="58430">
                                          <p:val>
                                            <p:fltVal val="1"/>
                                          </p:val>
                                        </p:tav>
                                        <p:tav tm="59550">
                                          <p:val>
                                            <p:fltVal val="1"/>
                                          </p:val>
                                        </p:tav>
                                        <p:tav tm="60670">
                                          <p:val>
                                            <p:fltVal val="1"/>
                                          </p:val>
                                        </p:tav>
                                        <p:tav tm="61800">
                                          <p:val>
                                            <p:fltVal val="1"/>
                                          </p:val>
                                        </p:tav>
                                        <p:tav tm="62920">
                                          <p:val>
                                            <p:fltVal val="1"/>
                                          </p:val>
                                        </p:tav>
                                        <p:tav tm="64040">
                                          <p:val>
                                            <p:fltVal val="1"/>
                                          </p:val>
                                        </p:tav>
                                        <p:tav tm="65170">
                                          <p:val>
                                            <p:fltVal val="1"/>
                                          </p:val>
                                        </p:tav>
                                        <p:tav tm="66290">
                                          <p:val>
                                            <p:fltVal val="1"/>
                                          </p:val>
                                        </p:tav>
                                        <p:tav tm="67420">
                                          <p:val>
                                            <p:fltVal val="0.9998"/>
                                          </p:val>
                                        </p:tav>
                                        <p:tav tm="68540">
                                          <p:val>
                                            <p:fltVal val="0.9987"/>
                                          </p:val>
                                        </p:tav>
                                        <p:tav tm="69660">
                                          <p:val>
                                            <p:fltVal val="0.9955"/>
                                          </p:val>
                                        </p:tav>
                                        <p:tav tm="70790">
                                          <p:val>
                                            <p:fltVal val="0.9888"/>
                                          </p:val>
                                        </p:tav>
                                        <p:tav tm="71910">
                                          <p:val>
                                            <p:fltVal val="0.9775"/>
                                          </p:val>
                                        </p:tav>
                                        <p:tav tm="73030">
                                          <p:val>
                                            <p:fltVal val="0.9605"/>
                                          </p:val>
                                        </p:tav>
                                        <p:tav tm="74160">
                                          <p:val>
                                            <p:fltVal val="0.9385"/>
                                          </p:val>
                                        </p:tav>
                                        <p:tav tm="75280">
                                          <p:val>
                                            <p:fltVal val="0.9217"/>
                                          </p:val>
                                        </p:tav>
                                        <p:tav tm="76400">
                                          <p:val>
                                            <p:fltVal val="0.9107"/>
                                          </p:val>
                                        </p:tav>
                                        <p:tav tm="77530">
                                          <p:val>
                                            <p:fltVal val="0.9042"/>
                                          </p:val>
                                        </p:tav>
                                        <p:tav tm="78650">
                                          <p:val>
                                            <p:fltVal val="0.901"/>
                                          </p:val>
                                        </p:tav>
                                        <p:tav tm="79780">
                                          <p:val>
                                            <p:fltVal val="0.9"/>
                                          </p:val>
                                        </p:tav>
                                        <p:tav tm="80900">
                                          <p:val>
                                            <p:fltVal val="0.9"/>
                                          </p:val>
                                        </p:tav>
                                        <p:tav tm="82020">
                                          <p:val>
                                            <p:fltVal val="0.901"/>
                                          </p:val>
                                        </p:tav>
                                        <p:tav tm="83150">
                                          <p:val>
                                            <p:fltVal val="0.9061"/>
                                          </p:val>
                                        </p:tav>
                                        <p:tav tm="84270">
                                          <p:val>
                                            <p:fltVal val="0.9186"/>
                                          </p:val>
                                        </p:tav>
                                        <p:tav tm="85390">
                                          <p:val>
                                            <p:fltVal val="0.942"/>
                                          </p:val>
                                        </p:tav>
                                        <p:tav tm="86520">
                                          <p:val>
                                            <p:fltVal val="0.9709"/>
                                          </p:val>
                                        </p:tav>
                                        <p:tav tm="87640">
                                          <p:val>
                                            <p:fltVal val="0.9885"/>
                                          </p:val>
                                        </p:tav>
                                        <p:tav tm="88760">
                                          <p:val>
                                            <p:fltVal val="0.997"/>
                                          </p:val>
                                        </p:tav>
                                        <p:tav tm="89890">
                                          <p:val>
                                            <p:fltVal val="0.9997"/>
                                          </p:val>
                                        </p:tav>
                                        <p:tav tm="91010">
                                          <p:val>
                                            <p:fltVal val="1"/>
                                          </p:val>
                                        </p:tav>
                                        <p:tav tm="92130">
                                          <p:val>
                                            <p:fltVal val="1"/>
                                          </p:val>
                                        </p:tav>
                                        <p:tav tm="93260">
                                          <p:val>
                                            <p:fltVal val="1"/>
                                          </p:val>
                                        </p:tav>
                                        <p:tav tm="94380">
                                          <p:val>
                                            <p:fltVal val="1"/>
                                          </p:val>
                                        </p:tav>
                                        <p:tav tm="95510">
                                          <p:val>
                                            <p:fltVal val="1"/>
                                          </p:val>
                                        </p:tav>
                                        <p:tav tm="96630">
                                          <p:val>
                                            <p:fltVal val="1"/>
                                          </p:val>
                                        </p:tav>
                                        <p:tav tm="97750">
                                          <p:val>
                                            <p:fltVal val="1"/>
                                          </p:val>
                                        </p:tav>
                                        <p:tav tm="98880">
                                          <p:val>
                                            <p:fltVal val="1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mult">
                                        <p:cTn id="10" dur="22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3d.view.scale.z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1"/>
                                          </p:val>
                                        </p:tav>
                                        <p:tav tm="1120">
                                          <p:val>
                                            <p:fltVal val="1"/>
                                          </p:val>
                                        </p:tav>
                                        <p:tav tm="2250">
                                          <p:val>
                                            <p:fltVal val="1.0002"/>
                                          </p:val>
                                        </p:tav>
                                        <p:tav tm="3370">
                                          <p:val>
                                            <p:fltVal val="1.0009"/>
                                          </p:val>
                                        </p:tav>
                                        <p:tav tm="4490">
                                          <p:val>
                                            <p:fltVal val="1.0023"/>
                                          </p:val>
                                        </p:tav>
                                        <p:tav tm="5620">
                                          <p:val>
                                            <p:fltVal val="1.0046"/>
                                          </p:val>
                                        </p:tav>
                                        <p:tav tm="6740">
                                          <p:val>
                                            <p:fltVal val="1.008"/>
                                          </p:val>
                                        </p:tav>
                                        <p:tav tm="7870">
                                          <p:val>
                                            <p:fltVal val="1.0127"/>
                                          </p:val>
                                        </p:tav>
                                        <p:tav tm="8990">
                                          <p:val>
                                            <p:fltVal val="1.019"/>
                                          </p:val>
                                        </p:tav>
                                        <p:tav tm="10110">
                                          <p:val>
                                            <p:fltVal val="1.0271"/>
                                          </p:val>
                                        </p:tav>
                                        <p:tav tm="11240">
                                          <p:val>
                                            <p:fltVal val="1.0351"/>
                                          </p:val>
                                        </p:tav>
                                        <p:tav tm="12360">
                                          <p:val>
                                            <p:fltVal val="1.0414"/>
                                          </p:val>
                                        </p:tav>
                                        <p:tav tm="13480">
                                          <p:val>
                                            <p:fltVal val="1.046"/>
                                          </p:val>
                                        </p:tav>
                                        <p:tav tm="14610">
                                          <p:val>
                                            <p:fltVal val="1.0494"/>
                                          </p:val>
                                        </p:tav>
                                        <p:tav tm="15730">
                                          <p:val>
                                            <p:fltVal val="1.0516"/>
                                          </p:val>
                                        </p:tav>
                                        <p:tav tm="16850">
                                          <p:val>
                                            <p:fltVal val="1.053"/>
                                          </p:val>
                                        </p:tav>
                                        <p:tav tm="17980">
                                          <p:val>
                                            <p:fltVal val="1.0537"/>
                                          </p:val>
                                        </p:tav>
                                        <p:tav tm="19100">
                                          <p:val>
                                            <p:fltVal val="1.0539"/>
                                          </p:val>
                                        </p:tav>
                                        <p:tav tm="20220">
                                          <p:val>
                                            <p:fltVal val="1.054"/>
                                          </p:val>
                                        </p:tav>
                                        <p:tav tm="21350">
                                          <p:val>
                                            <p:fltVal val="1.0536"/>
                                          </p:val>
                                        </p:tav>
                                        <p:tav tm="22470">
                                          <p:val>
                                            <p:fltVal val="1.0515"/>
                                          </p:val>
                                        </p:tav>
                                        <p:tav tm="23600">
                                          <p:val>
                                            <p:fltVal val="1.0457"/>
                                          </p:val>
                                        </p:tav>
                                        <p:tav tm="24720">
                                          <p:val>
                                            <p:fltVal val="1.0344"/>
                                          </p:val>
                                        </p:tav>
                                        <p:tav tm="25840">
                                          <p:val>
                                            <p:fltVal val="1.0183"/>
                                          </p:val>
                                        </p:tav>
                                        <p:tav tm="26970">
                                          <p:val>
                                            <p:fltVal val="1.0076"/>
                                          </p:val>
                                        </p:tav>
                                        <p:tav tm="28090">
                                          <p:val>
                                            <p:fltVal val="1.0021"/>
                                          </p:val>
                                        </p:tav>
                                        <p:tav tm="29210">
                                          <p:val>
                                            <p:fltVal val="1.0002"/>
                                          </p:val>
                                        </p:tav>
                                        <p:tav tm="30340">
                                          <p:val>
                                            <p:fltVal val="1"/>
                                          </p:val>
                                        </p:tav>
                                        <p:tav tm="31460">
                                          <p:val>
                                            <p:fltVal val="1"/>
                                          </p:val>
                                        </p:tav>
                                        <p:tav tm="32580">
                                          <p:val>
                                            <p:fltVal val="1"/>
                                          </p:val>
                                        </p:tav>
                                        <p:tav tm="33710">
                                          <p:val>
                                            <p:fltVal val="1"/>
                                          </p:val>
                                        </p:tav>
                                        <p:tav tm="34830">
                                          <p:val>
                                            <p:fltVal val="1"/>
                                          </p:val>
                                        </p:tav>
                                        <p:tav tm="35960">
                                          <p:val>
                                            <p:fltVal val="1"/>
                                          </p:val>
                                        </p:tav>
                                        <p:tav tm="37080">
                                          <p:val>
                                            <p:fltVal val="1"/>
                                          </p:val>
                                        </p:tav>
                                        <p:tav tm="38200">
                                          <p:val>
                                            <p:fltVal val="1"/>
                                          </p:val>
                                        </p:tav>
                                        <p:tav tm="39330">
                                          <p:val>
                                            <p:fltVal val="1"/>
                                          </p:val>
                                        </p:tav>
                                        <p:tav tm="40450">
                                          <p:val>
                                            <p:fltVal val="1"/>
                                          </p:val>
                                        </p:tav>
                                        <p:tav tm="41570">
                                          <p:val>
                                            <p:fltVal val="1"/>
                                          </p:val>
                                        </p:tav>
                                        <p:tav tm="42700">
                                          <p:val>
                                            <p:fltVal val="1"/>
                                          </p:val>
                                        </p:tav>
                                        <p:tav tm="43820">
                                          <p:val>
                                            <p:fltVal val="1"/>
                                          </p:val>
                                        </p:tav>
                                        <p:tav tm="44940">
                                          <p:val>
                                            <p:fltVal val="1"/>
                                          </p:val>
                                        </p:tav>
                                        <p:tav tm="46070">
                                          <p:val>
                                            <p:fltVal val="1"/>
                                          </p:val>
                                        </p:tav>
                                        <p:tav tm="47190">
                                          <p:val>
                                            <p:fltVal val="1"/>
                                          </p:val>
                                        </p:tav>
                                        <p:tav tm="48310">
                                          <p:val>
                                            <p:fltVal val="1"/>
                                          </p:val>
                                        </p:tav>
                                        <p:tav tm="49440">
                                          <p:val>
                                            <p:fltVal val="1"/>
                                          </p:val>
                                        </p:tav>
                                        <p:tav tm="50560">
                                          <p:val>
                                            <p:fltVal val="1"/>
                                          </p:val>
                                        </p:tav>
                                        <p:tav tm="51690">
                                          <p:val>
                                            <p:fltVal val="1"/>
                                          </p:val>
                                        </p:tav>
                                        <p:tav tm="52810">
                                          <p:val>
                                            <p:fltVal val="1"/>
                                          </p:val>
                                        </p:tav>
                                        <p:tav tm="53930">
                                          <p:val>
                                            <p:fltVal val="1"/>
                                          </p:val>
                                        </p:tav>
                                        <p:tav tm="55060">
                                          <p:val>
                                            <p:fltVal val="1"/>
                                          </p:val>
                                        </p:tav>
                                        <p:tav tm="56180">
                                          <p:val>
                                            <p:fltVal val="1"/>
                                          </p:val>
                                        </p:tav>
                                        <p:tav tm="57300">
                                          <p:val>
                                            <p:fltVal val="1"/>
                                          </p:val>
                                        </p:tav>
                                        <p:tav tm="58430">
                                          <p:val>
                                            <p:fltVal val="1"/>
                                          </p:val>
                                        </p:tav>
                                        <p:tav tm="59550">
                                          <p:val>
                                            <p:fltVal val="1"/>
                                          </p:val>
                                        </p:tav>
                                        <p:tav tm="60670">
                                          <p:val>
                                            <p:fltVal val="1"/>
                                          </p:val>
                                        </p:tav>
                                        <p:tav tm="61800">
                                          <p:val>
                                            <p:fltVal val="1"/>
                                          </p:val>
                                        </p:tav>
                                        <p:tav tm="62920">
                                          <p:val>
                                            <p:fltVal val="1"/>
                                          </p:val>
                                        </p:tav>
                                        <p:tav tm="64040">
                                          <p:val>
                                            <p:fltVal val="1"/>
                                          </p:val>
                                        </p:tav>
                                        <p:tav tm="65170">
                                          <p:val>
                                            <p:fltVal val="1"/>
                                          </p:val>
                                        </p:tav>
                                        <p:tav tm="66290">
                                          <p:val>
                                            <p:fltVal val="1"/>
                                          </p:val>
                                        </p:tav>
                                        <p:tav tm="67420">
                                          <p:val>
                                            <p:fltVal val="1"/>
                                          </p:val>
                                        </p:tav>
                                        <p:tav tm="68540">
                                          <p:val>
                                            <p:fltVal val="1.0006"/>
                                          </p:val>
                                        </p:tav>
                                        <p:tav tm="69660">
                                          <p:val>
                                            <p:fltVal val="1.0024"/>
                                          </p:val>
                                        </p:tav>
                                        <p:tav tm="70790">
                                          <p:val>
                                            <p:fltVal val="1.006"/>
                                          </p:val>
                                        </p:tav>
                                        <p:tav tm="71910">
                                          <p:val>
                                            <p:fltVal val="1.0121"/>
                                          </p:val>
                                        </p:tav>
                                        <p:tav tm="73030">
                                          <p:val>
                                            <p:fltVal val="1.0213"/>
                                          </p:val>
                                        </p:tav>
                                        <p:tav tm="74160">
                                          <p:val>
                                            <p:fltVal val="1.0331"/>
                                          </p:val>
                                        </p:tav>
                                        <p:tav tm="75280">
                                          <p:val>
                                            <p:fltVal val="1.0422"/>
                                          </p:val>
                                        </p:tav>
                                        <p:tav tm="76400">
                                          <p:val>
                                            <p:fltVal val="1.0482"/>
                                          </p:val>
                                        </p:tav>
                                        <p:tav tm="77530">
                                          <p:val>
                                            <p:fltVal val="1.0516"/>
                                          </p:val>
                                        </p:tav>
                                        <p:tav tm="78650">
                                          <p:val>
                                            <p:fltVal val="1.0534"/>
                                          </p:val>
                                        </p:tav>
                                        <p:tav tm="79780">
                                          <p:val>
                                            <p:fltVal val="1.0539"/>
                                          </p:val>
                                        </p:tav>
                                        <p:tav tm="80900">
                                          <p:val>
                                            <p:fltVal val="1.0539"/>
                                          </p:val>
                                        </p:tav>
                                        <p:tav tm="82020">
                                          <p:val>
                                            <p:fltVal val="1.0534"/>
                                          </p:val>
                                        </p:tav>
                                        <p:tav tm="83150">
                                          <p:val>
                                            <p:fltVal val="1.0506"/>
                                          </p:val>
                                        </p:tav>
                                        <p:tav tm="84270">
                                          <p:val>
                                            <p:fltVal val="1.0439"/>
                                          </p:val>
                                        </p:tav>
                                        <p:tav tm="85390">
                                          <p:val>
                                            <p:fltVal val="1.0312"/>
                                          </p:val>
                                        </p:tav>
                                        <p:tav tm="86520">
                                          <p:val>
                                            <p:fltVal val="1.0156"/>
                                          </p:val>
                                        </p:tav>
                                        <p:tav tm="87640">
                                          <p:val>
                                            <p:fltVal val="1.0061"/>
                                          </p:val>
                                        </p:tav>
                                        <p:tav tm="88760">
                                          <p:val>
                                            <p:fltVal val="1.0015"/>
                                          </p:val>
                                        </p:tav>
                                        <p:tav tm="89890">
                                          <p:val>
                                            <p:fltVal val="1.0001"/>
                                          </p:val>
                                        </p:tav>
                                        <p:tav tm="91010">
                                          <p:val>
                                            <p:fltVal val="1"/>
                                          </p:val>
                                        </p:tav>
                                        <p:tav tm="92130">
                                          <p:val>
                                            <p:fltVal val="1"/>
                                          </p:val>
                                        </p:tav>
                                        <p:tav tm="93260">
                                          <p:val>
                                            <p:fltVal val="1"/>
                                          </p:val>
                                        </p:tav>
                                        <p:tav tm="94380">
                                          <p:val>
                                            <p:fltVal val="1"/>
                                          </p:val>
                                        </p:tav>
                                        <p:tav tm="95510">
                                          <p:val>
                                            <p:fltVal val="1"/>
                                          </p:val>
                                        </p:tav>
                                        <p:tav tm="96630">
                                          <p:val>
                                            <p:fltVal val="1"/>
                                          </p:val>
                                        </p:tav>
                                        <p:tav tm="97750">
                                          <p:val>
                                            <p:fltVal val="1"/>
                                          </p:val>
                                        </p:tav>
                                        <p:tav tm="98880">
                                          <p:val>
                                            <p:fltVal val="1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B8D8D-B2F5-4043-AF26-D4F394D8A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33AB6B-A7C2-4E02-B947-B502354AC92A}"/>
              </a:ext>
            </a:extLst>
          </p:cNvPr>
          <p:cNvSpPr>
            <a:spLocks/>
          </p:cNvSpPr>
          <p:nvPr/>
        </p:nvSpPr>
        <p:spPr>
          <a:xfrm>
            <a:off x="669925" y="-635668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Bahnschrift SemiCondensed" panose="020B0502040204020203" pitchFamily="34" charset="0"/>
              </a:rPr>
              <a:t>Emoj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8FE4DE-331B-4822-8FE9-E93BF420D620}"/>
              </a:ext>
            </a:extLst>
          </p:cNvPr>
          <p:cNvSpPr>
            <a:spLocks/>
          </p:cNvSpPr>
          <p:nvPr/>
        </p:nvSpPr>
        <p:spPr>
          <a:xfrm>
            <a:off x="669925" y="393032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altLang="zh-TW" sz="3200" b="1" dirty="0">
                <a:solidFill>
                  <a:schemeClr val="accent2"/>
                </a:solidFill>
                <a:latin typeface="Bahnschrift SemiCondensed" panose="020B0502040204020203" pitchFamily="34" charset="0"/>
              </a:rPr>
              <a:t>Word Cloud of each Categories</a:t>
            </a:r>
            <a:endParaRPr lang="en-US" altLang="zh-TW" sz="3200" dirty="0">
              <a:solidFill>
                <a:schemeClr val="accent2"/>
              </a:solidFill>
              <a:latin typeface="Tw Cen MT" panose="020B0602020104020603" pitchFamily="34" charset="0"/>
            </a:endParaRPr>
          </a:p>
        </p:txBody>
      </p:sp>
      <p:grpSp>
        <p:nvGrpSpPr>
          <p:cNvPr id="7" name="îSľíḍé">
            <a:extLst>
              <a:ext uri="{FF2B5EF4-FFF2-40B4-BE49-F238E27FC236}">
                <a16:creationId xmlns:a16="http://schemas.microsoft.com/office/drawing/2014/main" id="{97BEED5E-F541-4070-B207-A7D3E8443EAF}"/>
              </a:ext>
            </a:extLst>
          </p:cNvPr>
          <p:cNvGrpSpPr/>
          <p:nvPr/>
        </p:nvGrpSpPr>
        <p:grpSpPr>
          <a:xfrm>
            <a:off x="11610975" y="6316471"/>
            <a:ext cx="504822" cy="465329"/>
            <a:chOff x="880821" y="1531872"/>
            <a:chExt cx="2509480" cy="1490004"/>
          </a:xfrm>
        </p:grpSpPr>
        <p:sp>
          <p:nvSpPr>
            <p:cNvPr id="8" name="ïṧlîḓe">
              <a:extLst>
                <a:ext uri="{FF2B5EF4-FFF2-40B4-BE49-F238E27FC236}">
                  <a16:creationId xmlns:a16="http://schemas.microsoft.com/office/drawing/2014/main" id="{64C6C839-BB26-4B35-B418-94118AE10A0A}"/>
                </a:ext>
              </a:extLst>
            </p:cNvPr>
            <p:cNvSpPr/>
            <p:nvPr/>
          </p:nvSpPr>
          <p:spPr bwMode="auto">
            <a:xfrm>
              <a:off x="880821" y="1531872"/>
              <a:ext cx="2509480" cy="1490004"/>
            </a:xfrm>
            <a:prstGeom prst="rect">
              <a:avLst/>
            </a:pr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  <a:tileRect/>
              </a:gra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ln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74000">
                        <a:schemeClr val="accent1">
                          <a:lumMod val="45000"/>
                          <a:lumOff val="55000"/>
                        </a:schemeClr>
                      </a:gs>
                      <a:gs pos="83000">
                        <a:schemeClr val="accent1">
                          <a:lumMod val="45000"/>
                          <a:lumOff val="55000"/>
                        </a:schemeClr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</a:ln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cs typeface="+mn-ea"/>
                <a:sym typeface="+mn-lt"/>
              </a:endParaRPr>
            </a:p>
          </p:txBody>
        </p:sp>
        <p:grpSp>
          <p:nvGrpSpPr>
            <p:cNvPr id="9" name="iṡliḓè">
              <a:extLst>
                <a:ext uri="{FF2B5EF4-FFF2-40B4-BE49-F238E27FC236}">
                  <a16:creationId xmlns:a16="http://schemas.microsoft.com/office/drawing/2014/main" id="{0FA04923-45AD-4B63-86A7-DE49B46786E9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211245"/>
              <a:chOff x="922942" y="1427516"/>
              <a:chExt cx="2161608" cy="1211245"/>
            </a:xfrm>
          </p:grpSpPr>
          <p:sp>
            <p:nvSpPr>
              <p:cNvPr id="10" name="íšḻíḋè">
                <a:extLst>
                  <a:ext uri="{FF2B5EF4-FFF2-40B4-BE49-F238E27FC236}">
                    <a16:creationId xmlns:a16="http://schemas.microsoft.com/office/drawing/2014/main" id="{36C28F93-4B70-4A46-BC0F-8EA7EF985D69}"/>
                  </a:ext>
                </a:extLst>
              </p:cNvPr>
              <p:cNvSpPr txBox="1"/>
              <p:nvPr/>
            </p:nvSpPr>
            <p:spPr>
              <a:xfrm>
                <a:off x="922942" y="2168860"/>
                <a:ext cx="2161608" cy="469901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r"/>
                <a:r>
                  <a:rPr lang="en-US" altLang="zh-CN" sz="16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</a:rPr>
                  <a:t>Delta</a:t>
                </a:r>
                <a:endParaRPr lang="zh-CN" altLang="en-US" sz="16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</a:endParaRPr>
              </a:p>
            </p:txBody>
          </p:sp>
          <p:sp>
            <p:nvSpPr>
              <p:cNvPr id="11" name="îS1iḓé">
                <a:extLst>
                  <a:ext uri="{FF2B5EF4-FFF2-40B4-BE49-F238E27FC236}">
                    <a16:creationId xmlns:a16="http://schemas.microsoft.com/office/drawing/2014/main" id="{D826DAE0-DAED-44CF-A1BB-6512179E83D8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en-US" altLang="zh-CN" sz="9600" dirty="0">
                    <a:gradFill>
                      <a:gsLst>
                        <a:gs pos="0">
                          <a:schemeClr val="accent1"/>
                        </a:gs>
                        <a:gs pos="100000">
                          <a:schemeClr val="accent2"/>
                        </a:gs>
                      </a:gsLst>
                      <a:lin ang="2700000" scaled="1"/>
                    </a:gradFill>
                    <a:latin typeface="Impact" panose="020B0806030902050204" pitchFamily="34" charset="0"/>
                  </a:rPr>
                  <a:t>TEAM</a:t>
                </a:r>
                <a:endParaRPr lang="zh-CN" altLang="en-US" sz="9600" dirty="0">
                  <a:gradFill>
                    <a:gsLst>
                      <a:gs pos="0">
                        <a:schemeClr val="accent1"/>
                      </a:gs>
                      <a:gs pos="100000">
                        <a:schemeClr val="accent2"/>
                      </a:gs>
                    </a:gsLst>
                    <a:lin ang="2700000" scaled="1"/>
                  </a:gradFill>
                  <a:latin typeface="Impact" panose="020B0806030902050204" pitchFamily="34" charset="0"/>
                </a:endParaRPr>
              </a:p>
            </p:txBody>
          </p:sp>
        </p:grpSp>
      </p:grpSp>
      <p:pic>
        <p:nvPicPr>
          <p:cNvPr id="12" name="圖片 2">
            <a:extLst>
              <a:ext uri="{FF2B5EF4-FFF2-40B4-BE49-F238E27FC236}">
                <a16:creationId xmlns:a16="http://schemas.microsoft.com/office/drawing/2014/main" id="{EEFB3EB2-D00A-4A4A-AD0A-606D48A9C7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530" y="2576864"/>
            <a:ext cx="3152775" cy="2695575"/>
          </a:xfrm>
          <a:prstGeom prst="rect">
            <a:avLst/>
          </a:prstGeom>
        </p:spPr>
      </p:pic>
      <p:sp>
        <p:nvSpPr>
          <p:cNvPr id="13" name="矩形 41">
            <a:extLst>
              <a:ext uri="{FF2B5EF4-FFF2-40B4-BE49-F238E27FC236}">
                <a16:creationId xmlns:a16="http://schemas.microsoft.com/office/drawing/2014/main" id="{174FB6FE-AD9E-4BF6-9D57-1E9899CB2C6C}"/>
              </a:ext>
            </a:extLst>
          </p:cNvPr>
          <p:cNvSpPr/>
          <p:nvPr/>
        </p:nvSpPr>
        <p:spPr>
          <a:xfrm>
            <a:off x="2111530" y="1744106"/>
            <a:ext cx="16770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rPr>
              <a:t>Category “hug”:</a:t>
            </a:r>
          </a:p>
        </p:txBody>
      </p:sp>
      <p:sp>
        <p:nvSpPr>
          <p:cNvPr id="14" name="矩形 42">
            <a:extLst>
              <a:ext uri="{FF2B5EF4-FFF2-40B4-BE49-F238E27FC236}">
                <a16:creationId xmlns:a16="http://schemas.microsoft.com/office/drawing/2014/main" id="{9D689373-78F1-4FDE-92E0-CE26CB58D631}"/>
              </a:ext>
            </a:extLst>
          </p:cNvPr>
          <p:cNvSpPr/>
          <p:nvPr/>
        </p:nvSpPr>
        <p:spPr>
          <a:xfrm>
            <a:off x="6746720" y="1744106"/>
            <a:ext cx="19607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</a:rPr>
              <a:t>Category “please”:</a:t>
            </a:r>
          </a:p>
        </p:txBody>
      </p:sp>
      <p:pic>
        <p:nvPicPr>
          <p:cNvPr id="15" name="圖片 4">
            <a:extLst>
              <a:ext uri="{FF2B5EF4-FFF2-40B4-BE49-F238E27FC236}">
                <a16:creationId xmlns:a16="http://schemas.microsoft.com/office/drawing/2014/main" id="{535C1199-146A-469E-BB69-2D6522C8E9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720" y="2548289"/>
            <a:ext cx="3333750" cy="275272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E5EAC27-2203-4634-98D1-F5ABFA360771}"/>
              </a:ext>
            </a:extLst>
          </p:cNvPr>
          <p:cNvSpPr>
            <a:spLocks/>
          </p:cNvSpPr>
          <p:nvPr/>
        </p:nvSpPr>
        <p:spPr>
          <a:xfrm>
            <a:off x="669924" y="-640208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  <a:latin typeface="Bahnschrift SemiCondensed" panose="020B0502040204020203" pitchFamily="34" charset="0"/>
              </a:rPr>
              <a:t>Word Embedd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623B418-08AE-459D-92BC-C3426BC9876C}"/>
              </a:ext>
            </a:extLst>
          </p:cNvPr>
          <p:cNvSpPr>
            <a:spLocks/>
          </p:cNvSpPr>
          <p:nvPr/>
        </p:nvSpPr>
        <p:spPr>
          <a:xfrm>
            <a:off x="669925" y="-631128"/>
            <a:ext cx="5814439" cy="635668"/>
          </a:xfrm>
          <a:prstGeom prst="rect">
            <a:avLst/>
          </a:prstGeom>
        </p:spPr>
        <p:txBody>
          <a:bodyPr wrap="square" lIns="91440" tIns="70920" rIns="91440" bIns="70920">
            <a:spAutoFit/>
          </a:bodyPr>
          <a:lstStyle/>
          <a:p>
            <a:r>
              <a:rPr lang="en-US" sz="3200" b="1" dirty="0">
                <a:solidFill>
                  <a:schemeClr val="accent6"/>
                </a:solidFill>
                <a:latin typeface="Bahnschrift SemiCondensed" panose="020B0502040204020203" pitchFamily="34" charset="0"/>
              </a:rPr>
              <a:t>Pre-Processing</a:t>
            </a:r>
          </a:p>
        </p:txBody>
      </p:sp>
      <p:grpSp>
        <p:nvGrpSpPr>
          <p:cNvPr id="96" name="651ee01a-8928-4156-829c-191321169f3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82536A6-4AFE-47A2-89A9-B18FF2EC94D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2540855" y="1402770"/>
            <a:ext cx="5001532" cy="4751840"/>
            <a:chOff x="3848893" y="1438800"/>
            <a:chExt cx="4494214" cy="4269849"/>
          </a:xfrm>
        </p:grpSpPr>
        <p:grpSp>
          <p:nvGrpSpPr>
            <p:cNvPr id="97" name="íṥļïḍé">
              <a:extLst>
                <a:ext uri="{FF2B5EF4-FFF2-40B4-BE49-F238E27FC236}">
                  <a16:creationId xmlns:a16="http://schemas.microsoft.com/office/drawing/2014/main" id="{F85DED78-D1FB-470A-9BAF-7D314C2B31E6}"/>
                </a:ext>
              </a:extLst>
            </p:cNvPr>
            <p:cNvGrpSpPr/>
            <p:nvPr/>
          </p:nvGrpSpPr>
          <p:grpSpPr>
            <a:xfrm>
              <a:off x="4284773" y="3302905"/>
              <a:ext cx="3612570" cy="2405744"/>
              <a:chOff x="4284773" y="3302905"/>
              <a:chExt cx="3612570" cy="2405744"/>
            </a:xfrm>
          </p:grpSpPr>
          <p:sp>
            <p:nvSpPr>
              <p:cNvPr id="148" name="ïṡľíḑé">
                <a:extLst>
                  <a:ext uri="{FF2B5EF4-FFF2-40B4-BE49-F238E27FC236}">
                    <a16:creationId xmlns:a16="http://schemas.microsoft.com/office/drawing/2014/main" id="{274A4396-3F09-47AF-9B4A-6209E801C1F1}"/>
                  </a:ext>
                </a:extLst>
              </p:cNvPr>
              <p:cNvSpPr/>
              <p:nvPr/>
            </p:nvSpPr>
            <p:spPr bwMode="auto">
              <a:xfrm>
                <a:off x="4596117" y="3302905"/>
                <a:ext cx="3000755" cy="1893757"/>
              </a:xfrm>
              <a:custGeom>
                <a:avLst/>
                <a:gdLst>
                  <a:gd name="T0" fmla="*/ 1865 w 1952"/>
                  <a:gd name="T1" fmla="*/ 1234 h 1234"/>
                  <a:gd name="T2" fmla="*/ 87 w 1952"/>
                  <a:gd name="T3" fmla="*/ 1234 h 1234"/>
                  <a:gd name="T4" fmla="*/ 0 w 1952"/>
                  <a:gd name="T5" fmla="*/ 1147 h 1234"/>
                  <a:gd name="T6" fmla="*/ 0 w 1952"/>
                  <a:gd name="T7" fmla="*/ 87 h 1234"/>
                  <a:gd name="T8" fmla="*/ 87 w 1952"/>
                  <a:gd name="T9" fmla="*/ 0 h 1234"/>
                  <a:gd name="T10" fmla="*/ 1865 w 1952"/>
                  <a:gd name="T11" fmla="*/ 0 h 1234"/>
                  <a:gd name="T12" fmla="*/ 1952 w 1952"/>
                  <a:gd name="T13" fmla="*/ 87 h 1234"/>
                  <a:gd name="T14" fmla="*/ 1952 w 1952"/>
                  <a:gd name="T15" fmla="*/ 1147 h 1234"/>
                  <a:gd name="T16" fmla="*/ 1865 w 1952"/>
                  <a:gd name="T17" fmla="*/ 1234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52" h="1234">
                    <a:moveTo>
                      <a:pt x="1865" y="1234"/>
                    </a:moveTo>
                    <a:cubicBezTo>
                      <a:pt x="87" y="1234"/>
                      <a:pt x="87" y="1234"/>
                      <a:pt x="87" y="1234"/>
                    </a:cubicBezTo>
                    <a:cubicBezTo>
                      <a:pt x="39" y="1234"/>
                      <a:pt x="0" y="1195"/>
                      <a:pt x="0" y="114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0" y="39"/>
                      <a:pt x="39" y="0"/>
                      <a:pt x="87" y="0"/>
                    </a:cubicBezTo>
                    <a:cubicBezTo>
                      <a:pt x="1865" y="0"/>
                      <a:pt x="1865" y="0"/>
                      <a:pt x="1865" y="0"/>
                    </a:cubicBezTo>
                    <a:cubicBezTo>
                      <a:pt x="1913" y="0"/>
                      <a:pt x="1952" y="39"/>
                      <a:pt x="1952" y="87"/>
                    </a:cubicBezTo>
                    <a:cubicBezTo>
                      <a:pt x="1952" y="1147"/>
                      <a:pt x="1952" y="1147"/>
                      <a:pt x="1952" y="1147"/>
                    </a:cubicBezTo>
                    <a:cubicBezTo>
                      <a:pt x="1952" y="1195"/>
                      <a:pt x="1913" y="1234"/>
                      <a:pt x="1865" y="1234"/>
                    </a:cubicBez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" name="iŝ1ïḋe">
                <a:extLst>
                  <a:ext uri="{FF2B5EF4-FFF2-40B4-BE49-F238E27FC236}">
                    <a16:creationId xmlns:a16="http://schemas.microsoft.com/office/drawing/2014/main" id="{D8F75A77-E5AC-4746-843A-22ABBE9463A1}"/>
                  </a:ext>
                </a:extLst>
              </p:cNvPr>
              <p:cNvSpPr/>
              <p:nvPr/>
            </p:nvSpPr>
            <p:spPr bwMode="auto">
              <a:xfrm>
                <a:off x="4620826" y="3328604"/>
                <a:ext cx="2950347" cy="1842361"/>
              </a:xfrm>
              <a:custGeom>
                <a:avLst/>
                <a:gdLst>
                  <a:gd name="T0" fmla="*/ 0 w 1919"/>
                  <a:gd name="T1" fmla="*/ 1133 h 1200"/>
                  <a:gd name="T2" fmla="*/ 0 w 1919"/>
                  <a:gd name="T3" fmla="*/ 67 h 1200"/>
                  <a:gd name="T4" fmla="*/ 67 w 1919"/>
                  <a:gd name="T5" fmla="*/ 0 h 1200"/>
                  <a:gd name="T6" fmla="*/ 1852 w 1919"/>
                  <a:gd name="T7" fmla="*/ 0 h 1200"/>
                  <a:gd name="T8" fmla="*/ 1919 w 1919"/>
                  <a:gd name="T9" fmla="*/ 67 h 1200"/>
                  <a:gd name="T10" fmla="*/ 1919 w 1919"/>
                  <a:gd name="T11" fmla="*/ 1133 h 1200"/>
                  <a:gd name="T12" fmla="*/ 1852 w 1919"/>
                  <a:gd name="T13" fmla="*/ 1200 h 1200"/>
                  <a:gd name="T14" fmla="*/ 67 w 1919"/>
                  <a:gd name="T15" fmla="*/ 1200 h 1200"/>
                  <a:gd name="T16" fmla="*/ 0 w 1919"/>
                  <a:gd name="T17" fmla="*/ 1133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9" h="1200">
                    <a:moveTo>
                      <a:pt x="0" y="1133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30"/>
                      <a:pt x="30" y="0"/>
                      <a:pt x="67" y="0"/>
                    </a:cubicBezTo>
                    <a:cubicBezTo>
                      <a:pt x="1852" y="0"/>
                      <a:pt x="1852" y="0"/>
                      <a:pt x="1852" y="0"/>
                    </a:cubicBezTo>
                    <a:cubicBezTo>
                      <a:pt x="1889" y="0"/>
                      <a:pt x="1919" y="30"/>
                      <a:pt x="1919" y="67"/>
                    </a:cubicBezTo>
                    <a:cubicBezTo>
                      <a:pt x="1919" y="1133"/>
                      <a:pt x="1919" y="1133"/>
                      <a:pt x="1919" y="1133"/>
                    </a:cubicBezTo>
                    <a:cubicBezTo>
                      <a:pt x="1919" y="1170"/>
                      <a:pt x="1889" y="1200"/>
                      <a:pt x="1852" y="1200"/>
                    </a:cubicBezTo>
                    <a:cubicBezTo>
                      <a:pt x="67" y="1200"/>
                      <a:pt x="67" y="1200"/>
                      <a:pt x="67" y="1200"/>
                    </a:cubicBezTo>
                    <a:cubicBezTo>
                      <a:pt x="30" y="1200"/>
                      <a:pt x="0" y="1170"/>
                      <a:pt x="0" y="1133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" name="íSļïḋe">
                <a:extLst>
                  <a:ext uri="{FF2B5EF4-FFF2-40B4-BE49-F238E27FC236}">
                    <a16:creationId xmlns:a16="http://schemas.microsoft.com/office/drawing/2014/main" id="{BD77CB5C-3CB2-4697-A9A3-9D35FAC32AC0}"/>
                  </a:ext>
                </a:extLst>
              </p:cNvPr>
              <p:cNvSpPr/>
              <p:nvPr/>
            </p:nvSpPr>
            <p:spPr bwMode="auto">
              <a:xfrm>
                <a:off x="4723619" y="3431396"/>
                <a:ext cx="2744762" cy="1637764"/>
              </a:xfrm>
              <a:prstGeom prst="rect">
                <a:avLst/>
              </a:prstGeom>
              <a:solidFill>
                <a:srgbClr val="9DB0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" name="ïS1íḍê">
                <a:extLst>
                  <a:ext uri="{FF2B5EF4-FFF2-40B4-BE49-F238E27FC236}">
                    <a16:creationId xmlns:a16="http://schemas.microsoft.com/office/drawing/2014/main" id="{297E8865-8641-41F4-8D8E-241B6DC0B20C}"/>
                  </a:ext>
                </a:extLst>
              </p:cNvPr>
              <p:cNvSpPr/>
              <p:nvPr/>
            </p:nvSpPr>
            <p:spPr bwMode="auto">
              <a:xfrm>
                <a:off x="4980601" y="3583608"/>
                <a:ext cx="2232775" cy="1332351"/>
              </a:xfrm>
              <a:prstGeom prst="rect">
                <a:avLst/>
              </a:prstGeom>
              <a:solidFill>
                <a:srgbClr val="E7EB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" name="î$lïḍé">
                <a:extLst>
                  <a:ext uri="{FF2B5EF4-FFF2-40B4-BE49-F238E27FC236}">
                    <a16:creationId xmlns:a16="http://schemas.microsoft.com/office/drawing/2014/main" id="{D6B77C75-B2A6-423E-B346-182729704AAE}"/>
                  </a:ext>
                </a:extLst>
              </p:cNvPr>
              <p:cNvSpPr/>
              <p:nvPr/>
            </p:nvSpPr>
            <p:spPr bwMode="auto">
              <a:xfrm>
                <a:off x="4980601" y="3658726"/>
                <a:ext cx="2232775" cy="130468"/>
              </a:xfrm>
              <a:prstGeom prst="rect">
                <a:avLst/>
              </a:pr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" name="íślïḋé">
                <a:extLst>
                  <a:ext uri="{FF2B5EF4-FFF2-40B4-BE49-F238E27FC236}">
                    <a16:creationId xmlns:a16="http://schemas.microsoft.com/office/drawing/2014/main" id="{3ADCCF3F-CE6A-4832-A787-F521C1C40B65}"/>
                  </a:ext>
                </a:extLst>
              </p:cNvPr>
              <p:cNvSpPr/>
              <p:nvPr/>
            </p:nvSpPr>
            <p:spPr bwMode="auto">
              <a:xfrm>
                <a:off x="5161476" y="3789194"/>
                <a:ext cx="1868059" cy="460590"/>
              </a:xfrm>
              <a:prstGeom prst="rect">
                <a:avLst/>
              </a:pr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" name="îṩ1iḍé">
                <a:extLst>
                  <a:ext uri="{FF2B5EF4-FFF2-40B4-BE49-F238E27FC236}">
                    <a16:creationId xmlns:a16="http://schemas.microsoft.com/office/drawing/2014/main" id="{2EB631CA-6406-47BC-9EE1-5CF521B47430}"/>
                  </a:ext>
                </a:extLst>
              </p:cNvPr>
              <p:cNvSpPr/>
              <p:nvPr/>
            </p:nvSpPr>
            <p:spPr bwMode="auto">
              <a:xfrm>
                <a:off x="6019400" y="3914719"/>
                <a:ext cx="145293" cy="291575"/>
              </a:xfrm>
              <a:custGeom>
                <a:avLst/>
                <a:gdLst>
                  <a:gd name="T0" fmla="*/ 71 w 94"/>
                  <a:gd name="T1" fmla="*/ 29 h 190"/>
                  <a:gd name="T2" fmla="*/ 94 w 94"/>
                  <a:gd name="T3" fmla="*/ 29 h 190"/>
                  <a:gd name="T4" fmla="*/ 94 w 94"/>
                  <a:gd name="T5" fmla="*/ 0 h 190"/>
                  <a:gd name="T6" fmla="*/ 71 w 94"/>
                  <a:gd name="T7" fmla="*/ 0 h 190"/>
                  <a:gd name="T8" fmla="*/ 25 w 94"/>
                  <a:gd name="T9" fmla="*/ 40 h 190"/>
                  <a:gd name="T10" fmla="*/ 25 w 94"/>
                  <a:gd name="T11" fmla="*/ 65 h 190"/>
                  <a:gd name="T12" fmla="*/ 0 w 94"/>
                  <a:gd name="T13" fmla="*/ 65 h 190"/>
                  <a:gd name="T14" fmla="*/ 0 w 94"/>
                  <a:gd name="T15" fmla="*/ 95 h 190"/>
                  <a:gd name="T16" fmla="*/ 25 w 94"/>
                  <a:gd name="T17" fmla="*/ 95 h 190"/>
                  <a:gd name="T18" fmla="*/ 25 w 94"/>
                  <a:gd name="T19" fmla="*/ 190 h 190"/>
                  <a:gd name="T20" fmla="*/ 61 w 94"/>
                  <a:gd name="T21" fmla="*/ 190 h 190"/>
                  <a:gd name="T22" fmla="*/ 61 w 94"/>
                  <a:gd name="T23" fmla="*/ 95 h 190"/>
                  <a:gd name="T24" fmla="*/ 91 w 94"/>
                  <a:gd name="T25" fmla="*/ 95 h 190"/>
                  <a:gd name="T26" fmla="*/ 94 w 94"/>
                  <a:gd name="T27" fmla="*/ 65 h 190"/>
                  <a:gd name="T28" fmla="*/ 61 w 94"/>
                  <a:gd name="T29" fmla="*/ 65 h 190"/>
                  <a:gd name="T30" fmla="*/ 61 w 94"/>
                  <a:gd name="T31" fmla="*/ 40 h 190"/>
                  <a:gd name="T32" fmla="*/ 71 w 94"/>
                  <a:gd name="T33" fmla="*/ 2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4" h="190">
                    <a:moveTo>
                      <a:pt x="71" y="29"/>
                    </a:moveTo>
                    <a:cubicBezTo>
                      <a:pt x="80" y="29"/>
                      <a:pt x="94" y="29"/>
                      <a:pt x="94" y="29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84" y="0"/>
                      <a:pt x="71" y="0"/>
                    </a:cubicBezTo>
                    <a:cubicBezTo>
                      <a:pt x="58" y="0"/>
                      <a:pt x="25" y="2"/>
                      <a:pt x="25" y="40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5" y="190"/>
                      <a:pt x="25" y="190"/>
                      <a:pt x="25" y="190"/>
                    </a:cubicBezTo>
                    <a:cubicBezTo>
                      <a:pt x="61" y="190"/>
                      <a:pt x="61" y="190"/>
                      <a:pt x="61" y="190"/>
                    </a:cubicBezTo>
                    <a:cubicBezTo>
                      <a:pt x="61" y="95"/>
                      <a:pt x="61" y="95"/>
                      <a:pt x="61" y="95"/>
                    </a:cubicBezTo>
                    <a:cubicBezTo>
                      <a:pt x="91" y="95"/>
                      <a:pt x="91" y="95"/>
                      <a:pt x="91" y="95"/>
                    </a:cubicBezTo>
                    <a:cubicBezTo>
                      <a:pt x="94" y="65"/>
                      <a:pt x="94" y="65"/>
                      <a:pt x="94" y="65"/>
                    </a:cubicBezTo>
                    <a:cubicBezTo>
                      <a:pt x="61" y="65"/>
                      <a:pt x="61" y="65"/>
                      <a:pt x="61" y="65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1" y="40"/>
                      <a:pt x="63" y="29"/>
                      <a:pt x="71" y="2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" name="iŝľiḑé">
                <a:extLst>
                  <a:ext uri="{FF2B5EF4-FFF2-40B4-BE49-F238E27FC236}">
                    <a16:creationId xmlns:a16="http://schemas.microsoft.com/office/drawing/2014/main" id="{21A309EB-5ADB-44FB-957F-ABC45955BA1C}"/>
                  </a:ext>
                </a:extLst>
              </p:cNvPr>
              <p:cNvSpPr/>
              <p:nvPr/>
            </p:nvSpPr>
            <p:spPr bwMode="auto">
              <a:xfrm>
                <a:off x="5161476" y="3789194"/>
                <a:ext cx="1868059" cy="75118"/>
              </a:xfrm>
              <a:prstGeom prst="rect">
                <a:avLst/>
              </a:prstGeom>
              <a:solidFill>
                <a:srgbClr val="E7EB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" name="işḷíḑé">
                <a:extLst>
                  <a:ext uri="{FF2B5EF4-FFF2-40B4-BE49-F238E27FC236}">
                    <a16:creationId xmlns:a16="http://schemas.microsoft.com/office/drawing/2014/main" id="{0E17B064-1DD5-4D0D-8198-FC4E29FE40CF}"/>
                  </a:ext>
                </a:extLst>
              </p:cNvPr>
              <p:cNvSpPr/>
              <p:nvPr/>
            </p:nvSpPr>
            <p:spPr bwMode="auto">
              <a:xfrm>
                <a:off x="5161476" y="4249784"/>
                <a:ext cx="1868059" cy="177910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" name="îŝ1îḓè">
                <a:extLst>
                  <a:ext uri="{FF2B5EF4-FFF2-40B4-BE49-F238E27FC236}">
                    <a16:creationId xmlns:a16="http://schemas.microsoft.com/office/drawing/2014/main" id="{14DAB397-3490-42BF-951F-BDA68F563461}"/>
                  </a:ext>
                </a:extLst>
              </p:cNvPr>
              <p:cNvSpPr/>
              <p:nvPr/>
            </p:nvSpPr>
            <p:spPr bwMode="auto">
              <a:xfrm>
                <a:off x="5886955" y="4472172"/>
                <a:ext cx="1142580" cy="401287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" name="íṡlîḍê">
                <a:extLst>
                  <a:ext uri="{FF2B5EF4-FFF2-40B4-BE49-F238E27FC236}">
                    <a16:creationId xmlns:a16="http://schemas.microsoft.com/office/drawing/2014/main" id="{5FE4535B-4487-4E6A-8E42-15E549E59439}"/>
                  </a:ext>
                </a:extLst>
              </p:cNvPr>
              <p:cNvSpPr/>
              <p:nvPr/>
            </p:nvSpPr>
            <p:spPr bwMode="auto">
              <a:xfrm>
                <a:off x="5161476" y="4472172"/>
                <a:ext cx="669141" cy="177910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" name="ïṥḷïdê">
                <a:extLst>
                  <a:ext uri="{FF2B5EF4-FFF2-40B4-BE49-F238E27FC236}">
                    <a16:creationId xmlns:a16="http://schemas.microsoft.com/office/drawing/2014/main" id="{A10E1899-D130-4B24-9581-DE63EB29E2B3}"/>
                  </a:ext>
                </a:extLst>
              </p:cNvPr>
              <p:cNvSpPr/>
              <p:nvPr/>
            </p:nvSpPr>
            <p:spPr bwMode="auto">
              <a:xfrm>
                <a:off x="5161476" y="4694560"/>
                <a:ext cx="669141" cy="178899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" name="išļídé">
                <a:extLst>
                  <a:ext uri="{FF2B5EF4-FFF2-40B4-BE49-F238E27FC236}">
                    <a16:creationId xmlns:a16="http://schemas.microsoft.com/office/drawing/2014/main" id="{75E5F2E4-EDC7-4B9C-9DC0-5BC94A039044}"/>
                  </a:ext>
                </a:extLst>
              </p:cNvPr>
              <p:cNvSpPr/>
              <p:nvPr/>
            </p:nvSpPr>
            <p:spPr bwMode="auto">
              <a:xfrm>
                <a:off x="5230664" y="4071874"/>
                <a:ext cx="356809" cy="355821"/>
              </a:xfrm>
              <a:prstGeom prst="rect">
                <a:avLst/>
              </a:prstGeom>
              <a:solidFill>
                <a:srgbClr val="6D84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" name="íṡḷîḑè">
                <a:extLst>
                  <a:ext uri="{FF2B5EF4-FFF2-40B4-BE49-F238E27FC236}">
                    <a16:creationId xmlns:a16="http://schemas.microsoft.com/office/drawing/2014/main" id="{C7B57169-EDF2-4BA7-8FAE-A3FC71DEF28B}"/>
                  </a:ext>
                </a:extLst>
              </p:cNvPr>
              <p:cNvSpPr/>
              <p:nvPr/>
            </p:nvSpPr>
            <p:spPr bwMode="auto">
              <a:xfrm>
                <a:off x="4284773" y="5195674"/>
                <a:ext cx="1806779" cy="512975"/>
              </a:xfrm>
              <a:custGeom>
                <a:avLst/>
                <a:gdLst>
                  <a:gd name="T0" fmla="*/ 1175 w 1175"/>
                  <a:gd name="T1" fmla="*/ 1 h 334"/>
                  <a:gd name="T2" fmla="*/ 1175 w 1175"/>
                  <a:gd name="T3" fmla="*/ 334 h 334"/>
                  <a:gd name="T4" fmla="*/ 37 w 1175"/>
                  <a:gd name="T5" fmla="*/ 334 h 334"/>
                  <a:gd name="T6" fmla="*/ 14 w 1175"/>
                  <a:gd name="T7" fmla="*/ 251 h 334"/>
                  <a:gd name="T8" fmla="*/ 267 w 1175"/>
                  <a:gd name="T9" fmla="*/ 0 h 334"/>
                  <a:gd name="T10" fmla="*/ 1175 w 1175"/>
                  <a:gd name="T11" fmla="*/ 1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5" h="334">
                    <a:moveTo>
                      <a:pt x="1175" y="1"/>
                    </a:moveTo>
                    <a:cubicBezTo>
                      <a:pt x="1175" y="334"/>
                      <a:pt x="1175" y="334"/>
                      <a:pt x="1175" y="334"/>
                    </a:cubicBezTo>
                    <a:cubicBezTo>
                      <a:pt x="37" y="334"/>
                      <a:pt x="37" y="334"/>
                      <a:pt x="37" y="334"/>
                    </a:cubicBezTo>
                    <a:cubicBezTo>
                      <a:pt x="37" y="334"/>
                      <a:pt x="0" y="302"/>
                      <a:pt x="14" y="251"/>
                    </a:cubicBezTo>
                    <a:cubicBezTo>
                      <a:pt x="267" y="0"/>
                      <a:pt x="267" y="0"/>
                      <a:pt x="267" y="0"/>
                    </a:cubicBezTo>
                    <a:lnTo>
                      <a:pt x="1175" y="1"/>
                    </a:ln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" name="ïşļîḍé">
                <a:extLst>
                  <a:ext uri="{FF2B5EF4-FFF2-40B4-BE49-F238E27FC236}">
                    <a16:creationId xmlns:a16="http://schemas.microsoft.com/office/drawing/2014/main" id="{252F34D5-A791-4E9A-9028-6789B1C16E3A}"/>
                  </a:ext>
                </a:extLst>
              </p:cNvPr>
              <p:cNvSpPr/>
              <p:nvPr/>
            </p:nvSpPr>
            <p:spPr bwMode="auto">
              <a:xfrm>
                <a:off x="4284773" y="5568297"/>
                <a:ext cx="1806779" cy="140352"/>
              </a:xfrm>
              <a:custGeom>
                <a:avLst/>
                <a:gdLst>
                  <a:gd name="T0" fmla="*/ 22 w 1175"/>
                  <a:gd name="T1" fmla="*/ 0 h 91"/>
                  <a:gd name="T2" fmla="*/ 14 w 1175"/>
                  <a:gd name="T3" fmla="*/ 8 h 91"/>
                  <a:gd name="T4" fmla="*/ 37 w 1175"/>
                  <a:gd name="T5" fmla="*/ 91 h 91"/>
                  <a:gd name="T6" fmla="*/ 1175 w 1175"/>
                  <a:gd name="T7" fmla="*/ 91 h 91"/>
                  <a:gd name="T8" fmla="*/ 1175 w 1175"/>
                  <a:gd name="T9" fmla="*/ 20 h 91"/>
                  <a:gd name="T10" fmla="*/ 37 w 1175"/>
                  <a:gd name="T11" fmla="*/ 20 h 91"/>
                  <a:gd name="T12" fmla="*/ 22 w 1175"/>
                  <a:gd name="T1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5" h="91">
                    <a:moveTo>
                      <a:pt x="22" y="0"/>
                    </a:moveTo>
                    <a:cubicBezTo>
                      <a:pt x="14" y="8"/>
                      <a:pt x="14" y="8"/>
                      <a:pt x="14" y="8"/>
                    </a:cubicBezTo>
                    <a:cubicBezTo>
                      <a:pt x="0" y="59"/>
                      <a:pt x="37" y="91"/>
                      <a:pt x="37" y="91"/>
                    </a:cubicBezTo>
                    <a:cubicBezTo>
                      <a:pt x="1175" y="91"/>
                      <a:pt x="1175" y="91"/>
                      <a:pt x="1175" y="91"/>
                    </a:cubicBezTo>
                    <a:cubicBezTo>
                      <a:pt x="1175" y="20"/>
                      <a:pt x="1175" y="20"/>
                      <a:pt x="1175" y="2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20"/>
                      <a:pt x="29" y="13"/>
                      <a:pt x="22" y="0"/>
                    </a:cubicBezTo>
                    <a:close/>
                  </a:path>
                </a:pathLst>
              </a:custGeom>
              <a:solidFill>
                <a:srgbClr val="ADAF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" name="îsļîḓe">
                <a:extLst>
                  <a:ext uri="{FF2B5EF4-FFF2-40B4-BE49-F238E27FC236}">
                    <a16:creationId xmlns:a16="http://schemas.microsoft.com/office/drawing/2014/main" id="{F2A3770D-EA0C-4EED-8E0B-ED71984C8D03}"/>
                  </a:ext>
                </a:extLst>
              </p:cNvPr>
              <p:cNvSpPr/>
              <p:nvPr/>
            </p:nvSpPr>
            <p:spPr bwMode="auto">
              <a:xfrm>
                <a:off x="6090564" y="5195674"/>
                <a:ext cx="1806779" cy="512975"/>
              </a:xfrm>
              <a:custGeom>
                <a:avLst/>
                <a:gdLst>
                  <a:gd name="T0" fmla="*/ 0 w 1175"/>
                  <a:gd name="T1" fmla="*/ 1 h 334"/>
                  <a:gd name="T2" fmla="*/ 0 w 1175"/>
                  <a:gd name="T3" fmla="*/ 334 h 334"/>
                  <a:gd name="T4" fmla="*/ 1139 w 1175"/>
                  <a:gd name="T5" fmla="*/ 334 h 334"/>
                  <a:gd name="T6" fmla="*/ 1162 w 1175"/>
                  <a:gd name="T7" fmla="*/ 251 h 334"/>
                  <a:gd name="T8" fmla="*/ 909 w 1175"/>
                  <a:gd name="T9" fmla="*/ 0 h 334"/>
                  <a:gd name="T10" fmla="*/ 0 w 1175"/>
                  <a:gd name="T11" fmla="*/ 1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5" h="334">
                    <a:moveTo>
                      <a:pt x="0" y="1"/>
                    </a:moveTo>
                    <a:cubicBezTo>
                      <a:pt x="0" y="334"/>
                      <a:pt x="0" y="334"/>
                      <a:pt x="0" y="334"/>
                    </a:cubicBezTo>
                    <a:cubicBezTo>
                      <a:pt x="1139" y="334"/>
                      <a:pt x="1139" y="334"/>
                      <a:pt x="1139" y="334"/>
                    </a:cubicBezTo>
                    <a:cubicBezTo>
                      <a:pt x="1139" y="334"/>
                      <a:pt x="1175" y="302"/>
                      <a:pt x="1162" y="251"/>
                    </a:cubicBezTo>
                    <a:cubicBezTo>
                      <a:pt x="909" y="0"/>
                      <a:pt x="909" y="0"/>
                      <a:pt x="909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" name="íŝlíḋe">
                <a:extLst>
                  <a:ext uri="{FF2B5EF4-FFF2-40B4-BE49-F238E27FC236}">
                    <a16:creationId xmlns:a16="http://schemas.microsoft.com/office/drawing/2014/main" id="{7EF8A57B-17EF-4CFD-A45B-658D0DE94A5B}"/>
                  </a:ext>
                </a:extLst>
              </p:cNvPr>
              <p:cNvSpPr/>
              <p:nvPr/>
            </p:nvSpPr>
            <p:spPr bwMode="auto">
              <a:xfrm>
                <a:off x="6090564" y="5568297"/>
                <a:ext cx="1806779" cy="140352"/>
              </a:xfrm>
              <a:custGeom>
                <a:avLst/>
                <a:gdLst>
                  <a:gd name="T0" fmla="*/ 1154 w 1175"/>
                  <a:gd name="T1" fmla="*/ 0 h 91"/>
                  <a:gd name="T2" fmla="*/ 1162 w 1175"/>
                  <a:gd name="T3" fmla="*/ 8 h 91"/>
                  <a:gd name="T4" fmla="*/ 1139 w 1175"/>
                  <a:gd name="T5" fmla="*/ 91 h 91"/>
                  <a:gd name="T6" fmla="*/ 0 w 1175"/>
                  <a:gd name="T7" fmla="*/ 91 h 91"/>
                  <a:gd name="T8" fmla="*/ 0 w 1175"/>
                  <a:gd name="T9" fmla="*/ 20 h 91"/>
                  <a:gd name="T10" fmla="*/ 1139 w 1175"/>
                  <a:gd name="T11" fmla="*/ 20 h 91"/>
                  <a:gd name="T12" fmla="*/ 1154 w 1175"/>
                  <a:gd name="T1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5" h="91">
                    <a:moveTo>
                      <a:pt x="1154" y="0"/>
                    </a:moveTo>
                    <a:cubicBezTo>
                      <a:pt x="1162" y="8"/>
                      <a:pt x="1162" y="8"/>
                      <a:pt x="1162" y="8"/>
                    </a:cubicBezTo>
                    <a:cubicBezTo>
                      <a:pt x="1175" y="59"/>
                      <a:pt x="1139" y="91"/>
                      <a:pt x="1139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139" y="20"/>
                      <a:pt x="1139" y="20"/>
                      <a:pt x="1139" y="20"/>
                    </a:cubicBezTo>
                    <a:cubicBezTo>
                      <a:pt x="1139" y="20"/>
                      <a:pt x="1147" y="13"/>
                      <a:pt x="1154" y="0"/>
                    </a:cubicBezTo>
                    <a:close/>
                  </a:path>
                </a:pathLst>
              </a:custGeom>
              <a:solidFill>
                <a:srgbClr val="ADAF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" name="ï$ḻïḋê">
                <a:extLst>
                  <a:ext uri="{FF2B5EF4-FFF2-40B4-BE49-F238E27FC236}">
                    <a16:creationId xmlns:a16="http://schemas.microsoft.com/office/drawing/2014/main" id="{8381EBC6-F503-4584-91E6-11889BDA6652}"/>
                  </a:ext>
                </a:extLst>
              </p:cNvPr>
              <p:cNvSpPr/>
              <p:nvPr/>
            </p:nvSpPr>
            <p:spPr bwMode="auto">
              <a:xfrm>
                <a:off x="4657397" y="5241140"/>
                <a:ext cx="2861392" cy="210527"/>
              </a:xfrm>
              <a:custGeom>
                <a:avLst/>
                <a:gdLst>
                  <a:gd name="T0" fmla="*/ 2895 w 2895"/>
                  <a:gd name="T1" fmla="*/ 213 h 213"/>
                  <a:gd name="T2" fmla="*/ 0 w 2895"/>
                  <a:gd name="T3" fmla="*/ 213 h 213"/>
                  <a:gd name="T4" fmla="*/ 194 w 2895"/>
                  <a:gd name="T5" fmla="*/ 0 h 213"/>
                  <a:gd name="T6" fmla="*/ 2704 w 2895"/>
                  <a:gd name="T7" fmla="*/ 0 h 213"/>
                  <a:gd name="T8" fmla="*/ 2895 w 2895"/>
                  <a:gd name="T9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5" h="213">
                    <a:moveTo>
                      <a:pt x="2895" y="213"/>
                    </a:moveTo>
                    <a:lnTo>
                      <a:pt x="0" y="213"/>
                    </a:lnTo>
                    <a:lnTo>
                      <a:pt x="194" y="0"/>
                    </a:lnTo>
                    <a:lnTo>
                      <a:pt x="2704" y="0"/>
                    </a:lnTo>
                    <a:lnTo>
                      <a:pt x="2895" y="213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" name="ïśļíḍè">
                <a:extLst>
                  <a:ext uri="{FF2B5EF4-FFF2-40B4-BE49-F238E27FC236}">
                    <a16:creationId xmlns:a16="http://schemas.microsoft.com/office/drawing/2014/main" id="{CAC8E41F-88E9-4F81-B8DE-0FADC8761372}"/>
                  </a:ext>
                </a:extLst>
              </p:cNvPr>
              <p:cNvSpPr/>
              <p:nvPr/>
            </p:nvSpPr>
            <p:spPr bwMode="auto">
              <a:xfrm>
                <a:off x="5784163" y="5568297"/>
                <a:ext cx="607860" cy="71164"/>
              </a:xfrm>
              <a:custGeom>
                <a:avLst/>
                <a:gdLst>
                  <a:gd name="T0" fmla="*/ 377 w 395"/>
                  <a:gd name="T1" fmla="*/ 46 h 46"/>
                  <a:gd name="T2" fmla="*/ 18 w 395"/>
                  <a:gd name="T3" fmla="*/ 46 h 46"/>
                  <a:gd name="T4" fmla="*/ 0 w 395"/>
                  <a:gd name="T5" fmla="*/ 28 h 46"/>
                  <a:gd name="T6" fmla="*/ 0 w 395"/>
                  <a:gd name="T7" fmla="*/ 18 h 46"/>
                  <a:gd name="T8" fmla="*/ 18 w 395"/>
                  <a:gd name="T9" fmla="*/ 0 h 46"/>
                  <a:gd name="T10" fmla="*/ 377 w 395"/>
                  <a:gd name="T11" fmla="*/ 0 h 46"/>
                  <a:gd name="T12" fmla="*/ 395 w 395"/>
                  <a:gd name="T13" fmla="*/ 18 h 46"/>
                  <a:gd name="T14" fmla="*/ 395 w 395"/>
                  <a:gd name="T15" fmla="*/ 28 h 46"/>
                  <a:gd name="T16" fmla="*/ 377 w 395"/>
                  <a:gd name="T1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5" h="46">
                    <a:moveTo>
                      <a:pt x="377" y="46"/>
                    </a:moveTo>
                    <a:cubicBezTo>
                      <a:pt x="18" y="46"/>
                      <a:pt x="18" y="46"/>
                      <a:pt x="18" y="46"/>
                    </a:cubicBezTo>
                    <a:cubicBezTo>
                      <a:pt x="8" y="46"/>
                      <a:pt x="0" y="38"/>
                      <a:pt x="0" y="2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377" y="0"/>
                      <a:pt x="377" y="0"/>
                      <a:pt x="377" y="0"/>
                    </a:cubicBezTo>
                    <a:cubicBezTo>
                      <a:pt x="387" y="0"/>
                      <a:pt x="395" y="8"/>
                      <a:pt x="395" y="18"/>
                    </a:cubicBezTo>
                    <a:cubicBezTo>
                      <a:pt x="395" y="28"/>
                      <a:pt x="395" y="28"/>
                      <a:pt x="395" y="28"/>
                    </a:cubicBezTo>
                    <a:cubicBezTo>
                      <a:pt x="395" y="38"/>
                      <a:pt x="387" y="46"/>
                      <a:pt x="377" y="46"/>
                    </a:cubicBezTo>
                    <a:close/>
                  </a:path>
                </a:pathLst>
              </a:custGeom>
              <a:solidFill>
                <a:srgbClr val="D5D8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8" name="ïṥliďé">
              <a:extLst>
                <a:ext uri="{FF2B5EF4-FFF2-40B4-BE49-F238E27FC236}">
                  <a16:creationId xmlns:a16="http://schemas.microsoft.com/office/drawing/2014/main" id="{672BF656-6166-4E97-846E-1B943F0ADFCA}"/>
                </a:ext>
              </a:extLst>
            </p:cNvPr>
            <p:cNvGrpSpPr/>
            <p:nvPr/>
          </p:nvGrpSpPr>
          <p:grpSpPr>
            <a:xfrm>
              <a:off x="3848893" y="2424226"/>
              <a:ext cx="778852" cy="778852"/>
              <a:chOff x="3848893" y="2424226"/>
              <a:chExt cx="778852" cy="778852"/>
            </a:xfrm>
          </p:grpSpPr>
          <p:sp>
            <p:nvSpPr>
              <p:cNvPr id="143" name="îṣḷïḑè">
                <a:extLst>
                  <a:ext uri="{FF2B5EF4-FFF2-40B4-BE49-F238E27FC236}">
                    <a16:creationId xmlns:a16="http://schemas.microsoft.com/office/drawing/2014/main" id="{54AE3AA9-D637-4948-B136-227524A11025}"/>
                  </a:ext>
                </a:extLst>
              </p:cNvPr>
              <p:cNvSpPr/>
              <p:nvPr/>
            </p:nvSpPr>
            <p:spPr bwMode="auto">
              <a:xfrm>
                <a:off x="3848893" y="2424226"/>
                <a:ext cx="778852" cy="778852"/>
              </a:xfrm>
              <a:custGeom>
                <a:avLst/>
                <a:gdLst>
                  <a:gd name="T0" fmla="*/ 38 w 507"/>
                  <a:gd name="T1" fmla="*/ 184 h 507"/>
                  <a:gd name="T2" fmla="*/ 322 w 507"/>
                  <a:gd name="T3" fmla="*/ 38 h 507"/>
                  <a:gd name="T4" fmla="*/ 469 w 507"/>
                  <a:gd name="T5" fmla="*/ 322 h 507"/>
                  <a:gd name="T6" fmla="*/ 185 w 507"/>
                  <a:gd name="T7" fmla="*/ 469 h 507"/>
                  <a:gd name="T8" fmla="*/ 38 w 507"/>
                  <a:gd name="T9" fmla="*/ 184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7" h="507">
                    <a:moveTo>
                      <a:pt x="38" y="184"/>
                    </a:moveTo>
                    <a:cubicBezTo>
                      <a:pt x="76" y="65"/>
                      <a:pt x="203" y="0"/>
                      <a:pt x="322" y="38"/>
                    </a:cubicBezTo>
                    <a:cubicBezTo>
                      <a:pt x="441" y="76"/>
                      <a:pt x="507" y="203"/>
                      <a:pt x="469" y="322"/>
                    </a:cubicBezTo>
                    <a:cubicBezTo>
                      <a:pt x="431" y="441"/>
                      <a:pt x="304" y="507"/>
                      <a:pt x="185" y="469"/>
                    </a:cubicBezTo>
                    <a:cubicBezTo>
                      <a:pt x="66" y="431"/>
                      <a:pt x="0" y="303"/>
                      <a:pt x="38" y="184"/>
                    </a:cubicBez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" name="íś1iḋê">
                <a:extLst>
                  <a:ext uri="{FF2B5EF4-FFF2-40B4-BE49-F238E27FC236}">
                    <a16:creationId xmlns:a16="http://schemas.microsoft.com/office/drawing/2014/main" id="{8605847F-6398-4B62-BE01-56E39CF46B2E}"/>
                  </a:ext>
                </a:extLst>
              </p:cNvPr>
              <p:cNvSpPr/>
              <p:nvPr/>
            </p:nvSpPr>
            <p:spPr bwMode="auto">
              <a:xfrm>
                <a:off x="4454777" y="2881851"/>
                <a:ext cx="162096" cy="164073"/>
              </a:xfrm>
              <a:custGeom>
                <a:avLst/>
                <a:gdLst>
                  <a:gd name="T0" fmla="*/ 0 w 164"/>
                  <a:gd name="T1" fmla="*/ 42 h 166"/>
                  <a:gd name="T2" fmla="*/ 122 w 164"/>
                  <a:gd name="T3" fmla="*/ 0 h 166"/>
                  <a:gd name="T4" fmla="*/ 164 w 164"/>
                  <a:gd name="T5" fmla="*/ 124 h 166"/>
                  <a:gd name="T6" fmla="*/ 40 w 164"/>
                  <a:gd name="T7" fmla="*/ 166 h 166"/>
                  <a:gd name="T8" fmla="*/ 0 w 164"/>
                  <a:gd name="T9" fmla="*/ 4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4" h="166">
                    <a:moveTo>
                      <a:pt x="0" y="42"/>
                    </a:moveTo>
                    <a:lnTo>
                      <a:pt x="122" y="0"/>
                    </a:lnTo>
                    <a:lnTo>
                      <a:pt x="164" y="124"/>
                    </a:lnTo>
                    <a:lnTo>
                      <a:pt x="40" y="166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" name="íṡ1îďè">
                <a:extLst>
                  <a:ext uri="{FF2B5EF4-FFF2-40B4-BE49-F238E27FC236}">
                    <a16:creationId xmlns:a16="http://schemas.microsoft.com/office/drawing/2014/main" id="{224AD8B7-A184-4EDD-B0FC-2B2E55F8BBCC}"/>
                  </a:ext>
                </a:extLst>
              </p:cNvPr>
              <p:cNvSpPr/>
              <p:nvPr/>
            </p:nvSpPr>
            <p:spPr bwMode="auto">
              <a:xfrm>
                <a:off x="3893371" y="2466727"/>
                <a:ext cx="691874" cy="690885"/>
              </a:xfrm>
              <a:custGeom>
                <a:avLst/>
                <a:gdLst>
                  <a:gd name="T0" fmla="*/ 33 w 450"/>
                  <a:gd name="T1" fmla="*/ 164 h 450"/>
                  <a:gd name="T2" fmla="*/ 286 w 450"/>
                  <a:gd name="T3" fmla="*/ 34 h 450"/>
                  <a:gd name="T4" fmla="*/ 416 w 450"/>
                  <a:gd name="T5" fmla="*/ 286 h 450"/>
                  <a:gd name="T6" fmla="*/ 164 w 450"/>
                  <a:gd name="T7" fmla="*/ 417 h 450"/>
                  <a:gd name="T8" fmla="*/ 33 w 450"/>
                  <a:gd name="T9" fmla="*/ 164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0" h="450">
                    <a:moveTo>
                      <a:pt x="33" y="164"/>
                    </a:moveTo>
                    <a:cubicBezTo>
                      <a:pt x="67" y="58"/>
                      <a:pt x="180" y="0"/>
                      <a:pt x="286" y="34"/>
                    </a:cubicBezTo>
                    <a:cubicBezTo>
                      <a:pt x="391" y="68"/>
                      <a:pt x="450" y="181"/>
                      <a:pt x="416" y="286"/>
                    </a:cubicBezTo>
                    <a:cubicBezTo>
                      <a:pt x="382" y="392"/>
                      <a:pt x="269" y="450"/>
                      <a:pt x="164" y="417"/>
                    </a:cubicBezTo>
                    <a:cubicBezTo>
                      <a:pt x="58" y="383"/>
                      <a:pt x="0" y="270"/>
                      <a:pt x="33" y="1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" name="íṧlîḓè">
                <a:extLst>
                  <a:ext uri="{FF2B5EF4-FFF2-40B4-BE49-F238E27FC236}">
                    <a16:creationId xmlns:a16="http://schemas.microsoft.com/office/drawing/2014/main" id="{327BB6EA-F4F9-43D4-A583-9B54C376B814}"/>
                  </a:ext>
                </a:extLst>
              </p:cNvPr>
              <p:cNvSpPr/>
              <p:nvPr/>
            </p:nvSpPr>
            <p:spPr bwMode="auto">
              <a:xfrm>
                <a:off x="4060409" y="2777081"/>
                <a:ext cx="83025" cy="199655"/>
              </a:xfrm>
              <a:custGeom>
                <a:avLst/>
                <a:gdLst>
                  <a:gd name="T0" fmla="*/ 47 w 54"/>
                  <a:gd name="T1" fmla="*/ 0 h 130"/>
                  <a:gd name="T2" fmla="*/ 6 w 54"/>
                  <a:gd name="T3" fmla="*/ 0 h 130"/>
                  <a:gd name="T4" fmla="*/ 0 w 54"/>
                  <a:gd name="T5" fmla="*/ 6 h 130"/>
                  <a:gd name="T6" fmla="*/ 0 w 54"/>
                  <a:gd name="T7" fmla="*/ 124 h 130"/>
                  <a:gd name="T8" fmla="*/ 6 w 54"/>
                  <a:gd name="T9" fmla="*/ 130 h 130"/>
                  <a:gd name="T10" fmla="*/ 47 w 54"/>
                  <a:gd name="T11" fmla="*/ 130 h 130"/>
                  <a:gd name="T12" fmla="*/ 54 w 54"/>
                  <a:gd name="T13" fmla="*/ 124 h 130"/>
                  <a:gd name="T14" fmla="*/ 54 w 54"/>
                  <a:gd name="T15" fmla="*/ 6 h 130"/>
                  <a:gd name="T16" fmla="*/ 47 w 54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130">
                    <a:moveTo>
                      <a:pt x="47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27"/>
                      <a:pt x="3" y="130"/>
                      <a:pt x="6" y="130"/>
                    </a:cubicBezTo>
                    <a:cubicBezTo>
                      <a:pt x="47" y="130"/>
                      <a:pt x="47" y="130"/>
                      <a:pt x="47" y="130"/>
                    </a:cubicBezTo>
                    <a:cubicBezTo>
                      <a:pt x="51" y="130"/>
                      <a:pt x="54" y="127"/>
                      <a:pt x="54" y="124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3"/>
                      <a:pt x="51" y="0"/>
                      <a:pt x="47" y="0"/>
                    </a:cubicBezTo>
                    <a:close/>
                  </a:path>
                </a:pathLst>
              </a:cu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" name="îsḷïḓe">
                <a:extLst>
                  <a:ext uri="{FF2B5EF4-FFF2-40B4-BE49-F238E27FC236}">
                    <a16:creationId xmlns:a16="http://schemas.microsoft.com/office/drawing/2014/main" id="{DF7FF0D5-D451-4D58-AD03-A59C0E00B70A}"/>
                  </a:ext>
                </a:extLst>
              </p:cNvPr>
              <p:cNvSpPr/>
              <p:nvPr/>
            </p:nvSpPr>
            <p:spPr bwMode="auto">
              <a:xfrm>
                <a:off x="4163201" y="2608067"/>
                <a:ext cx="250063" cy="350879"/>
              </a:xfrm>
              <a:custGeom>
                <a:avLst/>
                <a:gdLst>
                  <a:gd name="T0" fmla="*/ 157 w 162"/>
                  <a:gd name="T1" fmla="*/ 151 h 228"/>
                  <a:gd name="T2" fmla="*/ 147 w 162"/>
                  <a:gd name="T3" fmla="*/ 135 h 228"/>
                  <a:gd name="T4" fmla="*/ 162 w 162"/>
                  <a:gd name="T5" fmla="*/ 117 h 228"/>
                  <a:gd name="T6" fmla="*/ 144 w 162"/>
                  <a:gd name="T7" fmla="*/ 99 h 228"/>
                  <a:gd name="T8" fmla="*/ 79 w 162"/>
                  <a:gd name="T9" fmla="*/ 99 h 228"/>
                  <a:gd name="T10" fmla="*/ 95 w 162"/>
                  <a:gd name="T11" fmla="*/ 53 h 228"/>
                  <a:gd name="T12" fmla="*/ 75 w 162"/>
                  <a:gd name="T13" fmla="*/ 2 h 228"/>
                  <a:gd name="T14" fmla="*/ 56 w 162"/>
                  <a:gd name="T15" fmla="*/ 40 h 228"/>
                  <a:gd name="T16" fmla="*/ 1 w 162"/>
                  <a:gd name="T17" fmla="*/ 115 h 228"/>
                  <a:gd name="T18" fmla="*/ 1 w 162"/>
                  <a:gd name="T19" fmla="*/ 208 h 228"/>
                  <a:gd name="T20" fmla="*/ 19 w 162"/>
                  <a:gd name="T21" fmla="*/ 228 h 228"/>
                  <a:gd name="T22" fmla="*/ 21 w 162"/>
                  <a:gd name="T23" fmla="*/ 228 h 228"/>
                  <a:gd name="T24" fmla="*/ 137 w 162"/>
                  <a:gd name="T25" fmla="*/ 228 h 228"/>
                  <a:gd name="T26" fmla="*/ 152 w 162"/>
                  <a:gd name="T27" fmla="*/ 213 h 228"/>
                  <a:gd name="T28" fmla="*/ 137 w 162"/>
                  <a:gd name="T29" fmla="*/ 199 h 228"/>
                  <a:gd name="T30" fmla="*/ 140 w 162"/>
                  <a:gd name="T31" fmla="*/ 199 h 228"/>
                  <a:gd name="T32" fmla="*/ 155 w 162"/>
                  <a:gd name="T33" fmla="*/ 184 h 228"/>
                  <a:gd name="T34" fmla="*/ 140 w 162"/>
                  <a:gd name="T35" fmla="*/ 169 h 228"/>
                  <a:gd name="T36" fmla="*/ 139 w 162"/>
                  <a:gd name="T37" fmla="*/ 169 h 228"/>
                  <a:gd name="T38" fmla="*/ 157 w 162"/>
                  <a:gd name="T39" fmla="*/ 15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2" h="228">
                    <a:moveTo>
                      <a:pt x="157" y="151"/>
                    </a:moveTo>
                    <a:cubicBezTo>
                      <a:pt x="157" y="144"/>
                      <a:pt x="153" y="138"/>
                      <a:pt x="147" y="135"/>
                    </a:cubicBezTo>
                    <a:cubicBezTo>
                      <a:pt x="156" y="134"/>
                      <a:pt x="162" y="126"/>
                      <a:pt x="162" y="117"/>
                    </a:cubicBezTo>
                    <a:cubicBezTo>
                      <a:pt x="162" y="107"/>
                      <a:pt x="154" y="99"/>
                      <a:pt x="144" y="99"/>
                    </a:cubicBezTo>
                    <a:cubicBezTo>
                      <a:pt x="79" y="99"/>
                      <a:pt x="79" y="99"/>
                      <a:pt x="79" y="99"/>
                    </a:cubicBezTo>
                    <a:cubicBezTo>
                      <a:pt x="79" y="99"/>
                      <a:pt x="90" y="80"/>
                      <a:pt x="95" y="53"/>
                    </a:cubicBezTo>
                    <a:cubicBezTo>
                      <a:pt x="99" y="26"/>
                      <a:pt x="92" y="4"/>
                      <a:pt x="75" y="2"/>
                    </a:cubicBezTo>
                    <a:cubicBezTo>
                      <a:pt x="75" y="2"/>
                      <a:pt x="51" y="0"/>
                      <a:pt x="56" y="40"/>
                    </a:cubicBezTo>
                    <a:cubicBezTo>
                      <a:pt x="56" y="40"/>
                      <a:pt x="27" y="81"/>
                      <a:pt x="1" y="115"/>
                    </a:cubicBezTo>
                    <a:cubicBezTo>
                      <a:pt x="1" y="208"/>
                      <a:pt x="1" y="208"/>
                      <a:pt x="1" y="208"/>
                    </a:cubicBezTo>
                    <a:cubicBezTo>
                      <a:pt x="1" y="208"/>
                      <a:pt x="0" y="227"/>
                      <a:pt x="19" y="228"/>
                    </a:cubicBezTo>
                    <a:cubicBezTo>
                      <a:pt x="20" y="228"/>
                      <a:pt x="20" y="228"/>
                      <a:pt x="21" y="228"/>
                    </a:cubicBezTo>
                    <a:cubicBezTo>
                      <a:pt x="137" y="228"/>
                      <a:pt x="137" y="228"/>
                      <a:pt x="137" y="228"/>
                    </a:cubicBezTo>
                    <a:cubicBezTo>
                      <a:pt x="145" y="228"/>
                      <a:pt x="152" y="222"/>
                      <a:pt x="152" y="213"/>
                    </a:cubicBezTo>
                    <a:cubicBezTo>
                      <a:pt x="152" y="205"/>
                      <a:pt x="145" y="199"/>
                      <a:pt x="137" y="199"/>
                    </a:cubicBezTo>
                    <a:cubicBezTo>
                      <a:pt x="140" y="199"/>
                      <a:pt x="140" y="199"/>
                      <a:pt x="140" y="199"/>
                    </a:cubicBezTo>
                    <a:cubicBezTo>
                      <a:pt x="148" y="199"/>
                      <a:pt x="155" y="192"/>
                      <a:pt x="155" y="184"/>
                    </a:cubicBezTo>
                    <a:cubicBezTo>
                      <a:pt x="155" y="176"/>
                      <a:pt x="148" y="169"/>
                      <a:pt x="140" y="169"/>
                    </a:cubicBezTo>
                    <a:cubicBezTo>
                      <a:pt x="139" y="169"/>
                      <a:pt x="139" y="169"/>
                      <a:pt x="139" y="169"/>
                    </a:cubicBezTo>
                    <a:cubicBezTo>
                      <a:pt x="149" y="169"/>
                      <a:pt x="157" y="161"/>
                      <a:pt x="157" y="151"/>
                    </a:cubicBezTo>
                    <a:close/>
                  </a:path>
                </a:pathLst>
              </a:custGeom>
              <a:solidFill>
                <a:srgbClr val="3B59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9" name="íŝliḓe">
              <a:extLst>
                <a:ext uri="{FF2B5EF4-FFF2-40B4-BE49-F238E27FC236}">
                  <a16:creationId xmlns:a16="http://schemas.microsoft.com/office/drawing/2014/main" id="{911A4690-F2EC-45BB-A90E-98C274DAD936}"/>
                </a:ext>
              </a:extLst>
            </p:cNvPr>
            <p:cNvGrpSpPr/>
            <p:nvPr/>
          </p:nvGrpSpPr>
          <p:grpSpPr>
            <a:xfrm>
              <a:off x="4375705" y="1438800"/>
              <a:ext cx="707688" cy="694839"/>
              <a:chOff x="4375705" y="1438800"/>
              <a:chExt cx="707688" cy="694839"/>
            </a:xfrm>
          </p:grpSpPr>
          <p:sp>
            <p:nvSpPr>
              <p:cNvPr id="139" name="ïśḷide">
                <a:extLst>
                  <a:ext uri="{FF2B5EF4-FFF2-40B4-BE49-F238E27FC236}">
                    <a16:creationId xmlns:a16="http://schemas.microsoft.com/office/drawing/2014/main" id="{9B4E5148-63AC-4BA1-887B-3331967965F5}"/>
                  </a:ext>
                </a:extLst>
              </p:cNvPr>
              <p:cNvSpPr/>
              <p:nvPr/>
            </p:nvSpPr>
            <p:spPr bwMode="auto">
              <a:xfrm>
                <a:off x="4375705" y="1438800"/>
                <a:ext cx="694839" cy="694839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" name="íṣ1îdê">
                <a:extLst>
                  <a:ext uri="{FF2B5EF4-FFF2-40B4-BE49-F238E27FC236}">
                    <a16:creationId xmlns:a16="http://schemas.microsoft.com/office/drawing/2014/main" id="{CB8F03EC-64C2-4785-B44A-78023653D0DE}"/>
                  </a:ext>
                </a:extLst>
              </p:cNvPr>
              <p:cNvSpPr/>
              <p:nvPr/>
            </p:nvSpPr>
            <p:spPr bwMode="auto">
              <a:xfrm>
                <a:off x="4929204" y="1885553"/>
                <a:ext cx="154189" cy="155177"/>
              </a:xfrm>
              <a:custGeom>
                <a:avLst/>
                <a:gdLst>
                  <a:gd name="T0" fmla="*/ 0 w 156"/>
                  <a:gd name="T1" fmla="*/ 29 h 157"/>
                  <a:gd name="T2" fmla="*/ 128 w 156"/>
                  <a:gd name="T3" fmla="*/ 0 h 157"/>
                  <a:gd name="T4" fmla="*/ 156 w 156"/>
                  <a:gd name="T5" fmla="*/ 129 h 157"/>
                  <a:gd name="T6" fmla="*/ 28 w 156"/>
                  <a:gd name="T7" fmla="*/ 157 h 157"/>
                  <a:gd name="T8" fmla="*/ 0 w 156"/>
                  <a:gd name="T9" fmla="*/ 29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57">
                    <a:moveTo>
                      <a:pt x="0" y="29"/>
                    </a:moveTo>
                    <a:lnTo>
                      <a:pt x="128" y="0"/>
                    </a:lnTo>
                    <a:lnTo>
                      <a:pt x="156" y="129"/>
                    </a:lnTo>
                    <a:lnTo>
                      <a:pt x="28" y="157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" name="ïṧḻïḑê">
                <a:extLst>
                  <a:ext uri="{FF2B5EF4-FFF2-40B4-BE49-F238E27FC236}">
                    <a16:creationId xmlns:a16="http://schemas.microsoft.com/office/drawing/2014/main" id="{32FAA3EB-946D-4737-870C-529DDC3521B0}"/>
                  </a:ext>
                </a:extLst>
              </p:cNvPr>
              <p:cNvSpPr/>
              <p:nvPr/>
            </p:nvSpPr>
            <p:spPr bwMode="auto">
              <a:xfrm>
                <a:off x="4414253" y="1478336"/>
                <a:ext cx="618733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" name="îṡľíďé">
                <a:extLst>
                  <a:ext uri="{FF2B5EF4-FFF2-40B4-BE49-F238E27FC236}">
                    <a16:creationId xmlns:a16="http://schemas.microsoft.com/office/drawing/2014/main" id="{D9BEFE6C-398A-4993-9320-13664CC7CB92}"/>
                  </a:ext>
                </a:extLst>
              </p:cNvPr>
              <p:cNvSpPr/>
              <p:nvPr/>
            </p:nvSpPr>
            <p:spPr bwMode="auto">
              <a:xfrm>
                <a:off x="4486405" y="1631536"/>
                <a:ext cx="458613" cy="373612"/>
              </a:xfrm>
              <a:custGeom>
                <a:avLst/>
                <a:gdLst>
                  <a:gd name="T0" fmla="*/ 298 w 298"/>
                  <a:gd name="T1" fmla="*/ 75 h 243"/>
                  <a:gd name="T2" fmla="*/ 223 w 298"/>
                  <a:gd name="T3" fmla="*/ 0 h 243"/>
                  <a:gd name="T4" fmla="*/ 154 w 298"/>
                  <a:gd name="T5" fmla="*/ 45 h 243"/>
                  <a:gd name="T6" fmla="*/ 85 w 298"/>
                  <a:gd name="T7" fmla="*/ 0 h 243"/>
                  <a:gd name="T8" fmla="*/ 10 w 298"/>
                  <a:gd name="T9" fmla="*/ 75 h 243"/>
                  <a:gd name="T10" fmla="*/ 154 w 298"/>
                  <a:gd name="T11" fmla="*/ 243 h 243"/>
                  <a:gd name="T12" fmla="*/ 295 w 298"/>
                  <a:gd name="T13" fmla="*/ 94 h 243"/>
                  <a:gd name="T14" fmla="*/ 298 w 298"/>
                  <a:gd name="T15" fmla="*/ 75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8" h="243">
                    <a:moveTo>
                      <a:pt x="298" y="75"/>
                    </a:moveTo>
                    <a:cubicBezTo>
                      <a:pt x="298" y="34"/>
                      <a:pt x="264" y="0"/>
                      <a:pt x="223" y="0"/>
                    </a:cubicBezTo>
                    <a:cubicBezTo>
                      <a:pt x="192" y="0"/>
                      <a:pt x="165" y="18"/>
                      <a:pt x="154" y="45"/>
                    </a:cubicBezTo>
                    <a:cubicBezTo>
                      <a:pt x="142" y="18"/>
                      <a:pt x="116" y="0"/>
                      <a:pt x="85" y="0"/>
                    </a:cubicBezTo>
                    <a:cubicBezTo>
                      <a:pt x="43" y="0"/>
                      <a:pt x="10" y="34"/>
                      <a:pt x="10" y="75"/>
                    </a:cubicBezTo>
                    <a:cubicBezTo>
                      <a:pt x="10" y="75"/>
                      <a:pt x="0" y="153"/>
                      <a:pt x="154" y="243"/>
                    </a:cubicBezTo>
                    <a:cubicBezTo>
                      <a:pt x="261" y="180"/>
                      <a:pt x="289" y="123"/>
                      <a:pt x="295" y="94"/>
                    </a:cubicBezTo>
                    <a:cubicBezTo>
                      <a:pt x="297" y="88"/>
                      <a:pt x="298" y="82"/>
                      <a:pt x="298" y="75"/>
                    </a:cubicBezTo>
                    <a:close/>
                  </a:path>
                </a:pathLst>
              </a:custGeom>
              <a:solidFill>
                <a:srgbClr val="F44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0" name="ïśḻîḑê">
              <a:extLst>
                <a:ext uri="{FF2B5EF4-FFF2-40B4-BE49-F238E27FC236}">
                  <a16:creationId xmlns:a16="http://schemas.microsoft.com/office/drawing/2014/main" id="{7D945B5F-6A22-4E6E-9725-298A01153561}"/>
                </a:ext>
              </a:extLst>
            </p:cNvPr>
            <p:cNvGrpSpPr/>
            <p:nvPr/>
          </p:nvGrpSpPr>
          <p:grpSpPr>
            <a:xfrm>
              <a:off x="5186186" y="2188989"/>
              <a:ext cx="694839" cy="772921"/>
              <a:chOff x="5186186" y="2188989"/>
              <a:chExt cx="694839" cy="772921"/>
            </a:xfrm>
          </p:grpSpPr>
          <p:sp>
            <p:nvSpPr>
              <p:cNvPr id="131" name="iSḻíḋé">
                <a:extLst>
                  <a:ext uri="{FF2B5EF4-FFF2-40B4-BE49-F238E27FC236}">
                    <a16:creationId xmlns:a16="http://schemas.microsoft.com/office/drawing/2014/main" id="{4B13769F-B6CD-4D89-9ADB-B336DEF48FCF}"/>
                  </a:ext>
                </a:extLst>
              </p:cNvPr>
              <p:cNvSpPr/>
              <p:nvPr/>
            </p:nvSpPr>
            <p:spPr bwMode="auto">
              <a:xfrm>
                <a:off x="5443168" y="2779058"/>
                <a:ext cx="182852" cy="182852"/>
              </a:xfrm>
              <a:custGeom>
                <a:avLst/>
                <a:gdLst>
                  <a:gd name="T0" fmla="*/ 0 w 185"/>
                  <a:gd name="T1" fmla="*/ 91 h 185"/>
                  <a:gd name="T2" fmla="*/ 92 w 185"/>
                  <a:gd name="T3" fmla="*/ 0 h 185"/>
                  <a:gd name="T4" fmla="*/ 185 w 185"/>
                  <a:gd name="T5" fmla="*/ 91 h 185"/>
                  <a:gd name="T6" fmla="*/ 92 w 185"/>
                  <a:gd name="T7" fmla="*/ 185 h 185"/>
                  <a:gd name="T8" fmla="*/ 0 w 185"/>
                  <a:gd name="T9" fmla="*/ 91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85">
                    <a:moveTo>
                      <a:pt x="0" y="91"/>
                    </a:moveTo>
                    <a:lnTo>
                      <a:pt x="92" y="0"/>
                    </a:lnTo>
                    <a:lnTo>
                      <a:pt x="185" y="91"/>
                    </a:lnTo>
                    <a:lnTo>
                      <a:pt x="92" y="185"/>
                    </a:lnTo>
                    <a:lnTo>
                      <a:pt x="0" y="91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" name="ïṩļiḋê">
                <a:extLst>
                  <a:ext uri="{FF2B5EF4-FFF2-40B4-BE49-F238E27FC236}">
                    <a16:creationId xmlns:a16="http://schemas.microsoft.com/office/drawing/2014/main" id="{42B2CB3C-13D1-4026-B93A-FC992271777B}"/>
                  </a:ext>
                </a:extLst>
              </p:cNvPr>
              <p:cNvSpPr/>
              <p:nvPr/>
            </p:nvSpPr>
            <p:spPr bwMode="auto">
              <a:xfrm>
                <a:off x="5186186" y="2188989"/>
                <a:ext cx="694839" cy="695827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" name="iSliḋè">
                <a:extLst>
                  <a:ext uri="{FF2B5EF4-FFF2-40B4-BE49-F238E27FC236}">
                    <a16:creationId xmlns:a16="http://schemas.microsoft.com/office/drawing/2014/main" id="{B924C7DA-1F6C-41E4-BAD7-D6F89E55EDC8}"/>
                  </a:ext>
                </a:extLst>
              </p:cNvPr>
              <p:cNvSpPr/>
              <p:nvPr/>
            </p:nvSpPr>
            <p:spPr bwMode="auto">
              <a:xfrm>
                <a:off x="5224733" y="2229513"/>
                <a:ext cx="617744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" name="íŝļíḓê">
                <a:extLst>
                  <a:ext uri="{FF2B5EF4-FFF2-40B4-BE49-F238E27FC236}">
                    <a16:creationId xmlns:a16="http://schemas.microsoft.com/office/drawing/2014/main" id="{49E71A6F-4BAB-44B0-B280-12943BE3813B}"/>
                  </a:ext>
                </a:extLst>
              </p:cNvPr>
              <p:cNvSpPr/>
              <p:nvPr/>
            </p:nvSpPr>
            <p:spPr bwMode="auto">
              <a:xfrm>
                <a:off x="5326538" y="2322422"/>
                <a:ext cx="416113" cy="418089"/>
              </a:xfrm>
              <a:prstGeom prst="ellipse">
                <a:avLst/>
              </a:prstGeom>
              <a:solidFill>
                <a:srgbClr val="FAE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" name="íṣļïḋè">
                <a:extLst>
                  <a:ext uri="{FF2B5EF4-FFF2-40B4-BE49-F238E27FC236}">
                    <a16:creationId xmlns:a16="http://schemas.microsoft.com/office/drawing/2014/main" id="{B13F9825-A467-4968-A61C-CB025F646476}"/>
                  </a:ext>
                </a:extLst>
              </p:cNvPr>
              <p:cNvSpPr/>
              <p:nvPr/>
            </p:nvSpPr>
            <p:spPr bwMode="auto">
              <a:xfrm>
                <a:off x="5401655" y="2531960"/>
                <a:ext cx="265877" cy="133433"/>
              </a:xfrm>
              <a:custGeom>
                <a:avLst/>
                <a:gdLst>
                  <a:gd name="T0" fmla="*/ 87 w 173"/>
                  <a:gd name="T1" fmla="*/ 87 h 87"/>
                  <a:gd name="T2" fmla="*/ 173 w 173"/>
                  <a:gd name="T3" fmla="*/ 0 h 87"/>
                  <a:gd name="T4" fmla="*/ 0 w 173"/>
                  <a:gd name="T5" fmla="*/ 0 h 87"/>
                  <a:gd name="T6" fmla="*/ 87 w 173"/>
                  <a:gd name="T7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3" h="87">
                    <a:moveTo>
                      <a:pt x="87" y="87"/>
                    </a:moveTo>
                    <a:cubicBezTo>
                      <a:pt x="134" y="87"/>
                      <a:pt x="173" y="48"/>
                      <a:pt x="1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39" y="87"/>
                      <a:pt x="87" y="87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" name="îŝľiďe">
                <a:extLst>
                  <a:ext uri="{FF2B5EF4-FFF2-40B4-BE49-F238E27FC236}">
                    <a16:creationId xmlns:a16="http://schemas.microsoft.com/office/drawing/2014/main" id="{065EC83F-23B6-4C90-885C-1E671400293F}"/>
                  </a:ext>
                </a:extLst>
              </p:cNvPr>
              <p:cNvSpPr/>
              <p:nvPr/>
            </p:nvSpPr>
            <p:spPr bwMode="auto">
              <a:xfrm>
                <a:off x="5415493" y="2571496"/>
                <a:ext cx="238202" cy="93897"/>
              </a:xfrm>
              <a:custGeom>
                <a:avLst/>
                <a:gdLst>
                  <a:gd name="T0" fmla="*/ 78 w 155"/>
                  <a:gd name="T1" fmla="*/ 0 h 61"/>
                  <a:gd name="T2" fmla="*/ 0 w 155"/>
                  <a:gd name="T3" fmla="*/ 13 h 61"/>
                  <a:gd name="T4" fmla="*/ 78 w 155"/>
                  <a:gd name="T5" fmla="*/ 61 h 61"/>
                  <a:gd name="T6" fmla="*/ 155 w 155"/>
                  <a:gd name="T7" fmla="*/ 13 h 61"/>
                  <a:gd name="T8" fmla="*/ 78 w 155"/>
                  <a:gd name="T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" h="61">
                    <a:moveTo>
                      <a:pt x="78" y="0"/>
                    </a:moveTo>
                    <a:cubicBezTo>
                      <a:pt x="50" y="0"/>
                      <a:pt x="24" y="5"/>
                      <a:pt x="0" y="13"/>
                    </a:cubicBezTo>
                    <a:cubicBezTo>
                      <a:pt x="14" y="41"/>
                      <a:pt x="44" y="61"/>
                      <a:pt x="78" y="61"/>
                    </a:cubicBezTo>
                    <a:cubicBezTo>
                      <a:pt x="111" y="61"/>
                      <a:pt x="141" y="41"/>
                      <a:pt x="155" y="13"/>
                    </a:cubicBezTo>
                    <a:cubicBezTo>
                      <a:pt x="131" y="5"/>
                      <a:pt x="105" y="0"/>
                      <a:pt x="78" y="0"/>
                    </a:cubicBezTo>
                    <a:close/>
                  </a:path>
                </a:pathLst>
              </a:custGeom>
              <a:solidFill>
                <a:srgbClr val="F44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" name="işľîďé">
                <a:extLst>
                  <a:ext uri="{FF2B5EF4-FFF2-40B4-BE49-F238E27FC236}">
                    <a16:creationId xmlns:a16="http://schemas.microsoft.com/office/drawing/2014/main" id="{B67DD49B-B6B7-465A-A1BC-69D033063074}"/>
                  </a:ext>
                </a:extLst>
              </p:cNvPr>
              <p:cNvSpPr/>
              <p:nvPr/>
            </p:nvSpPr>
            <p:spPr bwMode="auto">
              <a:xfrm>
                <a:off x="5590438" y="2426203"/>
                <a:ext cx="77095" cy="65234"/>
              </a:xfrm>
              <a:custGeom>
                <a:avLst/>
                <a:gdLst>
                  <a:gd name="T0" fmla="*/ 45 w 50"/>
                  <a:gd name="T1" fmla="*/ 31 h 43"/>
                  <a:gd name="T2" fmla="*/ 21 w 50"/>
                  <a:gd name="T3" fmla="*/ 23 h 43"/>
                  <a:gd name="T4" fmla="*/ 44 w 50"/>
                  <a:gd name="T5" fmla="*/ 12 h 43"/>
                  <a:gd name="T6" fmla="*/ 47 w 50"/>
                  <a:gd name="T7" fmla="*/ 4 h 43"/>
                  <a:gd name="T8" fmla="*/ 39 w 50"/>
                  <a:gd name="T9" fmla="*/ 1 h 43"/>
                  <a:gd name="T10" fmla="*/ 4 w 50"/>
                  <a:gd name="T11" fmla="*/ 19 h 43"/>
                  <a:gd name="T12" fmla="*/ 4 w 50"/>
                  <a:gd name="T13" fmla="*/ 19 h 43"/>
                  <a:gd name="T14" fmla="*/ 4 w 50"/>
                  <a:gd name="T15" fmla="*/ 19 h 43"/>
                  <a:gd name="T16" fmla="*/ 4 w 50"/>
                  <a:gd name="T17" fmla="*/ 19 h 43"/>
                  <a:gd name="T18" fmla="*/ 3 w 50"/>
                  <a:gd name="T19" fmla="*/ 19 h 43"/>
                  <a:gd name="T20" fmla="*/ 2 w 50"/>
                  <a:gd name="T21" fmla="*/ 20 h 43"/>
                  <a:gd name="T22" fmla="*/ 2 w 50"/>
                  <a:gd name="T23" fmla="*/ 20 h 43"/>
                  <a:gd name="T24" fmla="*/ 2 w 50"/>
                  <a:gd name="T25" fmla="*/ 20 h 43"/>
                  <a:gd name="T26" fmla="*/ 1 w 50"/>
                  <a:gd name="T27" fmla="*/ 21 h 43"/>
                  <a:gd name="T28" fmla="*/ 1 w 50"/>
                  <a:gd name="T29" fmla="*/ 26 h 43"/>
                  <a:gd name="T30" fmla="*/ 5 w 50"/>
                  <a:gd name="T31" fmla="*/ 29 h 43"/>
                  <a:gd name="T32" fmla="*/ 42 w 50"/>
                  <a:gd name="T33" fmla="*/ 42 h 43"/>
                  <a:gd name="T34" fmla="*/ 49 w 50"/>
                  <a:gd name="T35" fmla="*/ 38 h 43"/>
                  <a:gd name="T36" fmla="*/ 45 w 50"/>
                  <a:gd name="T3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43">
                    <a:moveTo>
                      <a:pt x="45" y="31"/>
                    </a:moveTo>
                    <a:cubicBezTo>
                      <a:pt x="21" y="23"/>
                      <a:pt x="21" y="23"/>
                      <a:pt x="21" y="23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7" y="10"/>
                      <a:pt x="48" y="7"/>
                      <a:pt x="47" y="4"/>
                    </a:cubicBezTo>
                    <a:cubicBezTo>
                      <a:pt x="45" y="1"/>
                      <a:pt x="42" y="0"/>
                      <a:pt x="39" y="1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2" y="21"/>
                      <a:pt x="1" y="21"/>
                      <a:pt x="1" y="21"/>
                    </a:cubicBezTo>
                    <a:cubicBezTo>
                      <a:pt x="0" y="22"/>
                      <a:pt x="0" y="24"/>
                      <a:pt x="1" y="26"/>
                    </a:cubicBezTo>
                    <a:cubicBezTo>
                      <a:pt x="2" y="28"/>
                      <a:pt x="3" y="29"/>
                      <a:pt x="5" y="29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5" y="43"/>
                      <a:pt x="48" y="41"/>
                      <a:pt x="49" y="38"/>
                    </a:cubicBezTo>
                    <a:cubicBezTo>
                      <a:pt x="50" y="35"/>
                      <a:pt x="48" y="32"/>
                      <a:pt x="45" y="31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" name="íṧļïḓè">
                <a:extLst>
                  <a:ext uri="{FF2B5EF4-FFF2-40B4-BE49-F238E27FC236}">
                    <a16:creationId xmlns:a16="http://schemas.microsoft.com/office/drawing/2014/main" id="{B1B62F63-F3D9-416F-9DE3-CCD515E881FA}"/>
                  </a:ext>
                </a:extLst>
              </p:cNvPr>
              <p:cNvSpPr/>
              <p:nvPr/>
            </p:nvSpPr>
            <p:spPr bwMode="auto">
              <a:xfrm>
                <a:off x="5405609" y="2426203"/>
                <a:ext cx="76106" cy="65234"/>
              </a:xfrm>
              <a:custGeom>
                <a:avLst/>
                <a:gdLst>
                  <a:gd name="T0" fmla="*/ 4 w 49"/>
                  <a:gd name="T1" fmla="*/ 31 h 43"/>
                  <a:gd name="T2" fmla="*/ 28 w 49"/>
                  <a:gd name="T3" fmla="*/ 23 h 43"/>
                  <a:gd name="T4" fmla="*/ 5 w 49"/>
                  <a:gd name="T5" fmla="*/ 12 h 43"/>
                  <a:gd name="T6" fmla="*/ 3 w 49"/>
                  <a:gd name="T7" fmla="*/ 4 h 43"/>
                  <a:gd name="T8" fmla="*/ 10 w 49"/>
                  <a:gd name="T9" fmla="*/ 1 h 43"/>
                  <a:gd name="T10" fmla="*/ 46 w 49"/>
                  <a:gd name="T11" fmla="*/ 19 h 43"/>
                  <a:gd name="T12" fmla="*/ 46 w 49"/>
                  <a:gd name="T13" fmla="*/ 19 h 43"/>
                  <a:gd name="T14" fmla="*/ 46 w 49"/>
                  <a:gd name="T15" fmla="*/ 19 h 43"/>
                  <a:gd name="T16" fmla="*/ 46 w 49"/>
                  <a:gd name="T17" fmla="*/ 19 h 43"/>
                  <a:gd name="T18" fmla="*/ 47 w 49"/>
                  <a:gd name="T19" fmla="*/ 19 h 43"/>
                  <a:gd name="T20" fmla="*/ 47 w 49"/>
                  <a:gd name="T21" fmla="*/ 20 h 43"/>
                  <a:gd name="T22" fmla="*/ 48 w 49"/>
                  <a:gd name="T23" fmla="*/ 20 h 43"/>
                  <a:gd name="T24" fmla="*/ 48 w 49"/>
                  <a:gd name="T25" fmla="*/ 20 h 43"/>
                  <a:gd name="T26" fmla="*/ 48 w 49"/>
                  <a:gd name="T27" fmla="*/ 21 h 43"/>
                  <a:gd name="T28" fmla="*/ 48 w 49"/>
                  <a:gd name="T29" fmla="*/ 26 h 43"/>
                  <a:gd name="T30" fmla="*/ 45 w 49"/>
                  <a:gd name="T31" fmla="*/ 29 h 43"/>
                  <a:gd name="T32" fmla="*/ 8 w 49"/>
                  <a:gd name="T33" fmla="*/ 42 h 43"/>
                  <a:gd name="T34" fmla="*/ 1 w 49"/>
                  <a:gd name="T35" fmla="*/ 38 h 43"/>
                  <a:gd name="T36" fmla="*/ 4 w 49"/>
                  <a:gd name="T37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9" h="43">
                    <a:moveTo>
                      <a:pt x="4" y="31"/>
                    </a:moveTo>
                    <a:cubicBezTo>
                      <a:pt x="28" y="23"/>
                      <a:pt x="28" y="23"/>
                      <a:pt x="28" y="23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3" y="10"/>
                      <a:pt x="1" y="7"/>
                      <a:pt x="3" y="4"/>
                    </a:cubicBezTo>
                    <a:cubicBezTo>
                      <a:pt x="4" y="1"/>
                      <a:pt x="8" y="0"/>
                      <a:pt x="10" y="1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7" y="19"/>
                      <a:pt x="47" y="19"/>
                    </a:cubicBezTo>
                    <a:cubicBezTo>
                      <a:pt x="47" y="19"/>
                      <a:pt x="47" y="19"/>
                      <a:pt x="47" y="20"/>
                    </a:cubicBezTo>
                    <a:cubicBezTo>
                      <a:pt x="47" y="20"/>
                      <a:pt x="47" y="20"/>
                      <a:pt x="48" y="20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1"/>
                      <a:pt x="48" y="21"/>
                      <a:pt x="48" y="21"/>
                    </a:cubicBezTo>
                    <a:cubicBezTo>
                      <a:pt x="49" y="22"/>
                      <a:pt x="49" y="24"/>
                      <a:pt x="48" y="26"/>
                    </a:cubicBezTo>
                    <a:cubicBezTo>
                      <a:pt x="48" y="28"/>
                      <a:pt x="46" y="29"/>
                      <a:pt x="45" y="29"/>
                    </a:cubicBezTo>
                    <a:cubicBezTo>
                      <a:pt x="8" y="42"/>
                      <a:pt x="8" y="42"/>
                      <a:pt x="8" y="42"/>
                    </a:cubicBezTo>
                    <a:cubicBezTo>
                      <a:pt x="5" y="43"/>
                      <a:pt x="2" y="41"/>
                      <a:pt x="1" y="38"/>
                    </a:cubicBezTo>
                    <a:cubicBezTo>
                      <a:pt x="0" y="35"/>
                      <a:pt x="1" y="32"/>
                      <a:pt x="4" y="31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1" name="iṩḻide">
              <a:extLst>
                <a:ext uri="{FF2B5EF4-FFF2-40B4-BE49-F238E27FC236}">
                  <a16:creationId xmlns:a16="http://schemas.microsoft.com/office/drawing/2014/main" id="{29786352-E5DC-4DED-BABC-257181C005FC}"/>
                </a:ext>
              </a:extLst>
            </p:cNvPr>
            <p:cNvGrpSpPr/>
            <p:nvPr/>
          </p:nvGrpSpPr>
          <p:grpSpPr>
            <a:xfrm>
              <a:off x="6311963" y="2188989"/>
              <a:ext cx="696816" cy="772921"/>
              <a:chOff x="6311963" y="2188989"/>
              <a:chExt cx="696816" cy="772921"/>
            </a:xfrm>
          </p:grpSpPr>
          <p:sp>
            <p:nvSpPr>
              <p:cNvPr id="122" name="îṥ1ïďe">
                <a:extLst>
                  <a:ext uri="{FF2B5EF4-FFF2-40B4-BE49-F238E27FC236}">
                    <a16:creationId xmlns:a16="http://schemas.microsoft.com/office/drawing/2014/main" id="{E65C6A2F-03A4-4AD9-86BC-CF1DB60B0D95}"/>
                  </a:ext>
                </a:extLst>
              </p:cNvPr>
              <p:cNvSpPr/>
              <p:nvPr/>
            </p:nvSpPr>
            <p:spPr bwMode="auto">
              <a:xfrm>
                <a:off x="6568945" y="2779058"/>
                <a:ext cx="182852" cy="182852"/>
              </a:xfrm>
              <a:custGeom>
                <a:avLst/>
                <a:gdLst>
                  <a:gd name="T0" fmla="*/ 185 w 185"/>
                  <a:gd name="T1" fmla="*/ 91 h 185"/>
                  <a:gd name="T2" fmla="*/ 93 w 185"/>
                  <a:gd name="T3" fmla="*/ 0 h 185"/>
                  <a:gd name="T4" fmla="*/ 0 w 185"/>
                  <a:gd name="T5" fmla="*/ 91 h 185"/>
                  <a:gd name="T6" fmla="*/ 93 w 185"/>
                  <a:gd name="T7" fmla="*/ 185 h 185"/>
                  <a:gd name="T8" fmla="*/ 185 w 185"/>
                  <a:gd name="T9" fmla="*/ 91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85">
                    <a:moveTo>
                      <a:pt x="185" y="91"/>
                    </a:moveTo>
                    <a:lnTo>
                      <a:pt x="93" y="0"/>
                    </a:lnTo>
                    <a:lnTo>
                      <a:pt x="0" y="91"/>
                    </a:lnTo>
                    <a:lnTo>
                      <a:pt x="93" y="185"/>
                    </a:lnTo>
                    <a:lnTo>
                      <a:pt x="185" y="91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" name="ïşliďé">
                <a:extLst>
                  <a:ext uri="{FF2B5EF4-FFF2-40B4-BE49-F238E27FC236}">
                    <a16:creationId xmlns:a16="http://schemas.microsoft.com/office/drawing/2014/main" id="{4CEE9755-340E-461E-B49A-7AC6BBA1B86A}"/>
                  </a:ext>
                </a:extLst>
              </p:cNvPr>
              <p:cNvSpPr/>
              <p:nvPr/>
            </p:nvSpPr>
            <p:spPr bwMode="auto">
              <a:xfrm>
                <a:off x="6311963" y="2188989"/>
                <a:ext cx="696816" cy="695827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" name="ïşlíḍé">
                <a:extLst>
                  <a:ext uri="{FF2B5EF4-FFF2-40B4-BE49-F238E27FC236}">
                    <a16:creationId xmlns:a16="http://schemas.microsoft.com/office/drawing/2014/main" id="{FC97E9B2-C675-4B2C-ABAA-2A8F787E3C70}"/>
                  </a:ext>
                </a:extLst>
              </p:cNvPr>
              <p:cNvSpPr/>
              <p:nvPr/>
            </p:nvSpPr>
            <p:spPr bwMode="auto">
              <a:xfrm>
                <a:off x="6351499" y="2229513"/>
                <a:ext cx="616756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" name="îş1íďè">
                <a:extLst>
                  <a:ext uri="{FF2B5EF4-FFF2-40B4-BE49-F238E27FC236}">
                    <a16:creationId xmlns:a16="http://schemas.microsoft.com/office/drawing/2014/main" id="{C9B5F415-2FE9-444D-BB59-400492C1AC68}"/>
                  </a:ext>
                </a:extLst>
              </p:cNvPr>
              <p:cNvSpPr/>
              <p:nvPr/>
            </p:nvSpPr>
            <p:spPr bwMode="auto">
              <a:xfrm>
                <a:off x="6451327" y="2322422"/>
                <a:ext cx="417101" cy="418089"/>
              </a:xfrm>
              <a:prstGeom prst="ellipse">
                <a:avLst/>
              </a:prstGeom>
              <a:solidFill>
                <a:srgbClr val="FAE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" name="ïŝḷïďê">
                <a:extLst>
                  <a:ext uri="{FF2B5EF4-FFF2-40B4-BE49-F238E27FC236}">
                    <a16:creationId xmlns:a16="http://schemas.microsoft.com/office/drawing/2014/main" id="{BB5CEB14-F14D-4E45-8131-7A6B64D2E8CD}"/>
                  </a:ext>
                </a:extLst>
              </p:cNvPr>
              <p:cNvSpPr/>
              <p:nvPr/>
            </p:nvSpPr>
            <p:spPr bwMode="auto">
              <a:xfrm>
                <a:off x="6602550" y="2540856"/>
                <a:ext cx="115642" cy="163085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" name="íṩḻiḋé">
                <a:extLst>
                  <a:ext uri="{FF2B5EF4-FFF2-40B4-BE49-F238E27FC236}">
                    <a16:creationId xmlns:a16="http://schemas.microsoft.com/office/drawing/2014/main" id="{69B4F652-35F2-4DF0-AEB5-6A541ED61CDB}"/>
                  </a:ext>
                </a:extLst>
              </p:cNvPr>
              <p:cNvSpPr/>
              <p:nvPr/>
            </p:nvSpPr>
            <p:spPr bwMode="auto">
              <a:xfrm>
                <a:off x="6528421" y="2432133"/>
                <a:ext cx="63257" cy="86978"/>
              </a:xfrm>
              <a:custGeom>
                <a:avLst/>
                <a:gdLst>
                  <a:gd name="T0" fmla="*/ 2 w 41"/>
                  <a:gd name="T1" fmla="*/ 26 h 57"/>
                  <a:gd name="T2" fmla="*/ 24 w 41"/>
                  <a:gd name="T3" fmla="*/ 1 h 57"/>
                  <a:gd name="T4" fmla="*/ 40 w 41"/>
                  <a:gd name="T5" fmla="*/ 31 h 57"/>
                  <a:gd name="T6" fmla="*/ 17 w 41"/>
                  <a:gd name="T7" fmla="*/ 55 h 57"/>
                  <a:gd name="T8" fmla="*/ 2 w 41"/>
                  <a:gd name="T9" fmla="*/ 2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7">
                    <a:moveTo>
                      <a:pt x="2" y="26"/>
                    </a:moveTo>
                    <a:cubicBezTo>
                      <a:pt x="4" y="11"/>
                      <a:pt x="13" y="0"/>
                      <a:pt x="24" y="1"/>
                    </a:cubicBezTo>
                    <a:cubicBezTo>
                      <a:pt x="34" y="3"/>
                      <a:pt x="41" y="16"/>
                      <a:pt x="40" y="31"/>
                    </a:cubicBezTo>
                    <a:cubicBezTo>
                      <a:pt x="38" y="46"/>
                      <a:pt x="28" y="57"/>
                      <a:pt x="17" y="55"/>
                    </a:cubicBezTo>
                    <a:cubicBezTo>
                      <a:pt x="7" y="54"/>
                      <a:pt x="0" y="41"/>
                      <a:pt x="2" y="2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" name="iŝḷiḋe">
                <a:extLst>
                  <a:ext uri="{FF2B5EF4-FFF2-40B4-BE49-F238E27FC236}">
                    <a16:creationId xmlns:a16="http://schemas.microsoft.com/office/drawing/2014/main" id="{F250A8EF-3D12-410F-865A-E90A781EB18F}"/>
                  </a:ext>
                </a:extLst>
              </p:cNvPr>
              <p:cNvSpPr/>
              <p:nvPr/>
            </p:nvSpPr>
            <p:spPr bwMode="auto">
              <a:xfrm>
                <a:off x="6534351" y="2357015"/>
                <a:ext cx="68199" cy="27675"/>
              </a:xfrm>
              <a:custGeom>
                <a:avLst/>
                <a:gdLst>
                  <a:gd name="T0" fmla="*/ 39 w 44"/>
                  <a:gd name="T1" fmla="*/ 17 h 18"/>
                  <a:gd name="T2" fmla="*/ 35 w 44"/>
                  <a:gd name="T3" fmla="*/ 15 h 18"/>
                  <a:gd name="T4" fmla="*/ 24 w 44"/>
                  <a:gd name="T5" fmla="*/ 9 h 18"/>
                  <a:gd name="T6" fmla="*/ 8 w 44"/>
                  <a:gd name="T7" fmla="*/ 16 h 18"/>
                  <a:gd name="T8" fmla="*/ 2 w 44"/>
                  <a:gd name="T9" fmla="*/ 16 h 18"/>
                  <a:gd name="T10" fmla="*/ 2 w 44"/>
                  <a:gd name="T11" fmla="*/ 9 h 18"/>
                  <a:gd name="T12" fmla="*/ 24 w 44"/>
                  <a:gd name="T13" fmla="*/ 0 h 18"/>
                  <a:gd name="T14" fmla="*/ 43 w 44"/>
                  <a:gd name="T15" fmla="*/ 10 h 18"/>
                  <a:gd name="T16" fmla="*/ 42 w 44"/>
                  <a:gd name="T17" fmla="*/ 16 h 18"/>
                  <a:gd name="T18" fmla="*/ 39 w 44"/>
                  <a:gd name="T1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18">
                    <a:moveTo>
                      <a:pt x="39" y="17"/>
                    </a:moveTo>
                    <a:cubicBezTo>
                      <a:pt x="38" y="17"/>
                      <a:pt x="36" y="16"/>
                      <a:pt x="35" y="15"/>
                    </a:cubicBezTo>
                    <a:cubicBezTo>
                      <a:pt x="35" y="15"/>
                      <a:pt x="31" y="9"/>
                      <a:pt x="24" y="9"/>
                    </a:cubicBezTo>
                    <a:cubicBezTo>
                      <a:pt x="15" y="9"/>
                      <a:pt x="8" y="16"/>
                      <a:pt x="8" y="16"/>
                    </a:cubicBezTo>
                    <a:cubicBezTo>
                      <a:pt x="6" y="18"/>
                      <a:pt x="4" y="17"/>
                      <a:pt x="2" y="16"/>
                    </a:cubicBezTo>
                    <a:cubicBezTo>
                      <a:pt x="0" y="14"/>
                      <a:pt x="0" y="11"/>
                      <a:pt x="2" y="9"/>
                    </a:cubicBezTo>
                    <a:cubicBezTo>
                      <a:pt x="2" y="9"/>
                      <a:pt x="11" y="0"/>
                      <a:pt x="24" y="0"/>
                    </a:cubicBezTo>
                    <a:cubicBezTo>
                      <a:pt x="36" y="0"/>
                      <a:pt x="43" y="10"/>
                      <a:pt x="43" y="10"/>
                    </a:cubicBezTo>
                    <a:cubicBezTo>
                      <a:pt x="44" y="12"/>
                      <a:pt x="44" y="15"/>
                      <a:pt x="42" y="16"/>
                    </a:cubicBezTo>
                    <a:cubicBezTo>
                      <a:pt x="41" y="17"/>
                      <a:pt x="40" y="17"/>
                      <a:pt x="39" y="17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" name="ïSḻïḑê">
                <a:extLst>
                  <a:ext uri="{FF2B5EF4-FFF2-40B4-BE49-F238E27FC236}">
                    <a16:creationId xmlns:a16="http://schemas.microsoft.com/office/drawing/2014/main" id="{BFF8A3E2-803E-43E5-A15B-3B595BAD7ED0}"/>
                  </a:ext>
                </a:extLst>
              </p:cNvPr>
              <p:cNvSpPr/>
              <p:nvPr/>
            </p:nvSpPr>
            <p:spPr bwMode="auto">
              <a:xfrm>
                <a:off x="6724122" y="2432133"/>
                <a:ext cx="63257" cy="86978"/>
              </a:xfrm>
              <a:custGeom>
                <a:avLst/>
                <a:gdLst>
                  <a:gd name="T0" fmla="*/ 40 w 41"/>
                  <a:gd name="T1" fmla="*/ 26 h 57"/>
                  <a:gd name="T2" fmla="*/ 17 w 41"/>
                  <a:gd name="T3" fmla="*/ 1 h 57"/>
                  <a:gd name="T4" fmla="*/ 2 w 41"/>
                  <a:gd name="T5" fmla="*/ 31 h 57"/>
                  <a:gd name="T6" fmla="*/ 24 w 41"/>
                  <a:gd name="T7" fmla="*/ 55 h 57"/>
                  <a:gd name="T8" fmla="*/ 40 w 41"/>
                  <a:gd name="T9" fmla="*/ 2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57">
                    <a:moveTo>
                      <a:pt x="40" y="26"/>
                    </a:moveTo>
                    <a:cubicBezTo>
                      <a:pt x="38" y="11"/>
                      <a:pt x="28" y="0"/>
                      <a:pt x="17" y="1"/>
                    </a:cubicBezTo>
                    <a:cubicBezTo>
                      <a:pt x="7" y="3"/>
                      <a:pt x="0" y="16"/>
                      <a:pt x="2" y="31"/>
                    </a:cubicBezTo>
                    <a:cubicBezTo>
                      <a:pt x="4" y="46"/>
                      <a:pt x="13" y="57"/>
                      <a:pt x="24" y="55"/>
                    </a:cubicBezTo>
                    <a:cubicBezTo>
                      <a:pt x="34" y="54"/>
                      <a:pt x="41" y="41"/>
                      <a:pt x="40" y="2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" name="íşľiḍé">
                <a:extLst>
                  <a:ext uri="{FF2B5EF4-FFF2-40B4-BE49-F238E27FC236}">
                    <a16:creationId xmlns:a16="http://schemas.microsoft.com/office/drawing/2014/main" id="{78F82CB4-EA1A-42AB-A4AD-62B93E266CF9}"/>
                  </a:ext>
                </a:extLst>
              </p:cNvPr>
              <p:cNvSpPr/>
              <p:nvPr/>
            </p:nvSpPr>
            <p:spPr bwMode="auto">
              <a:xfrm>
                <a:off x="6713250" y="2357015"/>
                <a:ext cx="67211" cy="27675"/>
              </a:xfrm>
              <a:custGeom>
                <a:avLst/>
                <a:gdLst>
                  <a:gd name="T0" fmla="*/ 5 w 44"/>
                  <a:gd name="T1" fmla="*/ 17 h 18"/>
                  <a:gd name="T2" fmla="*/ 9 w 44"/>
                  <a:gd name="T3" fmla="*/ 15 h 18"/>
                  <a:gd name="T4" fmla="*/ 21 w 44"/>
                  <a:gd name="T5" fmla="*/ 9 h 18"/>
                  <a:gd name="T6" fmla="*/ 36 w 44"/>
                  <a:gd name="T7" fmla="*/ 16 h 18"/>
                  <a:gd name="T8" fmla="*/ 42 w 44"/>
                  <a:gd name="T9" fmla="*/ 16 h 18"/>
                  <a:gd name="T10" fmla="*/ 42 w 44"/>
                  <a:gd name="T11" fmla="*/ 9 h 18"/>
                  <a:gd name="T12" fmla="*/ 21 w 44"/>
                  <a:gd name="T13" fmla="*/ 0 h 18"/>
                  <a:gd name="T14" fmla="*/ 1 w 44"/>
                  <a:gd name="T15" fmla="*/ 10 h 18"/>
                  <a:gd name="T16" fmla="*/ 3 w 44"/>
                  <a:gd name="T17" fmla="*/ 16 h 18"/>
                  <a:gd name="T18" fmla="*/ 5 w 44"/>
                  <a:gd name="T1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18">
                    <a:moveTo>
                      <a:pt x="5" y="17"/>
                    </a:moveTo>
                    <a:cubicBezTo>
                      <a:pt x="7" y="17"/>
                      <a:pt x="8" y="16"/>
                      <a:pt x="9" y="15"/>
                    </a:cubicBezTo>
                    <a:cubicBezTo>
                      <a:pt x="9" y="15"/>
                      <a:pt x="13" y="9"/>
                      <a:pt x="21" y="9"/>
                    </a:cubicBezTo>
                    <a:cubicBezTo>
                      <a:pt x="29" y="9"/>
                      <a:pt x="36" y="16"/>
                      <a:pt x="36" y="16"/>
                    </a:cubicBezTo>
                    <a:cubicBezTo>
                      <a:pt x="38" y="18"/>
                      <a:pt x="41" y="17"/>
                      <a:pt x="42" y="16"/>
                    </a:cubicBezTo>
                    <a:cubicBezTo>
                      <a:pt x="44" y="14"/>
                      <a:pt x="44" y="11"/>
                      <a:pt x="42" y="9"/>
                    </a:cubicBezTo>
                    <a:cubicBezTo>
                      <a:pt x="42" y="9"/>
                      <a:pt x="33" y="0"/>
                      <a:pt x="21" y="0"/>
                    </a:cubicBezTo>
                    <a:cubicBezTo>
                      <a:pt x="8" y="0"/>
                      <a:pt x="2" y="10"/>
                      <a:pt x="1" y="10"/>
                    </a:cubicBezTo>
                    <a:cubicBezTo>
                      <a:pt x="0" y="12"/>
                      <a:pt x="1" y="15"/>
                      <a:pt x="3" y="16"/>
                    </a:cubicBezTo>
                    <a:cubicBezTo>
                      <a:pt x="3" y="17"/>
                      <a:pt x="4" y="17"/>
                      <a:pt x="5" y="17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2" name="ïšľiḍé">
              <a:extLst>
                <a:ext uri="{FF2B5EF4-FFF2-40B4-BE49-F238E27FC236}">
                  <a16:creationId xmlns:a16="http://schemas.microsoft.com/office/drawing/2014/main" id="{36BE5383-4AD6-4A98-AA41-008D1CFBADEF}"/>
                </a:ext>
              </a:extLst>
            </p:cNvPr>
            <p:cNvGrpSpPr/>
            <p:nvPr/>
          </p:nvGrpSpPr>
          <p:grpSpPr>
            <a:xfrm>
              <a:off x="7106630" y="1438800"/>
              <a:ext cx="708676" cy="694839"/>
              <a:chOff x="7106630" y="1438800"/>
              <a:chExt cx="708676" cy="694839"/>
            </a:xfrm>
          </p:grpSpPr>
          <p:sp>
            <p:nvSpPr>
              <p:cNvPr id="112" name="íśļïde">
                <a:extLst>
                  <a:ext uri="{FF2B5EF4-FFF2-40B4-BE49-F238E27FC236}">
                    <a16:creationId xmlns:a16="http://schemas.microsoft.com/office/drawing/2014/main" id="{37778DAA-F7C2-4CF6-ACEB-29C498D7D044}"/>
                  </a:ext>
                </a:extLst>
              </p:cNvPr>
              <p:cNvSpPr/>
              <p:nvPr/>
            </p:nvSpPr>
            <p:spPr bwMode="auto">
              <a:xfrm>
                <a:off x="7120467" y="1438800"/>
                <a:ext cx="694839" cy="694839"/>
              </a:xfrm>
              <a:prstGeom prst="ellipse">
                <a:avLst/>
              </a:pr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íşḻíḓé">
                <a:extLst>
                  <a:ext uri="{FF2B5EF4-FFF2-40B4-BE49-F238E27FC236}">
                    <a16:creationId xmlns:a16="http://schemas.microsoft.com/office/drawing/2014/main" id="{A398FB54-505B-4B52-83BE-FE7072D51DE7}"/>
                  </a:ext>
                </a:extLst>
              </p:cNvPr>
              <p:cNvSpPr/>
              <p:nvPr/>
            </p:nvSpPr>
            <p:spPr bwMode="auto">
              <a:xfrm>
                <a:off x="7106630" y="1885553"/>
                <a:ext cx="155177" cy="155177"/>
              </a:xfrm>
              <a:custGeom>
                <a:avLst/>
                <a:gdLst>
                  <a:gd name="T0" fmla="*/ 157 w 157"/>
                  <a:gd name="T1" fmla="*/ 29 h 157"/>
                  <a:gd name="T2" fmla="*/ 30 w 157"/>
                  <a:gd name="T3" fmla="*/ 0 h 157"/>
                  <a:gd name="T4" fmla="*/ 0 w 157"/>
                  <a:gd name="T5" fmla="*/ 129 h 157"/>
                  <a:gd name="T6" fmla="*/ 129 w 157"/>
                  <a:gd name="T7" fmla="*/ 157 h 157"/>
                  <a:gd name="T8" fmla="*/ 157 w 157"/>
                  <a:gd name="T9" fmla="*/ 29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57">
                    <a:moveTo>
                      <a:pt x="157" y="29"/>
                    </a:moveTo>
                    <a:lnTo>
                      <a:pt x="30" y="0"/>
                    </a:lnTo>
                    <a:lnTo>
                      <a:pt x="0" y="129"/>
                    </a:lnTo>
                    <a:lnTo>
                      <a:pt x="129" y="157"/>
                    </a:lnTo>
                    <a:lnTo>
                      <a:pt x="157" y="29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îšḷídé">
                <a:extLst>
                  <a:ext uri="{FF2B5EF4-FFF2-40B4-BE49-F238E27FC236}">
                    <a16:creationId xmlns:a16="http://schemas.microsoft.com/office/drawing/2014/main" id="{3CD1508F-5A8A-4CE5-872A-0C8E1162FFDA}"/>
                  </a:ext>
                </a:extLst>
              </p:cNvPr>
              <p:cNvSpPr/>
              <p:nvPr/>
            </p:nvSpPr>
            <p:spPr bwMode="auto">
              <a:xfrm>
                <a:off x="7159015" y="1478336"/>
                <a:ext cx="618733" cy="61576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" name="ïṡḷiḍê">
                <a:extLst>
                  <a:ext uri="{FF2B5EF4-FFF2-40B4-BE49-F238E27FC236}">
                    <a16:creationId xmlns:a16="http://schemas.microsoft.com/office/drawing/2014/main" id="{953F0086-57D4-4FE7-82AA-BACAB7CDE7CA}"/>
                  </a:ext>
                </a:extLst>
              </p:cNvPr>
              <p:cNvSpPr/>
              <p:nvPr/>
            </p:nvSpPr>
            <p:spPr bwMode="auto">
              <a:xfrm>
                <a:off x="7258842" y="1587059"/>
                <a:ext cx="418089" cy="418089"/>
              </a:xfrm>
              <a:prstGeom prst="ellipse">
                <a:avLst/>
              </a:prstGeom>
              <a:solidFill>
                <a:srgbClr val="FAE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" name="íslîḍê">
                <a:extLst>
                  <a:ext uri="{FF2B5EF4-FFF2-40B4-BE49-F238E27FC236}">
                    <a16:creationId xmlns:a16="http://schemas.microsoft.com/office/drawing/2014/main" id="{2A69027E-14DC-4BBB-82F8-0EBB3DC4C522}"/>
                  </a:ext>
                </a:extLst>
              </p:cNvPr>
              <p:cNvSpPr/>
              <p:nvPr/>
            </p:nvSpPr>
            <p:spPr bwMode="auto">
              <a:xfrm>
                <a:off x="7347797" y="1789679"/>
                <a:ext cx="54362" cy="5535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" name="îśḻiḑê">
                <a:extLst>
                  <a:ext uri="{FF2B5EF4-FFF2-40B4-BE49-F238E27FC236}">
                    <a16:creationId xmlns:a16="http://schemas.microsoft.com/office/drawing/2014/main" id="{933216A4-8298-4021-8D94-07D737C71963}"/>
                  </a:ext>
                </a:extLst>
              </p:cNvPr>
              <p:cNvSpPr/>
              <p:nvPr/>
            </p:nvSpPr>
            <p:spPr bwMode="auto">
              <a:xfrm>
                <a:off x="7316169" y="1752120"/>
                <a:ext cx="80060" cy="48431"/>
              </a:xfrm>
              <a:custGeom>
                <a:avLst/>
                <a:gdLst>
                  <a:gd name="T0" fmla="*/ 7 w 52"/>
                  <a:gd name="T1" fmla="*/ 32 h 32"/>
                  <a:gd name="T2" fmla="*/ 3 w 52"/>
                  <a:gd name="T3" fmla="*/ 31 h 32"/>
                  <a:gd name="T4" fmla="*/ 2 w 52"/>
                  <a:gd name="T5" fmla="*/ 23 h 32"/>
                  <a:gd name="T6" fmla="*/ 46 w 52"/>
                  <a:gd name="T7" fmla="*/ 0 h 32"/>
                  <a:gd name="T8" fmla="*/ 52 w 52"/>
                  <a:gd name="T9" fmla="*/ 6 h 32"/>
                  <a:gd name="T10" fmla="*/ 46 w 52"/>
                  <a:gd name="T11" fmla="*/ 12 h 32"/>
                  <a:gd name="T12" fmla="*/ 12 w 52"/>
                  <a:gd name="T13" fmla="*/ 29 h 32"/>
                  <a:gd name="T14" fmla="*/ 7 w 52"/>
                  <a:gd name="T1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" h="32">
                    <a:moveTo>
                      <a:pt x="7" y="32"/>
                    </a:moveTo>
                    <a:cubicBezTo>
                      <a:pt x="6" y="32"/>
                      <a:pt x="4" y="32"/>
                      <a:pt x="3" y="31"/>
                    </a:cubicBezTo>
                    <a:cubicBezTo>
                      <a:pt x="1" y="29"/>
                      <a:pt x="0" y="26"/>
                      <a:pt x="2" y="23"/>
                    </a:cubicBezTo>
                    <a:cubicBezTo>
                      <a:pt x="2" y="22"/>
                      <a:pt x="17" y="1"/>
                      <a:pt x="46" y="0"/>
                    </a:cubicBezTo>
                    <a:cubicBezTo>
                      <a:pt x="49" y="0"/>
                      <a:pt x="52" y="2"/>
                      <a:pt x="52" y="6"/>
                    </a:cubicBezTo>
                    <a:cubicBezTo>
                      <a:pt x="52" y="9"/>
                      <a:pt x="50" y="12"/>
                      <a:pt x="46" y="12"/>
                    </a:cubicBezTo>
                    <a:cubicBezTo>
                      <a:pt x="23" y="12"/>
                      <a:pt x="12" y="29"/>
                      <a:pt x="12" y="29"/>
                    </a:cubicBezTo>
                    <a:cubicBezTo>
                      <a:pt x="11" y="31"/>
                      <a:pt x="9" y="32"/>
                      <a:pt x="7" y="32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" name="iṡḷíḓè">
                <a:extLst>
                  <a:ext uri="{FF2B5EF4-FFF2-40B4-BE49-F238E27FC236}">
                    <a16:creationId xmlns:a16="http://schemas.microsoft.com/office/drawing/2014/main" id="{01E57D7E-DF5A-42A8-90E2-0DB33503290A}"/>
                  </a:ext>
                </a:extLst>
              </p:cNvPr>
              <p:cNvSpPr/>
              <p:nvPr/>
            </p:nvSpPr>
            <p:spPr bwMode="auto">
              <a:xfrm>
                <a:off x="7531638" y="1789679"/>
                <a:ext cx="55350" cy="5535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" name="iṩľíḋé">
                <a:extLst>
                  <a:ext uri="{FF2B5EF4-FFF2-40B4-BE49-F238E27FC236}">
                    <a16:creationId xmlns:a16="http://schemas.microsoft.com/office/drawing/2014/main" id="{878FFC61-96DE-41A5-BEA1-C20856DBB9C2}"/>
                  </a:ext>
                </a:extLst>
              </p:cNvPr>
              <p:cNvSpPr/>
              <p:nvPr/>
            </p:nvSpPr>
            <p:spPr bwMode="auto">
              <a:xfrm>
                <a:off x="7537568" y="1752120"/>
                <a:ext cx="81048" cy="48431"/>
              </a:xfrm>
              <a:custGeom>
                <a:avLst/>
                <a:gdLst>
                  <a:gd name="T0" fmla="*/ 46 w 53"/>
                  <a:gd name="T1" fmla="*/ 32 h 32"/>
                  <a:gd name="T2" fmla="*/ 41 w 53"/>
                  <a:gd name="T3" fmla="*/ 29 h 32"/>
                  <a:gd name="T4" fmla="*/ 6 w 53"/>
                  <a:gd name="T5" fmla="*/ 12 h 32"/>
                  <a:gd name="T6" fmla="*/ 1 w 53"/>
                  <a:gd name="T7" fmla="*/ 6 h 32"/>
                  <a:gd name="T8" fmla="*/ 7 w 53"/>
                  <a:gd name="T9" fmla="*/ 0 h 32"/>
                  <a:gd name="T10" fmla="*/ 51 w 53"/>
                  <a:gd name="T11" fmla="*/ 23 h 32"/>
                  <a:gd name="T12" fmla="*/ 49 w 53"/>
                  <a:gd name="T13" fmla="*/ 31 h 32"/>
                  <a:gd name="T14" fmla="*/ 46 w 53"/>
                  <a:gd name="T1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" h="32">
                    <a:moveTo>
                      <a:pt x="46" y="32"/>
                    </a:moveTo>
                    <a:cubicBezTo>
                      <a:pt x="44" y="32"/>
                      <a:pt x="42" y="31"/>
                      <a:pt x="41" y="29"/>
                    </a:cubicBezTo>
                    <a:cubicBezTo>
                      <a:pt x="40" y="29"/>
                      <a:pt x="29" y="12"/>
                      <a:pt x="6" y="12"/>
                    </a:cubicBezTo>
                    <a:cubicBezTo>
                      <a:pt x="3" y="12"/>
                      <a:pt x="0" y="9"/>
                      <a:pt x="1" y="6"/>
                    </a:cubicBezTo>
                    <a:cubicBezTo>
                      <a:pt x="1" y="2"/>
                      <a:pt x="3" y="0"/>
                      <a:pt x="7" y="0"/>
                    </a:cubicBezTo>
                    <a:cubicBezTo>
                      <a:pt x="36" y="1"/>
                      <a:pt x="50" y="22"/>
                      <a:pt x="51" y="23"/>
                    </a:cubicBezTo>
                    <a:cubicBezTo>
                      <a:pt x="53" y="26"/>
                      <a:pt x="52" y="29"/>
                      <a:pt x="49" y="31"/>
                    </a:cubicBezTo>
                    <a:cubicBezTo>
                      <a:pt x="48" y="32"/>
                      <a:pt x="47" y="32"/>
                      <a:pt x="46" y="32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" name="íSḻîḋe">
                <a:extLst>
                  <a:ext uri="{FF2B5EF4-FFF2-40B4-BE49-F238E27FC236}">
                    <a16:creationId xmlns:a16="http://schemas.microsoft.com/office/drawing/2014/main" id="{41C7EE24-0BF1-4A3A-B073-5A4A2581D707}"/>
                  </a:ext>
                </a:extLst>
              </p:cNvPr>
              <p:cNvSpPr/>
              <p:nvPr/>
            </p:nvSpPr>
            <p:spPr bwMode="auto">
              <a:xfrm>
                <a:off x="7408089" y="1882588"/>
                <a:ext cx="118607" cy="41512"/>
              </a:xfrm>
              <a:custGeom>
                <a:avLst/>
                <a:gdLst>
                  <a:gd name="T0" fmla="*/ 70 w 77"/>
                  <a:gd name="T1" fmla="*/ 26 h 27"/>
                  <a:gd name="T2" fmla="*/ 66 w 77"/>
                  <a:gd name="T3" fmla="*/ 24 h 27"/>
                  <a:gd name="T4" fmla="*/ 37 w 77"/>
                  <a:gd name="T5" fmla="*/ 12 h 27"/>
                  <a:gd name="T6" fmla="*/ 11 w 77"/>
                  <a:gd name="T7" fmla="*/ 24 h 27"/>
                  <a:gd name="T8" fmla="*/ 2 w 77"/>
                  <a:gd name="T9" fmla="*/ 24 h 27"/>
                  <a:gd name="T10" fmla="*/ 2 w 77"/>
                  <a:gd name="T11" fmla="*/ 16 h 27"/>
                  <a:gd name="T12" fmla="*/ 37 w 77"/>
                  <a:gd name="T13" fmla="*/ 0 h 27"/>
                  <a:gd name="T14" fmla="*/ 75 w 77"/>
                  <a:gd name="T15" fmla="*/ 16 h 27"/>
                  <a:gd name="T16" fmla="*/ 75 w 77"/>
                  <a:gd name="T17" fmla="*/ 24 h 27"/>
                  <a:gd name="T18" fmla="*/ 70 w 77"/>
                  <a:gd name="T19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27">
                    <a:moveTo>
                      <a:pt x="70" y="26"/>
                    </a:moveTo>
                    <a:cubicBezTo>
                      <a:pt x="69" y="26"/>
                      <a:pt x="67" y="25"/>
                      <a:pt x="66" y="24"/>
                    </a:cubicBezTo>
                    <a:cubicBezTo>
                      <a:pt x="66" y="24"/>
                      <a:pt x="54" y="12"/>
                      <a:pt x="37" y="12"/>
                    </a:cubicBezTo>
                    <a:cubicBezTo>
                      <a:pt x="21" y="12"/>
                      <a:pt x="11" y="24"/>
                      <a:pt x="11" y="24"/>
                    </a:cubicBezTo>
                    <a:cubicBezTo>
                      <a:pt x="9" y="26"/>
                      <a:pt x="5" y="27"/>
                      <a:pt x="2" y="24"/>
                    </a:cubicBezTo>
                    <a:cubicBezTo>
                      <a:pt x="0" y="22"/>
                      <a:pt x="0" y="19"/>
                      <a:pt x="2" y="16"/>
                    </a:cubicBezTo>
                    <a:cubicBezTo>
                      <a:pt x="2" y="15"/>
                      <a:pt x="16" y="0"/>
                      <a:pt x="37" y="0"/>
                    </a:cubicBezTo>
                    <a:cubicBezTo>
                      <a:pt x="59" y="0"/>
                      <a:pt x="74" y="15"/>
                      <a:pt x="75" y="16"/>
                    </a:cubicBezTo>
                    <a:cubicBezTo>
                      <a:pt x="77" y="18"/>
                      <a:pt x="77" y="22"/>
                      <a:pt x="75" y="24"/>
                    </a:cubicBezTo>
                    <a:cubicBezTo>
                      <a:pt x="73" y="25"/>
                      <a:pt x="72" y="26"/>
                      <a:pt x="70" y="2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" name="ïṡḷïḑê">
                <a:extLst>
                  <a:ext uri="{FF2B5EF4-FFF2-40B4-BE49-F238E27FC236}">
                    <a16:creationId xmlns:a16="http://schemas.microsoft.com/office/drawing/2014/main" id="{D1AD6493-31A2-4135-8938-B6F5363DDA4D}"/>
                  </a:ext>
                </a:extLst>
              </p:cNvPr>
              <p:cNvSpPr/>
              <p:nvPr/>
            </p:nvSpPr>
            <p:spPr bwMode="auto">
              <a:xfrm>
                <a:off x="7562278" y="1891483"/>
                <a:ext cx="62269" cy="104769"/>
              </a:xfrm>
              <a:custGeom>
                <a:avLst/>
                <a:gdLst>
                  <a:gd name="T0" fmla="*/ 0 w 41"/>
                  <a:gd name="T1" fmla="*/ 47 h 68"/>
                  <a:gd name="T2" fmla="*/ 20 w 41"/>
                  <a:gd name="T3" fmla="*/ 0 h 68"/>
                  <a:gd name="T4" fmla="*/ 41 w 41"/>
                  <a:gd name="T5" fmla="*/ 47 h 68"/>
                  <a:gd name="T6" fmla="*/ 20 w 41"/>
                  <a:gd name="T7" fmla="*/ 68 h 68"/>
                  <a:gd name="T8" fmla="*/ 0 w 41"/>
                  <a:gd name="T9" fmla="*/ 4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68">
                    <a:moveTo>
                      <a:pt x="0" y="47"/>
                    </a:moveTo>
                    <a:cubicBezTo>
                      <a:pt x="0" y="36"/>
                      <a:pt x="20" y="0"/>
                      <a:pt x="20" y="0"/>
                    </a:cubicBezTo>
                    <a:cubicBezTo>
                      <a:pt x="20" y="0"/>
                      <a:pt x="41" y="36"/>
                      <a:pt x="41" y="47"/>
                    </a:cubicBezTo>
                    <a:cubicBezTo>
                      <a:pt x="41" y="58"/>
                      <a:pt x="31" y="68"/>
                      <a:pt x="20" y="68"/>
                    </a:cubicBezTo>
                    <a:cubicBezTo>
                      <a:pt x="9" y="68"/>
                      <a:pt x="0" y="58"/>
                      <a:pt x="0" y="47"/>
                    </a:cubicBezTo>
                    <a:close/>
                  </a:path>
                </a:pathLst>
              </a:custGeom>
              <a:solidFill>
                <a:srgbClr val="5F88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3" name="îśḻiďê">
              <a:extLst>
                <a:ext uri="{FF2B5EF4-FFF2-40B4-BE49-F238E27FC236}">
                  <a16:creationId xmlns:a16="http://schemas.microsoft.com/office/drawing/2014/main" id="{FEF0CE64-F25C-495A-9FE2-97619D8559FA}"/>
                </a:ext>
              </a:extLst>
            </p:cNvPr>
            <p:cNvGrpSpPr/>
            <p:nvPr/>
          </p:nvGrpSpPr>
          <p:grpSpPr>
            <a:xfrm>
              <a:off x="7568208" y="2426203"/>
              <a:ext cx="774899" cy="774899"/>
              <a:chOff x="7568208" y="2426203"/>
              <a:chExt cx="774899" cy="774899"/>
            </a:xfrm>
          </p:grpSpPr>
          <p:sp>
            <p:nvSpPr>
              <p:cNvPr id="104" name="iŝľïḓè">
                <a:extLst>
                  <a:ext uri="{FF2B5EF4-FFF2-40B4-BE49-F238E27FC236}">
                    <a16:creationId xmlns:a16="http://schemas.microsoft.com/office/drawing/2014/main" id="{EFF3500A-C310-4903-A2DB-8E9E53A64479}"/>
                  </a:ext>
                </a:extLst>
              </p:cNvPr>
              <p:cNvSpPr/>
              <p:nvPr/>
            </p:nvSpPr>
            <p:spPr bwMode="auto">
              <a:xfrm>
                <a:off x="7568208" y="2426203"/>
                <a:ext cx="774899" cy="774899"/>
              </a:xfrm>
              <a:custGeom>
                <a:avLst/>
                <a:gdLst>
                  <a:gd name="T0" fmla="*/ 469 w 504"/>
                  <a:gd name="T1" fmla="*/ 189 h 505"/>
                  <a:gd name="T2" fmla="*/ 188 w 504"/>
                  <a:gd name="T3" fmla="*/ 36 h 505"/>
                  <a:gd name="T4" fmla="*/ 35 w 504"/>
                  <a:gd name="T5" fmla="*/ 317 h 505"/>
                  <a:gd name="T6" fmla="*/ 316 w 504"/>
                  <a:gd name="T7" fmla="*/ 470 h 505"/>
                  <a:gd name="T8" fmla="*/ 469 w 504"/>
                  <a:gd name="T9" fmla="*/ 189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4" h="505">
                    <a:moveTo>
                      <a:pt x="469" y="189"/>
                    </a:moveTo>
                    <a:cubicBezTo>
                      <a:pt x="434" y="69"/>
                      <a:pt x="308" y="0"/>
                      <a:pt x="188" y="36"/>
                    </a:cubicBezTo>
                    <a:cubicBezTo>
                      <a:pt x="68" y="71"/>
                      <a:pt x="0" y="197"/>
                      <a:pt x="35" y="317"/>
                    </a:cubicBezTo>
                    <a:cubicBezTo>
                      <a:pt x="71" y="437"/>
                      <a:pt x="196" y="505"/>
                      <a:pt x="316" y="470"/>
                    </a:cubicBezTo>
                    <a:cubicBezTo>
                      <a:pt x="436" y="434"/>
                      <a:pt x="504" y="308"/>
                      <a:pt x="469" y="189"/>
                    </a:cubicBez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îṩlïḍé">
                <a:extLst>
                  <a:ext uri="{FF2B5EF4-FFF2-40B4-BE49-F238E27FC236}">
                    <a16:creationId xmlns:a16="http://schemas.microsoft.com/office/drawing/2014/main" id="{9F6B1F5A-2091-4C54-91F6-BD0E6A26EEF5}"/>
                  </a:ext>
                </a:extLst>
              </p:cNvPr>
              <p:cNvSpPr/>
              <p:nvPr/>
            </p:nvSpPr>
            <p:spPr bwMode="auto">
              <a:xfrm>
                <a:off x="7573150" y="2875920"/>
                <a:ext cx="166050" cy="164073"/>
              </a:xfrm>
              <a:custGeom>
                <a:avLst/>
                <a:gdLst>
                  <a:gd name="T0" fmla="*/ 168 w 168"/>
                  <a:gd name="T1" fmla="*/ 43 h 166"/>
                  <a:gd name="T2" fmla="*/ 45 w 168"/>
                  <a:gd name="T3" fmla="*/ 0 h 166"/>
                  <a:gd name="T4" fmla="*/ 0 w 168"/>
                  <a:gd name="T5" fmla="*/ 122 h 166"/>
                  <a:gd name="T6" fmla="*/ 123 w 168"/>
                  <a:gd name="T7" fmla="*/ 166 h 166"/>
                  <a:gd name="T8" fmla="*/ 168 w 168"/>
                  <a:gd name="T9" fmla="*/ 43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66">
                    <a:moveTo>
                      <a:pt x="168" y="43"/>
                    </a:moveTo>
                    <a:lnTo>
                      <a:pt x="45" y="0"/>
                    </a:lnTo>
                    <a:lnTo>
                      <a:pt x="0" y="122"/>
                    </a:lnTo>
                    <a:lnTo>
                      <a:pt x="123" y="166"/>
                    </a:lnTo>
                    <a:lnTo>
                      <a:pt x="168" y="43"/>
                    </a:lnTo>
                    <a:close/>
                  </a:path>
                </a:pathLst>
              </a:custGeom>
              <a:solidFill>
                <a:srgbClr val="B6D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iśļíďê">
                <a:extLst>
                  <a:ext uri="{FF2B5EF4-FFF2-40B4-BE49-F238E27FC236}">
                    <a16:creationId xmlns:a16="http://schemas.microsoft.com/office/drawing/2014/main" id="{0353A4A9-DAD2-4594-B988-246059FC2D80}"/>
                  </a:ext>
                </a:extLst>
              </p:cNvPr>
              <p:cNvSpPr/>
              <p:nvPr/>
            </p:nvSpPr>
            <p:spPr bwMode="auto">
              <a:xfrm>
                <a:off x="7610709" y="2470680"/>
                <a:ext cx="688909" cy="686932"/>
              </a:xfrm>
              <a:custGeom>
                <a:avLst/>
                <a:gdLst>
                  <a:gd name="T0" fmla="*/ 417 w 448"/>
                  <a:gd name="T1" fmla="*/ 167 h 448"/>
                  <a:gd name="T2" fmla="*/ 167 w 448"/>
                  <a:gd name="T3" fmla="*/ 31 h 448"/>
                  <a:gd name="T4" fmla="*/ 31 w 448"/>
                  <a:gd name="T5" fmla="*/ 281 h 448"/>
                  <a:gd name="T6" fmla="*/ 281 w 448"/>
                  <a:gd name="T7" fmla="*/ 416 h 448"/>
                  <a:gd name="T8" fmla="*/ 417 w 448"/>
                  <a:gd name="T9" fmla="*/ 167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8" h="448">
                    <a:moveTo>
                      <a:pt x="417" y="167"/>
                    </a:moveTo>
                    <a:cubicBezTo>
                      <a:pt x="385" y="60"/>
                      <a:pt x="273" y="0"/>
                      <a:pt x="167" y="31"/>
                    </a:cubicBezTo>
                    <a:cubicBezTo>
                      <a:pt x="61" y="63"/>
                      <a:pt x="0" y="174"/>
                      <a:pt x="31" y="281"/>
                    </a:cubicBezTo>
                    <a:cubicBezTo>
                      <a:pt x="63" y="387"/>
                      <a:pt x="175" y="448"/>
                      <a:pt x="281" y="416"/>
                    </a:cubicBezTo>
                    <a:cubicBezTo>
                      <a:pt x="387" y="385"/>
                      <a:pt x="448" y="273"/>
                      <a:pt x="417" y="16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íṧḻîḍè">
                <a:extLst>
                  <a:ext uri="{FF2B5EF4-FFF2-40B4-BE49-F238E27FC236}">
                    <a16:creationId xmlns:a16="http://schemas.microsoft.com/office/drawing/2014/main" id="{BE174748-9BD0-40F2-B741-8518E4587BB6}"/>
                  </a:ext>
                </a:extLst>
              </p:cNvPr>
              <p:cNvSpPr/>
              <p:nvPr/>
            </p:nvSpPr>
            <p:spPr bwMode="auto">
              <a:xfrm>
                <a:off x="7839028" y="2860106"/>
                <a:ext cx="50408" cy="4942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iş1ïḋe">
                <a:extLst>
                  <a:ext uri="{FF2B5EF4-FFF2-40B4-BE49-F238E27FC236}">
                    <a16:creationId xmlns:a16="http://schemas.microsoft.com/office/drawing/2014/main" id="{5646C89F-E9E6-4A75-A1B6-75F41855B8DF}"/>
                  </a:ext>
                </a:extLst>
              </p:cNvPr>
              <p:cNvSpPr/>
              <p:nvPr/>
            </p:nvSpPr>
            <p:spPr bwMode="auto">
              <a:xfrm>
                <a:off x="7791585" y="2829466"/>
                <a:ext cx="141340" cy="44478"/>
              </a:xfrm>
              <a:custGeom>
                <a:avLst/>
                <a:gdLst>
                  <a:gd name="T0" fmla="*/ 87 w 92"/>
                  <a:gd name="T1" fmla="*/ 29 h 29"/>
                  <a:gd name="T2" fmla="*/ 51 w 92"/>
                  <a:gd name="T3" fmla="*/ 29 h 29"/>
                  <a:gd name="T4" fmla="*/ 3 w 92"/>
                  <a:gd name="T5" fmla="*/ 10 h 29"/>
                  <a:gd name="T6" fmla="*/ 1 w 92"/>
                  <a:gd name="T7" fmla="*/ 3 h 29"/>
                  <a:gd name="T8" fmla="*/ 9 w 92"/>
                  <a:gd name="T9" fmla="*/ 2 h 29"/>
                  <a:gd name="T10" fmla="*/ 51 w 92"/>
                  <a:gd name="T11" fmla="*/ 19 h 29"/>
                  <a:gd name="T12" fmla="*/ 87 w 92"/>
                  <a:gd name="T13" fmla="*/ 19 h 29"/>
                  <a:gd name="T14" fmla="*/ 92 w 92"/>
                  <a:gd name="T15" fmla="*/ 24 h 29"/>
                  <a:gd name="T16" fmla="*/ 87 w 92"/>
                  <a:gd name="T1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29">
                    <a:moveTo>
                      <a:pt x="87" y="29"/>
                    </a:moveTo>
                    <a:cubicBezTo>
                      <a:pt x="51" y="29"/>
                      <a:pt x="51" y="29"/>
                      <a:pt x="51" y="29"/>
                    </a:cubicBezTo>
                    <a:cubicBezTo>
                      <a:pt x="32" y="29"/>
                      <a:pt x="4" y="11"/>
                      <a:pt x="3" y="10"/>
                    </a:cubicBezTo>
                    <a:cubicBezTo>
                      <a:pt x="1" y="9"/>
                      <a:pt x="0" y="6"/>
                      <a:pt x="1" y="3"/>
                    </a:cubicBezTo>
                    <a:cubicBezTo>
                      <a:pt x="3" y="1"/>
                      <a:pt x="6" y="0"/>
                      <a:pt x="9" y="2"/>
                    </a:cubicBezTo>
                    <a:cubicBezTo>
                      <a:pt x="16" y="6"/>
                      <a:pt x="38" y="19"/>
                      <a:pt x="51" y="19"/>
                    </a:cubicBezTo>
                    <a:cubicBezTo>
                      <a:pt x="87" y="19"/>
                      <a:pt x="87" y="19"/>
                      <a:pt x="87" y="19"/>
                    </a:cubicBezTo>
                    <a:cubicBezTo>
                      <a:pt x="90" y="19"/>
                      <a:pt x="92" y="21"/>
                      <a:pt x="92" y="24"/>
                    </a:cubicBezTo>
                    <a:cubicBezTo>
                      <a:pt x="92" y="27"/>
                      <a:pt x="90" y="29"/>
                      <a:pt x="87" y="29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iśḻïḍê">
                <a:extLst>
                  <a:ext uri="{FF2B5EF4-FFF2-40B4-BE49-F238E27FC236}">
                    <a16:creationId xmlns:a16="http://schemas.microsoft.com/office/drawing/2014/main" id="{64E88D2E-0785-425F-A2C3-73E529A540BF}"/>
                  </a:ext>
                </a:extLst>
              </p:cNvPr>
              <p:cNvSpPr/>
              <p:nvPr/>
            </p:nvSpPr>
            <p:spPr bwMode="auto">
              <a:xfrm>
                <a:off x="8022868" y="2860106"/>
                <a:ext cx="51396" cy="49420"/>
              </a:xfrm>
              <a:prstGeom prst="ellipse">
                <a:avLst/>
              </a:pr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ïsḷïďé">
                <a:extLst>
                  <a:ext uri="{FF2B5EF4-FFF2-40B4-BE49-F238E27FC236}">
                    <a16:creationId xmlns:a16="http://schemas.microsoft.com/office/drawing/2014/main" id="{3932D529-E5CB-4020-B670-2D022B6DB3F3}"/>
                  </a:ext>
                </a:extLst>
              </p:cNvPr>
              <p:cNvSpPr/>
              <p:nvPr/>
            </p:nvSpPr>
            <p:spPr bwMode="auto">
              <a:xfrm>
                <a:off x="7980367" y="2829466"/>
                <a:ext cx="141340" cy="44478"/>
              </a:xfrm>
              <a:custGeom>
                <a:avLst/>
                <a:gdLst>
                  <a:gd name="T0" fmla="*/ 5 w 92"/>
                  <a:gd name="T1" fmla="*/ 29 h 29"/>
                  <a:gd name="T2" fmla="*/ 41 w 92"/>
                  <a:gd name="T3" fmla="*/ 29 h 29"/>
                  <a:gd name="T4" fmla="*/ 89 w 92"/>
                  <a:gd name="T5" fmla="*/ 10 h 29"/>
                  <a:gd name="T6" fmla="*/ 91 w 92"/>
                  <a:gd name="T7" fmla="*/ 3 h 29"/>
                  <a:gd name="T8" fmla="*/ 83 w 92"/>
                  <a:gd name="T9" fmla="*/ 2 h 29"/>
                  <a:gd name="T10" fmla="*/ 41 w 92"/>
                  <a:gd name="T11" fmla="*/ 19 h 29"/>
                  <a:gd name="T12" fmla="*/ 5 w 92"/>
                  <a:gd name="T13" fmla="*/ 19 h 29"/>
                  <a:gd name="T14" fmla="*/ 0 w 92"/>
                  <a:gd name="T15" fmla="*/ 24 h 29"/>
                  <a:gd name="T16" fmla="*/ 5 w 92"/>
                  <a:gd name="T17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29">
                    <a:moveTo>
                      <a:pt x="5" y="29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60" y="29"/>
                      <a:pt x="88" y="11"/>
                      <a:pt x="89" y="10"/>
                    </a:cubicBezTo>
                    <a:cubicBezTo>
                      <a:pt x="92" y="9"/>
                      <a:pt x="92" y="6"/>
                      <a:pt x="91" y="3"/>
                    </a:cubicBezTo>
                    <a:cubicBezTo>
                      <a:pt x="89" y="1"/>
                      <a:pt x="86" y="0"/>
                      <a:pt x="83" y="2"/>
                    </a:cubicBezTo>
                    <a:cubicBezTo>
                      <a:pt x="76" y="6"/>
                      <a:pt x="54" y="19"/>
                      <a:pt x="41" y="1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2" y="19"/>
                      <a:pt x="0" y="21"/>
                      <a:pt x="0" y="24"/>
                    </a:cubicBezTo>
                    <a:cubicBezTo>
                      <a:pt x="0" y="27"/>
                      <a:pt x="2" y="29"/>
                      <a:pt x="5" y="29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íṩļiḑê">
                <a:extLst>
                  <a:ext uri="{FF2B5EF4-FFF2-40B4-BE49-F238E27FC236}">
                    <a16:creationId xmlns:a16="http://schemas.microsoft.com/office/drawing/2014/main" id="{850C7495-9B08-43F9-85C9-B19A0C5A2E8F}"/>
                  </a:ext>
                </a:extLst>
              </p:cNvPr>
              <p:cNvSpPr/>
              <p:nvPr/>
            </p:nvSpPr>
            <p:spPr bwMode="auto">
              <a:xfrm>
                <a:off x="7884494" y="2931270"/>
                <a:ext cx="142328" cy="28663"/>
              </a:xfrm>
              <a:custGeom>
                <a:avLst/>
                <a:gdLst>
                  <a:gd name="T0" fmla="*/ 85 w 92"/>
                  <a:gd name="T1" fmla="*/ 19 h 19"/>
                  <a:gd name="T2" fmla="*/ 84 w 92"/>
                  <a:gd name="T3" fmla="*/ 19 h 19"/>
                  <a:gd name="T4" fmla="*/ 8 w 92"/>
                  <a:gd name="T5" fmla="*/ 19 h 19"/>
                  <a:gd name="T6" fmla="*/ 0 w 92"/>
                  <a:gd name="T7" fmla="*/ 13 h 19"/>
                  <a:gd name="T8" fmla="*/ 6 w 92"/>
                  <a:gd name="T9" fmla="*/ 6 h 19"/>
                  <a:gd name="T10" fmla="*/ 86 w 92"/>
                  <a:gd name="T11" fmla="*/ 6 h 19"/>
                  <a:gd name="T12" fmla="*/ 92 w 92"/>
                  <a:gd name="T13" fmla="*/ 13 h 19"/>
                  <a:gd name="T14" fmla="*/ 85 w 92"/>
                  <a:gd name="T1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" h="19">
                    <a:moveTo>
                      <a:pt x="85" y="19"/>
                    </a:moveTo>
                    <a:cubicBezTo>
                      <a:pt x="85" y="19"/>
                      <a:pt x="85" y="19"/>
                      <a:pt x="84" y="19"/>
                    </a:cubicBezTo>
                    <a:cubicBezTo>
                      <a:pt x="51" y="14"/>
                      <a:pt x="8" y="19"/>
                      <a:pt x="8" y="19"/>
                    </a:cubicBezTo>
                    <a:cubicBezTo>
                      <a:pt x="4" y="19"/>
                      <a:pt x="1" y="17"/>
                      <a:pt x="0" y="13"/>
                    </a:cubicBezTo>
                    <a:cubicBezTo>
                      <a:pt x="0" y="10"/>
                      <a:pt x="2" y="6"/>
                      <a:pt x="6" y="6"/>
                    </a:cubicBezTo>
                    <a:cubicBezTo>
                      <a:pt x="8" y="6"/>
                      <a:pt x="51" y="0"/>
                      <a:pt x="86" y="6"/>
                    </a:cubicBezTo>
                    <a:cubicBezTo>
                      <a:pt x="90" y="6"/>
                      <a:pt x="92" y="10"/>
                      <a:pt x="92" y="13"/>
                    </a:cubicBezTo>
                    <a:cubicBezTo>
                      <a:pt x="91" y="17"/>
                      <a:pt x="88" y="19"/>
                      <a:pt x="85" y="19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F903A446-F521-489B-BAA1-62CB5E3EDA97}"/>
              </a:ext>
            </a:extLst>
          </p:cNvPr>
          <p:cNvGrpSpPr/>
          <p:nvPr/>
        </p:nvGrpSpPr>
        <p:grpSpPr>
          <a:xfrm>
            <a:off x="2116052" y="7523216"/>
            <a:ext cx="1004079" cy="4169691"/>
            <a:chOff x="6197891" y="964046"/>
            <a:chExt cx="1211106" cy="5029426"/>
          </a:xfrm>
        </p:grpSpPr>
        <p:pic>
          <p:nvPicPr>
            <p:cNvPr id="168" name="圖片 6">
              <a:extLst>
                <a:ext uri="{FF2B5EF4-FFF2-40B4-BE49-F238E27FC236}">
                  <a16:creationId xmlns:a16="http://schemas.microsoft.com/office/drawing/2014/main" id="{AF19655E-69AF-4E0E-A64D-44FD636226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05"/>
            <a:stretch/>
          </p:blipFill>
          <p:spPr>
            <a:xfrm>
              <a:off x="6197891" y="1859688"/>
              <a:ext cx="1211106" cy="4133784"/>
            </a:xfrm>
            <a:prstGeom prst="rect">
              <a:avLst/>
            </a:prstGeom>
          </p:spPr>
        </p:pic>
        <p:pic>
          <p:nvPicPr>
            <p:cNvPr id="169" name="Picture 168">
              <a:extLst>
                <a:ext uri="{FF2B5EF4-FFF2-40B4-BE49-F238E27FC236}">
                  <a16:creationId xmlns:a16="http://schemas.microsoft.com/office/drawing/2014/main" id="{FAC25DE8-CE9B-4605-AF69-91301AE968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76698" y="964046"/>
              <a:ext cx="853492" cy="843719"/>
            </a:xfrm>
            <a:prstGeom prst="rect">
              <a:avLst/>
            </a:prstGeom>
          </p:spPr>
        </p:pic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51C5DB1D-F816-43A0-8574-AD3869C628E7}"/>
              </a:ext>
            </a:extLst>
          </p:cNvPr>
          <p:cNvGrpSpPr/>
          <p:nvPr/>
        </p:nvGrpSpPr>
        <p:grpSpPr>
          <a:xfrm>
            <a:off x="965124" y="7523216"/>
            <a:ext cx="955785" cy="4169691"/>
            <a:chOff x="4941490" y="964046"/>
            <a:chExt cx="1152855" cy="5029426"/>
          </a:xfrm>
        </p:grpSpPr>
        <p:pic>
          <p:nvPicPr>
            <p:cNvPr id="171" name="圖片 4">
              <a:extLst>
                <a:ext uri="{FF2B5EF4-FFF2-40B4-BE49-F238E27FC236}">
                  <a16:creationId xmlns:a16="http://schemas.microsoft.com/office/drawing/2014/main" id="{EE6C1FB8-F2AA-4B2E-A588-9341A728E3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05"/>
            <a:stretch/>
          </p:blipFill>
          <p:spPr>
            <a:xfrm>
              <a:off x="4941490" y="1859688"/>
              <a:ext cx="1152855" cy="4133784"/>
            </a:xfrm>
            <a:prstGeom prst="rect">
              <a:avLst/>
            </a:prstGeom>
          </p:spPr>
        </p:pic>
        <p:pic>
          <p:nvPicPr>
            <p:cNvPr id="172" name="Picture 171">
              <a:extLst>
                <a:ext uri="{FF2B5EF4-FFF2-40B4-BE49-F238E27FC236}">
                  <a16:creationId xmlns:a16="http://schemas.microsoft.com/office/drawing/2014/main" id="{817B19B0-69F4-435A-8FD6-6A4A4E2437E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91171" y="964046"/>
              <a:ext cx="853492" cy="843719"/>
            </a:xfrm>
            <a:prstGeom prst="rect">
              <a:avLst/>
            </a:prstGeom>
          </p:spPr>
        </p:pic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E6F223F3-DA09-4CB2-AF22-1CEB989CB52D}"/>
              </a:ext>
            </a:extLst>
          </p:cNvPr>
          <p:cNvGrpSpPr/>
          <p:nvPr/>
        </p:nvGrpSpPr>
        <p:grpSpPr>
          <a:xfrm>
            <a:off x="3312163" y="7523216"/>
            <a:ext cx="1080904" cy="4169691"/>
            <a:chOff x="7585474" y="964046"/>
            <a:chExt cx="1303772" cy="5029426"/>
          </a:xfrm>
        </p:grpSpPr>
        <p:pic>
          <p:nvPicPr>
            <p:cNvPr id="174" name="圖片 8">
              <a:extLst>
                <a:ext uri="{FF2B5EF4-FFF2-40B4-BE49-F238E27FC236}">
                  <a16:creationId xmlns:a16="http://schemas.microsoft.com/office/drawing/2014/main" id="{88763ABC-21C4-4328-8447-F539C33882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05"/>
            <a:stretch/>
          </p:blipFill>
          <p:spPr>
            <a:xfrm>
              <a:off x="7585474" y="1859688"/>
              <a:ext cx="1303772" cy="4133784"/>
            </a:xfrm>
            <a:prstGeom prst="rect">
              <a:avLst/>
            </a:prstGeom>
          </p:spPr>
        </p:pic>
        <p:pic>
          <p:nvPicPr>
            <p:cNvPr id="175" name="Picture 174">
              <a:extLst>
                <a:ext uri="{FF2B5EF4-FFF2-40B4-BE49-F238E27FC236}">
                  <a16:creationId xmlns:a16="http://schemas.microsoft.com/office/drawing/2014/main" id="{C3BDB4A9-3E59-4E14-8259-5FCEF12247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802420" y="964046"/>
              <a:ext cx="869881" cy="843719"/>
            </a:xfrm>
            <a:prstGeom prst="rect">
              <a:avLst/>
            </a:prstGeom>
          </p:spPr>
        </p:pic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790D98E4-3223-4CAD-B24B-68A47C91E174}"/>
              </a:ext>
            </a:extLst>
          </p:cNvPr>
          <p:cNvGrpSpPr/>
          <p:nvPr/>
        </p:nvGrpSpPr>
        <p:grpSpPr>
          <a:xfrm>
            <a:off x="5016747" y="-2842378"/>
            <a:ext cx="3477756" cy="2189471"/>
            <a:chOff x="5016747" y="1367187"/>
            <a:chExt cx="3477756" cy="2189471"/>
          </a:xfrm>
        </p:grpSpPr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DDEA438C-CBD6-46B5-B378-775212EE1038}"/>
                </a:ext>
              </a:extLst>
            </p:cNvPr>
            <p:cNvGrpSpPr/>
            <p:nvPr/>
          </p:nvGrpSpPr>
          <p:grpSpPr>
            <a:xfrm>
              <a:off x="5016747" y="1401690"/>
              <a:ext cx="3477756" cy="2154968"/>
              <a:chOff x="5016747" y="1401690"/>
              <a:chExt cx="3477756" cy="2154968"/>
            </a:xfrm>
          </p:grpSpPr>
          <p:sp>
            <p:nvSpPr>
              <p:cNvPr id="181" name="Rectangle: Rounded Corners 180">
                <a:extLst>
                  <a:ext uri="{FF2B5EF4-FFF2-40B4-BE49-F238E27FC236}">
                    <a16:creationId xmlns:a16="http://schemas.microsoft.com/office/drawing/2014/main" id="{9A983BE2-0F02-4102-AF88-5241001E1F2E}"/>
                  </a:ext>
                </a:extLst>
              </p:cNvPr>
              <p:cNvSpPr/>
              <p:nvPr/>
            </p:nvSpPr>
            <p:spPr>
              <a:xfrm>
                <a:off x="5016747" y="1628774"/>
                <a:ext cx="3477756" cy="1927884"/>
              </a:xfrm>
              <a:prstGeom prst="roundRect">
                <a:avLst>
                  <a:gd name="adj" fmla="val 9256"/>
                </a:avLst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E569DF0E-C48B-47F1-BAEE-925A84B6D817}"/>
                  </a:ext>
                </a:extLst>
              </p:cNvPr>
              <p:cNvSpPr/>
              <p:nvPr/>
            </p:nvSpPr>
            <p:spPr>
              <a:xfrm>
                <a:off x="5133976" y="1401690"/>
                <a:ext cx="2847974" cy="35925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5EA91EF4-E79E-4702-803F-3C0E12AF42CC}"/>
                </a:ext>
              </a:extLst>
            </p:cNvPr>
            <p:cNvGrpSpPr/>
            <p:nvPr/>
          </p:nvGrpSpPr>
          <p:grpSpPr>
            <a:xfrm>
              <a:off x="5257990" y="1367187"/>
              <a:ext cx="3127094" cy="2081059"/>
              <a:chOff x="5334772" y="1280468"/>
              <a:chExt cx="3127094" cy="2081059"/>
            </a:xfrm>
          </p:grpSpPr>
          <p:sp>
            <p:nvSpPr>
              <p:cNvPr id="179" name="矩形 15">
                <a:extLst>
                  <a:ext uri="{FF2B5EF4-FFF2-40B4-BE49-F238E27FC236}">
                    <a16:creationId xmlns:a16="http://schemas.microsoft.com/office/drawing/2014/main" id="{CE566AA8-E91B-4DC6-9197-82E25A0B6A74}"/>
                  </a:ext>
                </a:extLst>
              </p:cNvPr>
              <p:cNvSpPr/>
              <p:nvPr/>
            </p:nvSpPr>
            <p:spPr>
              <a:xfrm>
                <a:off x="5334772" y="1280468"/>
                <a:ext cx="2685543" cy="461665"/>
              </a:xfrm>
              <a:prstGeom prst="rect">
                <a:avLst/>
              </a:prstGeom>
            </p:spPr>
            <p:txBody>
              <a:bodyPr wrap="square" lIns="0" tIns="45720" rIns="91440" bIns="45720">
                <a:spAutoFit/>
              </a:bodyPr>
              <a:lstStyle/>
              <a:p>
                <a:r>
                  <a:rPr lang="en-US" altLang="zh-TW" sz="2400" dirty="0">
                    <a:solidFill>
                      <a:schemeClr val="bg2">
                        <a:lumMod val="25000"/>
                      </a:schemeClr>
                    </a:solidFill>
                    <a:latin typeface="Tw Cen MT" panose="020B0602020104020603" pitchFamily="34" charset="0"/>
                  </a:rPr>
                  <a:t>Remain for main text:</a:t>
                </a:r>
              </a:p>
            </p:txBody>
          </p:sp>
          <p:pic>
            <p:nvPicPr>
              <p:cNvPr id="180" name="Picture 179">
                <a:extLst>
                  <a:ext uri="{FF2B5EF4-FFF2-40B4-BE49-F238E27FC236}">
                    <a16:creationId xmlns:a16="http://schemas.microsoft.com/office/drawing/2014/main" id="{752B721C-2810-4960-8996-6089B45ED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334772" y="1764870"/>
                <a:ext cx="3127094" cy="1596657"/>
              </a:xfrm>
              <a:prstGeom prst="rect">
                <a:avLst/>
              </a:prstGeom>
            </p:spPr>
          </p:pic>
        </p:grp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EEAB37BD-3FC1-44F3-8758-940D5FEF6F4E}"/>
              </a:ext>
            </a:extLst>
          </p:cNvPr>
          <p:cNvGrpSpPr/>
          <p:nvPr/>
        </p:nvGrpSpPr>
        <p:grpSpPr>
          <a:xfrm>
            <a:off x="5016747" y="7255794"/>
            <a:ext cx="3477756" cy="2481775"/>
            <a:chOff x="5016747" y="3655499"/>
            <a:chExt cx="3477756" cy="2481775"/>
          </a:xfrm>
        </p:grpSpPr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6338F5BC-7A83-4187-B55B-4108447D8B98}"/>
                </a:ext>
              </a:extLst>
            </p:cNvPr>
            <p:cNvGrpSpPr/>
            <p:nvPr/>
          </p:nvGrpSpPr>
          <p:grpSpPr>
            <a:xfrm>
              <a:off x="5016747" y="3688604"/>
              <a:ext cx="3477756" cy="2448670"/>
              <a:chOff x="5016747" y="3688604"/>
              <a:chExt cx="3477756" cy="2448670"/>
            </a:xfrm>
          </p:grpSpPr>
          <p:sp>
            <p:nvSpPr>
              <p:cNvPr id="188" name="Rectangle: Rounded Corners 187">
                <a:extLst>
                  <a:ext uri="{FF2B5EF4-FFF2-40B4-BE49-F238E27FC236}">
                    <a16:creationId xmlns:a16="http://schemas.microsoft.com/office/drawing/2014/main" id="{C9BE69AF-9F5F-4776-B0F2-C428AA1892D8}"/>
                  </a:ext>
                </a:extLst>
              </p:cNvPr>
              <p:cNvSpPr/>
              <p:nvPr/>
            </p:nvSpPr>
            <p:spPr>
              <a:xfrm>
                <a:off x="5016747" y="3922921"/>
                <a:ext cx="3477756" cy="2214353"/>
              </a:xfrm>
              <a:prstGeom prst="roundRect">
                <a:avLst>
                  <a:gd name="adj" fmla="val 8471"/>
                </a:avLst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67148EC7-7E23-4F16-9370-4F47869AC4F6}"/>
                  </a:ext>
                </a:extLst>
              </p:cNvPr>
              <p:cNvSpPr/>
              <p:nvPr/>
            </p:nvSpPr>
            <p:spPr>
              <a:xfrm>
                <a:off x="5133976" y="3688604"/>
                <a:ext cx="2371724" cy="35925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DD2DCE0B-853E-4C7F-BD4E-08D7756056EE}"/>
                </a:ext>
              </a:extLst>
            </p:cNvPr>
            <p:cNvGrpSpPr/>
            <p:nvPr/>
          </p:nvGrpSpPr>
          <p:grpSpPr>
            <a:xfrm>
              <a:off x="5257990" y="3655499"/>
              <a:ext cx="3127094" cy="2407477"/>
              <a:chOff x="5334774" y="3686104"/>
              <a:chExt cx="3127094" cy="2407477"/>
            </a:xfrm>
          </p:grpSpPr>
          <p:sp>
            <p:nvSpPr>
              <p:cNvPr id="186" name="矩形 37">
                <a:extLst>
                  <a:ext uri="{FF2B5EF4-FFF2-40B4-BE49-F238E27FC236}">
                    <a16:creationId xmlns:a16="http://schemas.microsoft.com/office/drawing/2014/main" id="{169198BD-65C6-4A48-B924-6ADD5EC2752F}"/>
                  </a:ext>
                </a:extLst>
              </p:cNvPr>
              <p:cNvSpPr/>
              <p:nvPr/>
            </p:nvSpPr>
            <p:spPr>
              <a:xfrm>
                <a:off x="5334774" y="3686104"/>
                <a:ext cx="2205797" cy="461665"/>
              </a:xfrm>
              <a:prstGeom prst="rect">
                <a:avLst/>
              </a:prstGeom>
            </p:spPr>
            <p:txBody>
              <a:bodyPr wrap="none" lIns="0" tIns="45720" rIns="91440" bIns="45720">
                <a:spAutoFit/>
              </a:bodyPr>
              <a:lstStyle/>
              <a:p>
                <a:r>
                  <a:rPr lang="en-US" altLang="zh-TW" sz="2400" dirty="0">
                    <a:solidFill>
                      <a:schemeClr val="bg2">
                        <a:lumMod val="25000"/>
                      </a:schemeClr>
                    </a:solidFill>
                    <a:latin typeface="Tw Cen MT" panose="020B0602020104020603" pitchFamily="34" charset="0"/>
                  </a:rPr>
                  <a:t>Remain for reply:</a:t>
                </a:r>
              </a:p>
            </p:txBody>
          </p:sp>
          <p:pic>
            <p:nvPicPr>
              <p:cNvPr id="187" name="Picture 186">
                <a:extLst>
                  <a:ext uri="{FF2B5EF4-FFF2-40B4-BE49-F238E27FC236}">
                    <a16:creationId xmlns:a16="http://schemas.microsoft.com/office/drawing/2014/main" id="{6B957CD0-566A-4C0A-82C9-E43A76FFF3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334774" y="4160468"/>
                <a:ext cx="3127094" cy="193311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4885841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#296257"/>
  <p:tag name="ISLIDE.GUIDESSETTING" val="{&quot;Id&quot;:null,&quot;Name&quot;:&quot;正常&quot;,&quot;HeaderHeight&quot;:15.0,&quot;FooterHeight&quot;:9.0,&quot;SideMargin&quot;:5.5,&quot;TopMargin&quot;:0.0,&quot;BottomMargin&quot;:0.0,&quot;IntervalMargin&quot;:1.5,&quot;SettingType&quot;:&quot;System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b3f14cc-9f84-41e8-8138-7054b945ee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61114;"/>
  <p:tag name="ISLIDE.VECTOR" val="#263177;"/>
  <p:tag name="ISLIDE.ICON" val="#393322;#82151;#83005;#18864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b3f14cc-9f84-41e8-8138-7054b945ee1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61114;"/>
  <p:tag name="ISLIDE.VECTOR" val="#263177;"/>
  <p:tag name="ISLIDE.ICON" val="#393322;#82151;#83005;#18864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b3f14cc-9f84-41e8-8138-7054b945ee1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61114;"/>
  <p:tag name="ISLIDE.VECTOR" val="#263177;"/>
  <p:tag name="ISLIDE.ICON" val="#393322;#82151;#83005;#18864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b3f14cc-9f84-41e8-8138-7054b945ee1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51ee01a-8928-4156-829c-191321169f3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9075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51ee01a-8928-4156-829c-191321169f3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51ee01a-8928-4156-829c-191321169f3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34761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9fc69df-94a5-4f42-ba71-3616878b9b7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308510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9fc69df-94a5-4f42-ba71-3616878b9b7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ce396b1-13d0-41fe-bb34-ddfd460a4f6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222590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ce396b1-13d0-41fe-bb34-ddfd460a4f6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9fc69df-94a5-4f42-ba71-3616878b9b7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41236;"/>
  <p:tag name="ISLIDE.ICON" val="#402996;#393738;#12321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ce396b1-13d0-41fe-bb34-ddfd460a4f6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826854e-2acf-4900-a62e-ca82189cbf5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3eb5d789-58cd-4f85-9d8b-5d393670b18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245938;#184478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826854e-2acf-4900-a62e-ca82189cbf5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3eb5d789-58cd-4f85-9d8b-5d393670b18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826854e-2acf-4900-a62e-ca82189cbf5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3eb5d789-58cd-4f85-9d8b-5d393670b18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  <p:tag name="ISLIDE.THEME" val="https://www.islide.cc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  <p:tag name="ISLIDE.THEME" val="https://www.islide.cc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0712;#94498;#94498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61114;"/>
  <p:tag name="ISLIDE.VECTOR" val="#263177;"/>
  <p:tag name="ISLIDE.ICON" val="#393322;#82151;#83005;#18864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b3f14cc-9f84-41e8-8138-7054b945ee1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61114;"/>
  <p:tag name="ISLIDE.VECTOR" val="#263177;"/>
  <p:tag name="ISLIDE.ICON" val="#393322;#82151;#83005;#18864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4CCEA"/>
      </a:accent1>
      <a:accent2>
        <a:srgbClr val="5577FF"/>
      </a:accent2>
      <a:accent3>
        <a:srgbClr val="F1C243"/>
      </a:accent3>
      <a:accent4>
        <a:srgbClr val="323657"/>
      </a:accent4>
      <a:accent5>
        <a:srgbClr val="99ACBB"/>
      </a:accent5>
      <a:accent6>
        <a:srgbClr val="C8A08D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4CCEA"/>
    </a:accent1>
    <a:accent2>
      <a:srgbClr val="5577FF"/>
    </a:accent2>
    <a:accent3>
      <a:srgbClr val="F1C243"/>
    </a:accent3>
    <a:accent4>
      <a:srgbClr val="323657"/>
    </a:accent4>
    <a:accent5>
      <a:srgbClr val="99ACBB"/>
    </a:accent5>
    <a:accent6>
      <a:srgbClr val="C8A08D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4CCEA"/>
    </a:accent1>
    <a:accent2>
      <a:srgbClr val="5577FF"/>
    </a:accent2>
    <a:accent3>
      <a:srgbClr val="F1C243"/>
    </a:accent3>
    <a:accent4>
      <a:srgbClr val="323657"/>
    </a:accent4>
    <a:accent5>
      <a:srgbClr val="99ACBB"/>
    </a:accent5>
    <a:accent6>
      <a:srgbClr val="C8A08D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4CCEA"/>
    </a:accent1>
    <a:accent2>
      <a:srgbClr val="5577FF"/>
    </a:accent2>
    <a:accent3>
      <a:srgbClr val="F1C243"/>
    </a:accent3>
    <a:accent4>
      <a:srgbClr val="323657"/>
    </a:accent4>
    <a:accent5>
      <a:srgbClr val="99ACBB"/>
    </a:accent5>
    <a:accent6>
      <a:srgbClr val="C8A08D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6389167032A542B6C0D1AF24BF683C" ma:contentTypeVersion="13" ma:contentTypeDescription="Create a new document." ma:contentTypeScope="" ma:versionID="63d6ec66a98d8df26797a07ef4cb511c">
  <xsd:schema xmlns:xsd="http://www.w3.org/2001/XMLSchema" xmlns:xs="http://www.w3.org/2001/XMLSchema" xmlns:p="http://schemas.microsoft.com/office/2006/metadata/properties" xmlns:ns3="3ceaeb6d-4abd-41c1-aa03-0412fbc8efde" xmlns:ns4="9968da0f-7af5-4b7f-a3bf-c85441e697f2" targetNamespace="http://schemas.microsoft.com/office/2006/metadata/properties" ma:root="true" ma:fieldsID="485da1baeb2f39946a59b00c3d34e37f" ns3:_="" ns4:_="">
    <xsd:import namespace="3ceaeb6d-4abd-41c1-aa03-0412fbc8efde"/>
    <xsd:import namespace="9968da0f-7af5-4b7f-a3bf-c85441e697f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eaeb6d-4abd-41c1-aa03-0412fbc8ef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68da0f-7af5-4b7f-a3bf-c85441e697f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2BDEF5-E70D-405F-B234-E9F3679050D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FA30E29-97E2-4419-869F-2BCBB61A680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9A1C85-F12A-4484-9785-B49E7137A9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eaeb6d-4abd-41c1-aa03-0412fbc8efde"/>
    <ds:schemaRef ds:uri="9968da0f-7af5-4b7f-a3bf-c85441e697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32</TotalTime>
  <Words>2337</Words>
  <Application>Microsoft Office PowerPoint</Application>
  <PresentationFormat>Widescreen</PresentationFormat>
  <Paragraphs>314</Paragraphs>
  <Slides>18</Slides>
  <Notes>3</Notes>
  <HiddenSlides>3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主题5</vt:lpstr>
      <vt:lpstr>EmotionGIF 2020 GloVe+LST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s For your Listening</vt:lpstr>
      <vt:lpstr>PowerPoint Presentation</vt:lpstr>
      <vt:lpstr>快速设计页面  Quick de sign slides</vt:lpstr>
      <vt:lpstr>PowerPoint Presentation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偉綸 方</cp:lastModifiedBy>
  <cp:revision>29</cp:revision>
  <cp:lastPrinted>2019-07-31T16:00:00Z</cp:lastPrinted>
  <dcterms:created xsi:type="dcterms:W3CDTF">2019-07-31T16:00:00Z</dcterms:created>
  <dcterms:modified xsi:type="dcterms:W3CDTF">2021-09-09T03:3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706389167032A542B6C0D1AF24BF683C</vt:lpwstr>
  </property>
</Properties>
</file>